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ink/ink1.xml" ContentType="application/inkml+xml"/>
  <Override PartName="/ppt/tags/tag5.xml" ContentType="application/vnd.openxmlformats-officedocument.presentationml.tags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ink/ink14.xml" ContentType="application/inkml+xml"/>
  <Override PartName="/ppt/ink/ink15.xml" ContentType="application/inkml+xml"/>
  <Override PartName="/ppt/ink/ink16.xml" ContentType="application/inkml+xml"/>
  <Override PartName="/ppt/ink/ink17.xml" ContentType="application/inkml+xml"/>
  <Override PartName="/ppt/ink/ink18.xml" ContentType="application/inkml+xml"/>
  <Override PartName="/ppt/ink/ink19.xml" ContentType="application/inkml+xml"/>
  <Override PartName="/ppt/ink/ink20.xml" ContentType="application/inkml+xml"/>
  <Override PartName="/ppt/ink/ink21.xml" ContentType="application/inkml+xml"/>
  <Override PartName="/ppt/ink/ink22.xml" ContentType="application/inkml+xml"/>
  <Override PartName="/ppt/ink/ink23.xml" ContentType="application/inkml+xml"/>
  <Override PartName="/ppt/ink/ink24.xml" ContentType="application/inkml+xml"/>
  <Override PartName="/ppt/ink/ink25.xml" ContentType="application/inkml+xml"/>
  <Override PartName="/ppt/ink/ink26.xml" ContentType="application/inkml+xml"/>
  <Override PartName="/ppt/ink/ink27.xml" ContentType="application/inkml+xml"/>
  <Override PartName="/ppt/ink/ink28.xml" ContentType="application/inkml+xml"/>
  <Override PartName="/ppt/ink/ink29.xml" ContentType="application/inkml+xml"/>
  <Override PartName="/ppt/ink/ink30.xml" ContentType="application/inkml+xml"/>
  <Override PartName="/ppt/ink/ink31.xml" ContentType="application/inkml+xml"/>
  <Override PartName="/ppt/ink/ink32.xml" ContentType="application/inkml+xml"/>
  <Override PartName="/ppt/ink/ink33.xml" ContentType="application/inkml+xml"/>
  <Override PartName="/ppt/ink/ink34.xml" ContentType="application/inkml+xml"/>
  <Override PartName="/ppt/ink/ink35.xml" ContentType="application/inkml+xml"/>
  <Override PartName="/ppt/ink/ink36.xml" ContentType="application/inkml+xml"/>
  <Override PartName="/ppt/ink/ink37.xml" ContentType="application/inkml+xml"/>
  <Override PartName="/ppt/ink/ink38.xml" ContentType="application/inkml+xml"/>
  <Override PartName="/ppt/ink/ink39.xml" ContentType="application/inkml+xml"/>
  <Override PartName="/ppt/ink/ink40.xml" ContentType="application/inkml+xml"/>
  <Override PartName="/ppt/ink/ink41.xml" ContentType="application/inkml+xml"/>
  <Override PartName="/ppt/ink/ink42.xml" ContentType="application/inkml+xml"/>
  <Override PartName="/ppt/ink/ink43.xml" ContentType="application/inkml+xml"/>
  <Override PartName="/ppt/tags/tag6.xml" ContentType="application/vnd.openxmlformats-officedocument.presentationml.tags+xml"/>
  <Override PartName="/ppt/ink/ink44.xml" ContentType="application/inkml+xml"/>
  <Override PartName="/ppt/ink/ink45.xml" ContentType="application/inkml+xml"/>
  <Override PartName="/ppt/ink/ink46.xml" ContentType="application/inkml+xml"/>
  <Override PartName="/ppt/ink/ink47.xml" ContentType="application/inkml+xml"/>
  <Override PartName="/ppt/ink/ink48.xml" ContentType="application/inkml+xml"/>
  <Override PartName="/ppt/ink/ink49.xml" ContentType="application/inkml+xml"/>
  <Override PartName="/ppt/ink/ink50.xml" ContentType="application/inkml+xml"/>
  <Override PartName="/ppt/ink/ink51.xml" ContentType="application/inkml+xml"/>
  <Override PartName="/ppt/ink/ink52.xml" ContentType="application/inkml+xml"/>
  <Override PartName="/ppt/ink/ink53.xml" ContentType="application/inkml+xml"/>
  <Override PartName="/ppt/ink/ink54.xml" ContentType="application/inkml+xml"/>
  <Override PartName="/ppt/ink/ink55.xml" ContentType="application/inkml+xml"/>
  <Override PartName="/ppt/ink/ink56.xml" ContentType="application/inkml+xml"/>
  <Override PartName="/ppt/ink/ink57.xml" ContentType="application/inkml+xml"/>
  <Override PartName="/ppt/ink/ink58.xml" ContentType="application/inkml+xml"/>
  <Override PartName="/ppt/ink/ink59.xml" ContentType="application/inkml+xml"/>
  <Override PartName="/ppt/ink/ink60.xml" ContentType="application/inkml+xml"/>
  <Override PartName="/ppt/ink/ink61.xml" ContentType="application/inkml+xml"/>
  <Override PartName="/ppt/ink/ink62.xml" ContentType="application/inkml+xml"/>
  <Override PartName="/ppt/ink/ink63.xml" ContentType="application/inkml+xml"/>
  <Override PartName="/ppt/ink/ink64.xml" ContentType="application/inkml+xml"/>
  <Override PartName="/ppt/ink/ink65.xml" ContentType="application/inkml+xml"/>
  <Override PartName="/ppt/ink/ink66.xml" ContentType="application/inkml+xml"/>
  <Override PartName="/ppt/ink/ink67.xml" ContentType="application/inkml+xml"/>
  <Override PartName="/ppt/ink/ink68.xml" ContentType="application/inkml+xml"/>
  <Override PartName="/ppt/ink/ink69.xml" ContentType="application/inkml+xml"/>
  <Override PartName="/ppt/ink/ink70.xml" ContentType="application/inkml+xml"/>
  <Override PartName="/ppt/ink/ink71.xml" ContentType="application/inkml+xml"/>
  <Override PartName="/ppt/ink/ink72.xml" ContentType="application/inkml+xml"/>
  <Override PartName="/ppt/ink/ink73.xml" ContentType="application/inkml+xml"/>
  <Override PartName="/ppt/ink/ink74.xml" ContentType="application/inkml+xml"/>
  <Override PartName="/ppt/ink/ink75.xml" ContentType="application/inkml+xml"/>
  <Override PartName="/ppt/ink/ink76.xml" ContentType="application/inkml+xml"/>
  <Override PartName="/ppt/ink/ink77.xml" ContentType="application/inkml+xml"/>
  <Override PartName="/ppt/ink/ink78.xml" ContentType="application/inkml+xml"/>
  <Override PartName="/ppt/ink/ink79.xml" ContentType="application/inkml+xml"/>
  <Override PartName="/ppt/ink/ink80.xml" ContentType="application/inkml+xml"/>
  <Override PartName="/ppt/ink/ink81.xml" ContentType="application/inkml+xml"/>
  <Override PartName="/ppt/ink/ink82.xml" ContentType="application/inkml+xml"/>
  <Override PartName="/ppt/ink/ink83.xml" ContentType="application/inkml+xml"/>
  <Override PartName="/ppt/ink/ink84.xml" ContentType="application/inkml+xml"/>
  <Override PartName="/ppt/ink/ink85.xml" ContentType="application/inkml+xml"/>
  <Override PartName="/ppt/ink/ink86.xml" ContentType="application/inkml+xml"/>
  <Override PartName="/ppt/ink/ink87.xml" ContentType="application/inkml+xml"/>
  <Override PartName="/ppt/ink/ink88.xml" ContentType="application/inkml+xml"/>
  <Override PartName="/ppt/ink/ink89.xml" ContentType="application/inkml+xml"/>
  <Override PartName="/ppt/ink/ink90.xml" ContentType="application/inkml+xml"/>
  <Override PartName="/ppt/ink/ink91.xml" ContentType="application/inkml+xml"/>
  <Override PartName="/ppt/ink/ink92.xml" ContentType="application/inkml+xml"/>
  <Override PartName="/ppt/ink/ink93.xml" ContentType="application/inkml+xml"/>
  <Override PartName="/ppt/ink/ink94.xml" ContentType="application/inkml+xml"/>
  <Override PartName="/ppt/ink/ink95.xml" ContentType="application/inkml+xml"/>
  <Override PartName="/ppt/ink/ink96.xml" ContentType="application/inkml+xml"/>
  <Override PartName="/ppt/ink/ink97.xml" ContentType="application/inkml+xml"/>
  <Override PartName="/ppt/ink/ink98.xml" ContentType="application/inkml+xml"/>
  <Override PartName="/ppt/ink/ink99.xml" ContentType="application/inkml+xml"/>
  <Override PartName="/ppt/ink/ink100.xml" ContentType="application/inkml+xml"/>
  <Override PartName="/ppt/ink/ink101.xml" ContentType="application/inkml+xml"/>
  <Override PartName="/ppt/ink/ink102.xml" ContentType="application/inkml+xml"/>
  <Override PartName="/ppt/ink/ink103.xml" ContentType="application/inkml+xml"/>
  <Override PartName="/ppt/ink/ink104.xml" ContentType="application/inkml+xml"/>
  <Override PartName="/ppt/ink/ink105.xml" ContentType="application/inkml+xml"/>
  <Override PartName="/ppt/ink/ink106.xml" ContentType="application/inkml+xml"/>
  <Override PartName="/ppt/ink/ink107.xml" ContentType="application/inkml+xml"/>
  <Override PartName="/ppt/ink/ink108.xml" ContentType="application/inkml+xml"/>
  <Override PartName="/ppt/ink/ink109.xml" ContentType="application/inkml+xml"/>
  <Override PartName="/ppt/ink/ink110.xml" ContentType="application/inkml+xml"/>
  <Override PartName="/ppt/ink/ink111.xml" ContentType="application/inkml+xml"/>
  <Override PartName="/ppt/ink/ink112.xml" ContentType="application/inkml+xml"/>
  <Override PartName="/ppt/ink/ink113.xml" ContentType="application/inkml+xml"/>
  <Override PartName="/ppt/ink/ink114.xml" ContentType="application/inkml+xml"/>
  <Override PartName="/ppt/ink/ink115.xml" ContentType="application/inkml+xml"/>
  <Override PartName="/ppt/ink/ink116.xml" ContentType="application/inkml+xml"/>
  <Override PartName="/ppt/ink/ink117.xml" ContentType="application/inkml+xml"/>
  <Override PartName="/ppt/ink/ink118.xml" ContentType="application/inkml+xml"/>
  <Override PartName="/ppt/ink/ink119.xml" ContentType="application/inkml+xml"/>
  <Override PartName="/ppt/ink/ink120.xml" ContentType="application/inkml+xml"/>
  <Override PartName="/ppt/ink/ink121.xml" ContentType="application/inkml+xml"/>
  <Override PartName="/ppt/ink/ink122.xml" ContentType="application/inkml+xml"/>
  <Override PartName="/ppt/ink/ink123.xml" ContentType="application/inkml+xml"/>
  <Override PartName="/ppt/ink/ink124.xml" ContentType="application/inkml+xml"/>
  <Override PartName="/ppt/ink/ink125.xml" ContentType="application/inkml+xml"/>
  <Override PartName="/ppt/ink/ink126.xml" ContentType="application/inkml+xml"/>
  <Override PartName="/ppt/ink/ink127.xml" ContentType="application/inkml+xml"/>
  <Override PartName="/ppt/ink/ink128.xml" ContentType="application/inkml+xml"/>
  <Override PartName="/ppt/ink/ink129.xml" ContentType="application/inkml+xml"/>
  <Override PartName="/ppt/ink/ink130.xml" ContentType="application/inkml+xml"/>
  <Override PartName="/ppt/ink/ink131.xml" ContentType="application/inkml+xml"/>
  <Override PartName="/ppt/ink/ink132.xml" ContentType="application/inkml+xml"/>
  <Override PartName="/ppt/ink/ink133.xml" ContentType="application/inkml+xml"/>
  <Override PartName="/ppt/ink/ink134.xml" ContentType="application/inkml+xml"/>
  <Override PartName="/ppt/ink/ink135.xml" ContentType="application/inkml+xml"/>
  <Override PartName="/ppt/ink/ink136.xml" ContentType="application/inkml+xml"/>
  <Override PartName="/ppt/tags/tag7.xml" ContentType="application/vnd.openxmlformats-officedocument.presentationml.tags+xml"/>
  <Override PartName="/ppt/ink/ink137.xml" ContentType="application/inkml+xml"/>
  <Override PartName="/ppt/ink/ink138.xml" ContentType="application/inkml+xml"/>
  <Override PartName="/ppt/ink/ink139.xml" ContentType="application/inkml+xml"/>
  <Override PartName="/ppt/ink/ink140.xml" ContentType="application/inkml+xml"/>
  <Override PartName="/ppt/ink/ink141.xml" ContentType="application/inkml+xml"/>
  <Override PartName="/ppt/ink/ink142.xml" ContentType="application/inkml+xml"/>
  <Override PartName="/ppt/ink/ink143.xml" ContentType="application/inkml+xml"/>
  <Override PartName="/ppt/ink/ink144.xml" ContentType="application/inkml+xml"/>
  <Override PartName="/ppt/ink/ink145.xml" ContentType="application/inkml+xml"/>
  <Override PartName="/ppt/ink/ink146.xml" ContentType="application/inkml+xml"/>
  <Override PartName="/ppt/ink/ink147.xml" ContentType="application/inkml+xml"/>
  <Override PartName="/ppt/ink/ink148.xml" ContentType="application/inkml+xml"/>
  <Override PartName="/ppt/ink/ink149.xml" ContentType="application/inkml+xml"/>
  <Override PartName="/ppt/ink/ink150.xml" ContentType="application/inkml+xml"/>
  <Override PartName="/ppt/ink/ink151.xml" ContentType="application/inkml+xml"/>
  <Override PartName="/ppt/ink/ink152.xml" ContentType="application/inkml+xml"/>
  <Override PartName="/ppt/ink/ink153.xml" ContentType="application/inkml+xml"/>
  <Override PartName="/ppt/ink/ink154.xml" ContentType="application/inkml+xml"/>
  <Override PartName="/ppt/ink/ink155.xml" ContentType="application/inkml+xml"/>
  <Override PartName="/ppt/ink/ink156.xml" ContentType="application/inkml+xml"/>
  <Override PartName="/ppt/ink/ink157.xml" ContentType="application/inkml+xml"/>
  <Override PartName="/ppt/ink/ink158.xml" ContentType="application/inkml+xml"/>
  <Override PartName="/ppt/ink/ink159.xml" ContentType="application/inkml+xml"/>
  <Override PartName="/ppt/ink/ink160.xml" ContentType="application/inkml+xml"/>
  <Override PartName="/ppt/ink/ink161.xml" ContentType="application/inkml+xml"/>
  <Override PartName="/ppt/ink/ink162.xml" ContentType="application/inkml+xml"/>
  <Override PartName="/ppt/ink/ink163.xml" ContentType="application/inkml+xml"/>
  <Override PartName="/ppt/ink/ink164.xml" ContentType="application/inkml+xml"/>
  <Override PartName="/ppt/ink/ink165.xml" ContentType="application/inkml+xml"/>
  <Override PartName="/ppt/ink/ink166.xml" ContentType="application/inkml+xml"/>
  <Override PartName="/ppt/ink/ink167.xml" ContentType="application/inkml+xml"/>
  <Override PartName="/ppt/ink/ink168.xml" ContentType="application/inkml+xml"/>
  <Override PartName="/ppt/ink/ink169.xml" ContentType="application/inkml+xml"/>
  <Override PartName="/ppt/ink/ink170.xml" ContentType="application/inkml+xml"/>
  <Override PartName="/ppt/ink/ink171.xml" ContentType="application/inkml+xml"/>
  <Override PartName="/ppt/ink/ink172.xml" ContentType="application/inkml+xml"/>
  <Override PartName="/ppt/ink/ink173.xml" ContentType="application/inkml+xml"/>
  <Override PartName="/ppt/ink/ink174.xml" ContentType="application/inkml+xml"/>
  <Override PartName="/ppt/ink/ink175.xml" ContentType="application/inkml+xml"/>
  <Override PartName="/ppt/ink/ink176.xml" ContentType="application/inkml+xml"/>
  <Override PartName="/ppt/ink/ink177.xml" ContentType="application/inkml+xml"/>
  <Override PartName="/ppt/ink/ink178.xml" ContentType="application/inkml+xml"/>
  <Override PartName="/ppt/ink/ink179.xml" ContentType="application/inkml+xml"/>
  <Override PartName="/ppt/ink/ink180.xml" ContentType="application/inkml+xml"/>
  <Override PartName="/ppt/ink/ink181.xml" ContentType="application/inkml+xml"/>
  <Override PartName="/ppt/ink/ink182.xml" ContentType="application/inkml+xml"/>
  <Override PartName="/ppt/ink/ink183.xml" ContentType="application/inkml+xml"/>
  <Override PartName="/ppt/ink/ink184.xml" ContentType="application/inkml+xml"/>
  <Override PartName="/ppt/ink/ink185.xml" ContentType="application/inkml+xml"/>
  <Override PartName="/ppt/ink/ink186.xml" ContentType="application/inkml+xml"/>
  <Override PartName="/ppt/ink/ink187.xml" ContentType="application/inkml+xml"/>
  <Override PartName="/ppt/ink/ink188.xml" ContentType="application/inkml+xml"/>
  <Override PartName="/ppt/ink/ink189.xml" ContentType="application/inkml+xml"/>
  <Override PartName="/ppt/ink/ink190.xml" ContentType="application/inkml+xml"/>
  <Override PartName="/ppt/ink/ink191.xml" ContentType="application/inkml+xml"/>
  <Override PartName="/ppt/ink/ink192.xml" ContentType="application/inkml+xml"/>
  <Override PartName="/ppt/ink/ink193.xml" ContentType="application/inkml+xml"/>
  <Override PartName="/ppt/ink/ink194.xml" ContentType="application/inkml+xml"/>
  <Override PartName="/ppt/ink/ink195.xml" ContentType="application/inkml+xml"/>
  <Override PartName="/ppt/ink/ink196.xml" ContentType="application/inkml+xml"/>
  <Override PartName="/ppt/ink/ink197.xml" ContentType="application/inkml+xml"/>
  <Override PartName="/ppt/ink/ink198.xml" ContentType="application/inkml+xml"/>
  <Override PartName="/ppt/ink/ink199.xml" ContentType="application/inkml+xml"/>
  <Override PartName="/ppt/ink/ink200.xml" ContentType="application/inkml+xml"/>
  <Override PartName="/ppt/ink/ink201.xml" ContentType="application/inkml+xml"/>
  <Override PartName="/ppt/ink/ink202.xml" ContentType="application/inkml+xml"/>
  <Override PartName="/ppt/ink/ink203.xml" ContentType="application/inkml+xml"/>
  <Override PartName="/ppt/ink/ink204.xml" ContentType="application/inkml+xml"/>
  <Override PartName="/ppt/ink/ink205.xml" ContentType="application/inkml+xml"/>
  <Override PartName="/ppt/ink/ink206.xml" ContentType="application/inkml+xml"/>
  <Override PartName="/ppt/ink/ink207.xml" ContentType="application/inkml+xml"/>
  <Override PartName="/ppt/ink/ink208.xml" ContentType="application/inkml+xml"/>
  <Override PartName="/ppt/ink/ink209.xml" ContentType="application/inkml+xml"/>
  <Override PartName="/ppt/ink/ink210.xml" ContentType="application/inkml+xml"/>
  <Override PartName="/ppt/ink/ink211.xml" ContentType="application/inkml+xml"/>
  <Override PartName="/ppt/ink/ink212.xml" ContentType="application/inkml+xml"/>
  <Override PartName="/ppt/ink/ink213.xml" ContentType="application/inkml+xml"/>
  <Override PartName="/ppt/ink/ink214.xml" ContentType="application/inkml+xml"/>
  <Override PartName="/ppt/ink/ink215.xml" ContentType="application/inkml+xml"/>
  <Override PartName="/ppt/ink/ink216.xml" ContentType="application/inkml+xml"/>
  <Override PartName="/ppt/ink/ink217.xml" ContentType="application/inkml+xml"/>
  <Override PartName="/ppt/ink/ink218.xml" ContentType="application/inkml+xml"/>
  <Override PartName="/ppt/ink/ink219.xml" ContentType="application/inkml+xml"/>
  <Override PartName="/ppt/ink/ink220.xml" ContentType="application/inkml+xml"/>
  <Override PartName="/ppt/ink/ink221.xml" ContentType="application/inkml+xml"/>
  <Override PartName="/ppt/ink/ink222.xml" ContentType="application/inkml+xml"/>
  <Override PartName="/ppt/ink/ink223.xml" ContentType="application/inkml+xml"/>
  <Override PartName="/ppt/tags/tag8.xml" ContentType="application/vnd.openxmlformats-officedocument.presentationml.tags+xml"/>
  <Override PartName="/ppt/ink/ink224.xml" ContentType="application/inkml+xml"/>
  <Override PartName="/ppt/ink/ink225.xml" ContentType="application/inkml+xml"/>
  <Override PartName="/ppt/ink/ink226.xml" ContentType="application/inkml+xml"/>
  <Override PartName="/ppt/ink/ink227.xml" ContentType="application/inkml+xml"/>
  <Override PartName="/ppt/ink/ink228.xml" ContentType="application/inkml+xml"/>
  <Override PartName="/ppt/ink/ink229.xml" ContentType="application/inkml+xml"/>
  <Override PartName="/ppt/ink/ink230.xml" ContentType="application/inkml+xml"/>
  <Override PartName="/ppt/ink/ink231.xml" ContentType="application/inkml+xml"/>
  <Override PartName="/ppt/ink/ink232.xml" ContentType="application/inkml+xml"/>
  <Override PartName="/ppt/ink/ink233.xml" ContentType="application/inkml+xml"/>
  <Override PartName="/ppt/ink/ink234.xml" ContentType="application/inkml+xml"/>
  <Override PartName="/ppt/ink/ink235.xml" ContentType="application/inkml+xml"/>
  <Override PartName="/ppt/ink/ink236.xml" ContentType="application/inkml+xml"/>
  <Override PartName="/ppt/ink/ink237.xml" ContentType="application/inkml+xml"/>
  <Override PartName="/ppt/ink/ink238.xml" ContentType="application/inkml+xml"/>
  <Override PartName="/ppt/ink/ink239.xml" ContentType="application/inkml+xml"/>
  <Override PartName="/ppt/ink/ink240.xml" ContentType="application/inkml+xml"/>
  <Override PartName="/ppt/ink/ink241.xml" ContentType="application/inkml+xml"/>
  <Override PartName="/ppt/ink/ink242.xml" ContentType="application/inkml+xml"/>
  <Override PartName="/ppt/ink/ink243.xml" ContentType="application/inkml+xml"/>
  <Override PartName="/ppt/ink/ink244.xml" ContentType="application/inkml+xml"/>
  <Override PartName="/ppt/ink/ink245.xml" ContentType="application/inkml+xml"/>
  <Override PartName="/ppt/ink/ink246.xml" ContentType="application/inkml+xml"/>
  <Override PartName="/ppt/ink/ink247.xml" ContentType="application/inkml+xml"/>
  <Override PartName="/ppt/ink/ink248.xml" ContentType="application/inkml+xml"/>
  <Override PartName="/ppt/ink/ink249.xml" ContentType="application/inkml+xml"/>
  <Override PartName="/ppt/ink/ink250.xml" ContentType="application/inkml+xml"/>
  <Override PartName="/ppt/ink/ink251.xml" ContentType="application/inkml+xml"/>
  <Override PartName="/ppt/ink/ink252.xml" ContentType="application/inkml+xml"/>
  <Override PartName="/ppt/ink/ink253.xml" ContentType="application/inkml+xml"/>
  <Override PartName="/ppt/ink/ink254.xml" ContentType="application/inkml+xml"/>
  <Override PartName="/ppt/ink/ink255.xml" ContentType="application/inkml+xml"/>
  <Override PartName="/ppt/ink/ink256.xml" ContentType="application/inkml+xml"/>
  <Override PartName="/ppt/ink/ink257.xml" ContentType="application/inkml+xml"/>
  <Override PartName="/ppt/ink/ink258.xml" ContentType="application/inkml+xml"/>
  <Override PartName="/ppt/ink/ink259.xml" ContentType="application/inkml+xml"/>
  <Override PartName="/ppt/ink/ink260.xml" ContentType="application/inkml+xml"/>
  <Override PartName="/ppt/ink/ink261.xml" ContentType="application/inkml+xml"/>
  <Override PartName="/ppt/ink/ink262.xml" ContentType="application/inkml+xml"/>
  <Override PartName="/ppt/ink/ink263.xml" ContentType="application/inkml+xml"/>
  <Override PartName="/ppt/ink/ink264.xml" ContentType="application/inkml+xml"/>
  <Override PartName="/ppt/ink/ink265.xml" ContentType="application/inkml+xml"/>
  <Override PartName="/ppt/ink/ink266.xml" ContentType="application/inkml+xml"/>
  <Override PartName="/ppt/ink/ink267.xml" ContentType="application/inkml+xml"/>
  <Override PartName="/ppt/ink/ink268.xml" ContentType="application/inkml+xml"/>
  <Override PartName="/ppt/ink/ink269.xml" ContentType="application/inkml+xml"/>
  <Override PartName="/ppt/ink/ink270.xml" ContentType="application/inkml+xml"/>
  <Override PartName="/ppt/ink/ink271.xml" ContentType="application/inkml+xml"/>
  <Override PartName="/ppt/ink/ink272.xml" ContentType="application/inkml+xml"/>
  <Override PartName="/ppt/ink/ink273.xml" ContentType="application/inkml+xml"/>
  <Override PartName="/ppt/ink/ink274.xml" ContentType="application/inkml+xml"/>
  <Override PartName="/ppt/ink/ink275.xml" ContentType="application/inkml+xml"/>
  <Override PartName="/ppt/ink/ink276.xml" ContentType="application/inkml+xml"/>
  <Override PartName="/ppt/ink/ink277.xml" ContentType="application/inkml+xml"/>
  <Override PartName="/ppt/ink/ink278.xml" ContentType="application/inkml+xml"/>
  <Override PartName="/ppt/ink/ink279.xml" ContentType="application/inkml+xml"/>
  <Override PartName="/ppt/ink/ink280.xml" ContentType="application/inkml+xml"/>
  <Override PartName="/ppt/ink/ink281.xml" ContentType="application/inkml+xml"/>
  <Override PartName="/ppt/ink/ink282.xml" ContentType="application/inkml+xml"/>
  <Override PartName="/ppt/ink/ink283.xml" ContentType="application/inkml+xml"/>
  <Override PartName="/ppt/ink/ink284.xml" ContentType="application/inkml+xml"/>
  <Override PartName="/ppt/ink/ink285.xml" ContentType="application/inkml+xml"/>
  <Override PartName="/ppt/ink/ink286.xml" ContentType="application/inkml+xml"/>
  <Override PartName="/ppt/ink/ink287.xml" ContentType="application/inkml+xml"/>
  <Override PartName="/ppt/ink/ink288.xml" ContentType="application/inkml+xml"/>
  <Override PartName="/ppt/ink/ink289.xml" ContentType="application/inkml+xml"/>
  <Override PartName="/ppt/ink/ink290.xml" ContentType="application/inkml+xml"/>
  <Override PartName="/ppt/ink/ink291.xml" ContentType="application/inkml+xml"/>
  <Override PartName="/ppt/ink/ink292.xml" ContentType="application/inkml+xml"/>
  <Override PartName="/ppt/ink/ink293.xml" ContentType="application/inkml+xml"/>
  <Override PartName="/ppt/ink/ink294.xml" ContentType="application/inkml+xml"/>
  <Override PartName="/ppt/ink/ink295.xml" ContentType="application/inkml+xml"/>
  <Override PartName="/ppt/ink/ink296.xml" ContentType="application/inkml+xml"/>
  <Override PartName="/ppt/ink/ink297.xml" ContentType="application/inkml+xml"/>
  <Override PartName="/ppt/ink/ink298.xml" ContentType="application/inkml+xml"/>
  <Override PartName="/ppt/ink/ink299.xml" ContentType="application/inkml+xml"/>
  <Override PartName="/ppt/ink/ink300.xml" ContentType="application/inkml+xml"/>
  <Override PartName="/ppt/ink/ink301.xml" ContentType="application/inkml+xml"/>
  <Override PartName="/ppt/ink/ink302.xml" ContentType="application/inkml+xml"/>
  <Override PartName="/ppt/ink/ink303.xml" ContentType="application/inkml+xml"/>
  <Override PartName="/ppt/ink/ink304.xml" ContentType="application/inkml+xml"/>
  <Override PartName="/ppt/ink/ink305.xml" ContentType="application/inkml+xml"/>
  <Override PartName="/ppt/ink/ink306.xml" ContentType="application/inkml+xml"/>
  <Override PartName="/ppt/ink/ink307.xml" ContentType="application/inkml+xml"/>
  <Override PartName="/ppt/ink/ink308.xml" ContentType="application/inkml+xml"/>
  <Override PartName="/ppt/ink/ink309.xml" ContentType="application/inkml+xml"/>
  <Override PartName="/ppt/ink/ink310.xml" ContentType="application/inkml+xml"/>
  <Override PartName="/ppt/ink/ink311.xml" ContentType="application/inkml+xml"/>
  <Override PartName="/ppt/ink/ink312.xml" ContentType="application/inkml+xml"/>
  <Override PartName="/ppt/ink/ink313.xml" ContentType="application/inkml+xml"/>
  <Override PartName="/ppt/ink/ink314.xml" ContentType="application/inkml+xml"/>
  <Override PartName="/ppt/ink/ink315.xml" ContentType="application/inkml+xml"/>
  <Override PartName="/ppt/ink/ink316.xml" ContentType="application/inkml+xml"/>
  <Override PartName="/ppt/ink/ink317.xml" ContentType="application/inkml+xml"/>
  <Override PartName="/ppt/ink/ink318.xml" ContentType="application/inkml+xml"/>
  <Override PartName="/ppt/ink/ink319.xml" ContentType="application/inkml+xml"/>
  <Override PartName="/ppt/tags/tag9.xml" ContentType="application/vnd.openxmlformats-officedocument.presentationml.tags+xml"/>
  <Override PartName="/ppt/ink/ink320.xml" ContentType="application/inkml+xml"/>
  <Override PartName="/ppt/ink/ink321.xml" ContentType="application/inkml+xml"/>
  <Override PartName="/ppt/ink/ink322.xml" ContentType="application/inkml+xml"/>
  <Override PartName="/ppt/ink/ink323.xml" ContentType="application/inkml+xml"/>
  <Override PartName="/ppt/ink/ink324.xml" ContentType="application/inkml+xml"/>
  <Override PartName="/ppt/ink/ink325.xml" ContentType="application/inkml+xml"/>
  <Override PartName="/ppt/ink/ink326.xml" ContentType="application/inkml+xml"/>
  <Override PartName="/ppt/ink/ink327.xml" ContentType="application/inkml+xml"/>
  <Override PartName="/ppt/ink/ink328.xml" ContentType="application/inkml+xml"/>
  <Override PartName="/ppt/ink/ink329.xml" ContentType="application/inkml+xml"/>
  <Override PartName="/ppt/ink/ink330.xml" ContentType="application/inkml+xml"/>
  <Override PartName="/ppt/ink/ink331.xml" ContentType="application/inkml+xml"/>
  <Override PartName="/ppt/ink/ink332.xml" ContentType="application/inkml+xml"/>
  <Override PartName="/ppt/ink/ink333.xml" ContentType="application/inkml+xml"/>
  <Override PartName="/ppt/ink/ink334.xml" ContentType="application/inkml+xml"/>
  <Override PartName="/ppt/ink/ink335.xml" ContentType="application/inkml+xml"/>
  <Override PartName="/ppt/ink/ink336.xml" ContentType="application/inkml+xml"/>
  <Override PartName="/ppt/ink/ink337.xml" ContentType="application/inkml+xml"/>
  <Override PartName="/ppt/ink/ink338.xml" ContentType="application/inkml+xml"/>
  <Override PartName="/ppt/ink/ink339.xml" ContentType="application/inkml+xml"/>
  <Override PartName="/ppt/ink/ink340.xml" ContentType="application/inkml+xml"/>
  <Override PartName="/ppt/ink/ink341.xml" ContentType="application/inkml+xml"/>
  <Override PartName="/ppt/ink/ink342.xml" ContentType="application/inkml+xml"/>
  <Override PartName="/ppt/ink/ink343.xml" ContentType="application/inkml+xml"/>
  <Override PartName="/ppt/ink/ink344.xml" ContentType="application/inkml+xml"/>
  <Override PartName="/ppt/ink/ink345.xml" ContentType="application/inkml+xml"/>
  <Override PartName="/ppt/ink/ink346.xml" ContentType="application/inkml+xml"/>
  <Override PartName="/ppt/ink/ink347.xml" ContentType="application/inkml+xml"/>
  <Override PartName="/ppt/ink/ink348.xml" ContentType="application/inkml+xml"/>
  <Override PartName="/ppt/ink/ink349.xml" ContentType="application/inkml+xml"/>
  <Override PartName="/ppt/ink/ink350.xml" ContentType="application/inkml+xml"/>
  <Override PartName="/ppt/ink/ink351.xml" ContentType="application/inkml+xml"/>
  <Override PartName="/ppt/ink/ink352.xml" ContentType="application/inkml+xml"/>
  <Override PartName="/ppt/ink/ink353.xml" ContentType="application/inkml+xml"/>
  <Override PartName="/ppt/ink/ink354.xml" ContentType="application/inkml+xml"/>
  <Override PartName="/ppt/ink/ink355.xml" ContentType="application/inkml+xml"/>
  <Override PartName="/ppt/ink/ink356.xml" ContentType="application/inkml+xml"/>
  <Override PartName="/ppt/ink/ink357.xml" ContentType="application/inkml+xml"/>
  <Override PartName="/ppt/ink/ink358.xml" ContentType="application/inkml+xml"/>
  <Override PartName="/ppt/ink/ink359.xml" ContentType="application/inkml+xml"/>
  <Override PartName="/ppt/ink/ink360.xml" ContentType="application/inkml+xml"/>
  <Override PartName="/ppt/ink/ink361.xml" ContentType="application/inkml+xml"/>
  <Override PartName="/ppt/ink/ink362.xml" ContentType="application/inkml+xml"/>
  <Override PartName="/ppt/ink/ink363.xml" ContentType="application/inkml+xml"/>
  <Override PartName="/ppt/ink/ink364.xml" ContentType="application/inkml+xml"/>
  <Override PartName="/ppt/ink/ink365.xml" ContentType="application/inkml+xml"/>
  <Override PartName="/ppt/ink/ink366.xml" ContentType="application/inkml+xml"/>
  <Override PartName="/ppt/ink/ink367.xml" ContentType="application/inkml+xml"/>
  <Override PartName="/ppt/ink/ink368.xml" ContentType="application/inkml+xml"/>
  <Override PartName="/ppt/ink/ink369.xml" ContentType="application/inkml+xml"/>
  <Override PartName="/ppt/ink/ink370.xml" ContentType="application/inkml+xml"/>
  <Override PartName="/ppt/ink/ink371.xml" ContentType="application/inkml+xml"/>
  <Override PartName="/ppt/tags/tag10.xml" ContentType="application/vnd.openxmlformats-officedocument.presentationml.tags+xml"/>
  <Override PartName="/ppt/ink/ink372.xml" ContentType="application/inkml+xml"/>
  <Override PartName="/ppt/ink/ink373.xml" ContentType="application/inkml+xml"/>
  <Override PartName="/ppt/ink/ink374.xml" ContentType="application/inkml+xml"/>
  <Override PartName="/ppt/ink/ink375.xml" ContentType="application/inkml+xml"/>
  <Override PartName="/ppt/ink/ink376.xml" ContentType="application/inkml+xml"/>
  <Override PartName="/ppt/ink/ink377.xml" ContentType="application/inkml+xml"/>
  <Override PartName="/ppt/ink/ink378.xml" ContentType="application/inkml+xml"/>
  <Override PartName="/ppt/ink/ink379.xml" ContentType="application/inkml+xml"/>
  <Override PartName="/ppt/ink/ink380.xml" ContentType="application/inkml+xml"/>
  <Override PartName="/ppt/ink/ink381.xml" ContentType="application/inkml+xml"/>
  <Override PartName="/ppt/ink/ink382.xml" ContentType="application/inkml+xml"/>
  <Override PartName="/ppt/ink/ink383.xml" ContentType="application/inkml+xml"/>
  <Override PartName="/ppt/ink/ink384.xml" ContentType="application/inkml+xml"/>
  <Override PartName="/ppt/ink/ink385.xml" ContentType="application/inkml+xml"/>
  <Override PartName="/ppt/ink/ink386.xml" ContentType="application/inkml+xml"/>
  <Override PartName="/ppt/ink/ink387.xml" ContentType="application/inkml+xml"/>
  <Override PartName="/ppt/ink/ink388.xml" ContentType="application/inkml+xml"/>
  <Override PartName="/ppt/ink/ink389.xml" ContentType="application/inkml+xml"/>
  <Override PartName="/ppt/ink/ink390.xml" ContentType="application/inkml+xml"/>
  <Override PartName="/ppt/ink/ink391.xml" ContentType="application/inkml+xml"/>
  <Override PartName="/ppt/ink/ink392.xml" ContentType="application/inkml+xml"/>
  <Override PartName="/ppt/ink/ink393.xml" ContentType="application/inkml+xml"/>
  <Override PartName="/ppt/ink/ink394.xml" ContentType="application/inkml+xml"/>
  <Override PartName="/ppt/ink/ink395.xml" ContentType="application/inkml+xml"/>
  <Override PartName="/ppt/ink/ink396.xml" ContentType="application/inkml+xml"/>
  <Override PartName="/ppt/ink/ink397.xml" ContentType="application/inkml+xml"/>
  <Override PartName="/ppt/ink/ink398.xml" ContentType="application/inkml+xml"/>
  <Override PartName="/ppt/ink/ink399.xml" ContentType="application/inkml+xml"/>
  <Override PartName="/ppt/ink/ink400.xml" ContentType="application/inkml+xml"/>
  <Override PartName="/ppt/ink/ink401.xml" ContentType="application/inkml+xml"/>
  <Override PartName="/ppt/ink/ink402.xml" ContentType="application/inkml+xml"/>
  <Override PartName="/ppt/ink/ink403.xml" ContentType="application/inkml+xml"/>
  <Override PartName="/ppt/ink/ink404.xml" ContentType="application/inkml+xml"/>
  <Override PartName="/ppt/ink/ink405.xml" ContentType="application/inkml+xml"/>
  <Override PartName="/ppt/ink/ink406.xml" ContentType="application/inkml+xml"/>
  <Override PartName="/ppt/ink/ink407.xml" ContentType="application/inkml+xml"/>
  <Override PartName="/ppt/ink/ink408.xml" ContentType="application/inkml+xml"/>
  <Override PartName="/ppt/ink/ink409.xml" ContentType="application/inkml+xml"/>
  <Override PartName="/ppt/ink/ink410.xml" ContentType="application/inkml+xml"/>
  <Override PartName="/ppt/ink/ink411.xml" ContentType="application/inkml+xml"/>
  <Override PartName="/ppt/ink/ink412.xml" ContentType="application/inkml+xml"/>
  <Override PartName="/ppt/ink/ink413.xml" ContentType="application/inkml+xml"/>
  <Override PartName="/ppt/ink/ink414.xml" ContentType="application/inkml+xml"/>
  <Override PartName="/ppt/ink/ink415.xml" ContentType="application/inkml+xml"/>
  <Override PartName="/ppt/ink/ink416.xml" ContentType="application/inkml+xml"/>
  <Override PartName="/ppt/ink/ink417.xml" ContentType="application/inkml+xml"/>
  <Override PartName="/ppt/ink/ink418.xml" ContentType="application/inkml+xml"/>
  <Override PartName="/ppt/ink/ink419.xml" ContentType="application/inkml+xml"/>
  <Override PartName="/ppt/ink/ink420.xml" ContentType="application/inkml+xml"/>
  <Override PartName="/ppt/ink/ink421.xml" ContentType="application/inkml+xml"/>
  <Override PartName="/ppt/ink/ink422.xml" ContentType="application/inkml+xml"/>
  <Override PartName="/ppt/ink/ink423.xml" ContentType="application/inkml+xml"/>
  <Override PartName="/ppt/ink/ink424.xml" ContentType="application/inkml+xml"/>
  <Override PartName="/ppt/ink/ink425.xml" ContentType="application/inkml+xml"/>
  <Override PartName="/ppt/ink/ink426.xml" ContentType="application/inkml+xml"/>
  <Override PartName="/ppt/ink/ink427.xml" ContentType="application/inkml+xml"/>
  <Override PartName="/ppt/ink/ink428.xml" ContentType="application/inkml+xml"/>
  <Override PartName="/ppt/ink/ink429.xml" ContentType="application/inkml+xml"/>
  <Override PartName="/ppt/ink/ink430.xml" ContentType="application/inkml+xml"/>
  <Override PartName="/ppt/ink/ink431.xml" ContentType="application/inkml+xml"/>
  <Override PartName="/ppt/ink/ink432.xml" ContentType="application/inkml+xml"/>
  <Override PartName="/ppt/ink/ink433.xml" ContentType="application/inkml+xml"/>
  <Override PartName="/ppt/ink/ink434.xml" ContentType="application/inkml+xml"/>
  <Override PartName="/ppt/ink/ink435.xml" ContentType="application/inkml+xml"/>
  <Override PartName="/ppt/ink/ink436.xml" ContentType="application/inkml+xml"/>
  <Override PartName="/ppt/ink/ink437.xml" ContentType="application/inkml+xml"/>
  <Override PartName="/ppt/ink/ink438.xml" ContentType="application/inkml+xml"/>
  <Override PartName="/ppt/ink/ink439.xml" ContentType="application/inkml+xml"/>
  <Override PartName="/ppt/ink/ink440.xml" ContentType="application/inkml+xml"/>
  <Override PartName="/ppt/ink/ink441.xml" ContentType="application/inkml+xml"/>
  <Override PartName="/ppt/ink/ink442.xml" ContentType="application/inkml+xml"/>
  <Override PartName="/ppt/ink/ink443.xml" ContentType="application/inkml+xml"/>
  <Override PartName="/ppt/ink/ink444.xml" ContentType="application/inkml+xml"/>
  <Override PartName="/ppt/ink/ink445.xml" ContentType="application/inkml+xml"/>
  <Override PartName="/ppt/ink/ink446.xml" ContentType="application/inkml+xml"/>
  <Override PartName="/ppt/ink/ink447.xml" ContentType="application/inkml+xml"/>
  <Override PartName="/ppt/ink/ink448.xml" ContentType="application/inkml+xml"/>
  <Override PartName="/ppt/ink/ink449.xml" ContentType="application/inkml+xml"/>
  <Override PartName="/ppt/ink/ink450.xml" ContentType="application/inkml+xml"/>
  <Override PartName="/ppt/ink/ink451.xml" ContentType="application/inkml+xml"/>
  <Override PartName="/ppt/ink/ink452.xml" ContentType="application/inkml+xml"/>
  <Override PartName="/ppt/tags/tag11.xml" ContentType="application/vnd.openxmlformats-officedocument.presentationml.tags+xml"/>
  <Override PartName="/ppt/ink/ink453.xml" ContentType="application/inkml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ink/ink454.xml" ContentType="application/inkml+xml"/>
  <Override PartName="/ppt/ink/ink455.xml" ContentType="application/inkml+xml"/>
  <Override PartName="/ppt/ink/ink456.xml" ContentType="application/inkml+xml"/>
  <Override PartName="/ppt/ink/ink457.xml" ContentType="application/inkml+xml"/>
  <Override PartName="/ppt/ink/ink458.xml" ContentType="application/inkml+xml"/>
  <Override PartName="/ppt/ink/ink459.xml" ContentType="application/inkml+xml"/>
  <Override PartName="/ppt/ink/ink460.xml" ContentType="application/inkml+xml"/>
  <Override PartName="/ppt/ink/ink461.xml" ContentType="application/inkml+xml"/>
  <Override PartName="/ppt/ink/ink462.xml" ContentType="application/inkml+xml"/>
  <Override PartName="/ppt/ink/ink463.xml" ContentType="application/inkml+xml"/>
  <Override PartName="/ppt/ink/ink464.xml" ContentType="application/inkml+xml"/>
  <Override PartName="/ppt/ink/ink465.xml" ContentType="application/inkml+xml"/>
  <Override PartName="/ppt/ink/ink466.xml" ContentType="application/inkml+xml"/>
  <Override PartName="/ppt/ink/ink467.xml" ContentType="application/inkml+xml"/>
  <Override PartName="/ppt/ink/ink468.xml" ContentType="application/inkml+xml"/>
  <Override PartName="/ppt/ink/ink469.xml" ContentType="application/inkml+xml"/>
  <Override PartName="/ppt/ink/ink470.xml" ContentType="application/inkml+xml"/>
  <Override PartName="/ppt/ink/ink471.xml" ContentType="application/inkml+xml"/>
  <Override PartName="/ppt/ink/ink472.xml" ContentType="application/inkml+xml"/>
  <Override PartName="/ppt/tags/tag14.xml" ContentType="application/vnd.openxmlformats-officedocument.presentationml.tags+xml"/>
  <Override PartName="/ppt/ink/ink473.xml" ContentType="application/inkml+xml"/>
  <Override PartName="/ppt/tags/tag15.xml" ContentType="application/vnd.openxmlformats-officedocument.presentationml.tags+xml"/>
  <Override PartName="/ppt/ink/ink474.xml" ContentType="application/inkml+xml"/>
  <Override PartName="/ppt/ink/ink475.xml" ContentType="application/inkml+xml"/>
  <Override PartName="/ppt/ink/ink476.xml" ContentType="application/inkml+xml"/>
  <Override PartName="/ppt/ink/ink477.xml" ContentType="application/inkml+xml"/>
  <Override PartName="/ppt/ink/ink478.xml" ContentType="application/inkml+xml"/>
  <Override PartName="/ppt/ink/ink479.xml" ContentType="application/inkml+xml"/>
  <Override PartName="/ppt/ink/ink480.xml" ContentType="application/inkml+xml"/>
  <Override PartName="/ppt/ink/ink481.xml" ContentType="application/inkml+xml"/>
  <Override PartName="/ppt/ink/ink482.xml" ContentType="application/inkml+xml"/>
  <Override PartName="/ppt/ink/ink483.xml" ContentType="application/inkml+xml"/>
  <Override PartName="/ppt/ink/ink484.xml" ContentType="application/inkml+xml"/>
  <Override PartName="/ppt/ink/ink485.xml" ContentType="application/inkml+xml"/>
  <Override PartName="/ppt/ink/ink486.xml" ContentType="application/inkml+xml"/>
  <Override PartName="/ppt/ink/ink487.xml" ContentType="application/inkml+xml"/>
  <Override PartName="/ppt/ink/ink488.xml" ContentType="application/inkml+xml"/>
  <Override PartName="/ppt/ink/ink489.xml" ContentType="application/inkml+xml"/>
  <Override PartName="/ppt/tags/tag16.xml" ContentType="application/vnd.openxmlformats-officedocument.presentationml.tags+xml"/>
  <Override PartName="/ppt/ink/ink490.xml" ContentType="application/inkml+xml"/>
  <Override PartName="/ppt/ink/ink491.xml" ContentType="application/inkml+xml"/>
  <Override PartName="/ppt/ink/ink492.xml" ContentType="application/inkml+xml"/>
  <Override PartName="/ppt/ink/ink493.xml" ContentType="application/inkml+xml"/>
  <Override PartName="/ppt/ink/ink494.xml" ContentType="application/inkml+xml"/>
  <Override PartName="/ppt/ink/ink495.xml" ContentType="application/inkml+xml"/>
  <Override PartName="/ppt/ink/ink496.xml" ContentType="application/inkml+xml"/>
  <Override PartName="/ppt/ink/ink497.xml" ContentType="application/inkml+xml"/>
  <Override PartName="/ppt/ink/ink498.xml" ContentType="application/inkml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ink/ink499.xml" ContentType="application/inkml+xml"/>
  <Override PartName="/ppt/ink/ink500.xml" ContentType="application/inkml+xml"/>
  <Override PartName="/ppt/ink/ink501.xml" ContentType="application/inkml+xml"/>
  <Override PartName="/ppt/ink/ink502.xml" ContentType="application/inkml+xml"/>
  <Override PartName="/ppt/ink/ink503.xml" ContentType="application/inkml+xml"/>
  <Override PartName="/ppt/ink/ink504.xml" ContentType="application/inkml+xml"/>
  <Override PartName="/ppt/ink/ink505.xml" ContentType="application/inkml+xml"/>
  <Override PartName="/ppt/ink/ink506.xml" ContentType="application/inkml+xml"/>
  <Override PartName="/ppt/ink/ink507.xml" ContentType="application/inkml+xml"/>
  <Override PartName="/ppt/ink/ink508.xml" ContentType="application/inkml+xml"/>
  <Override PartName="/ppt/ink/ink509.xml" ContentType="application/inkml+xml"/>
  <Override PartName="/ppt/ink/ink510.xml" ContentType="application/inkml+xml"/>
  <Override PartName="/ppt/ink/ink511.xml" ContentType="application/inkml+xml"/>
  <Override PartName="/ppt/ink/ink512.xml" ContentType="application/inkml+xml"/>
  <Override PartName="/ppt/ink/ink513.xml" ContentType="application/inkml+xml"/>
  <Override PartName="/ppt/ink/ink514.xml" ContentType="application/inkml+xml"/>
  <Override PartName="/ppt/ink/ink515.xml" ContentType="application/inkml+xml"/>
  <Override PartName="/ppt/ink/ink516.xml" ContentType="application/inkml+xml"/>
  <Override PartName="/ppt/ink/ink517.xml" ContentType="application/inkml+xml"/>
  <Override PartName="/ppt/ink/ink518.xml" ContentType="application/inkml+xml"/>
  <Override PartName="/ppt/ink/ink519.xml" ContentType="application/inkml+xml"/>
  <Override PartName="/ppt/ink/ink520.xml" ContentType="application/inkml+xml"/>
  <Override PartName="/ppt/ink/ink521.xml" ContentType="application/inkml+xml"/>
  <Override PartName="/ppt/ink/ink522.xml" ContentType="application/inkml+xml"/>
  <Override PartName="/ppt/ink/ink523.xml" ContentType="application/inkml+xml"/>
  <Override PartName="/ppt/ink/ink524.xml" ContentType="application/inkml+xml"/>
  <Override PartName="/ppt/ink/ink525.xml" ContentType="application/inkml+xml"/>
  <Override PartName="/ppt/ink/ink526.xml" ContentType="application/inkml+xml"/>
  <Override PartName="/ppt/ink/ink527.xml" ContentType="application/inkml+xml"/>
  <Override PartName="/ppt/ink/ink528.xml" ContentType="application/inkml+xml"/>
  <Override PartName="/ppt/ink/ink529.xml" ContentType="application/inkml+xml"/>
  <Override PartName="/ppt/ink/ink530.xml" ContentType="application/inkml+xml"/>
  <Override PartName="/ppt/ink/ink531.xml" ContentType="application/inkml+xml"/>
  <Override PartName="/ppt/ink/ink532.xml" ContentType="application/inkml+xml"/>
  <Override PartName="/ppt/ink/ink533.xml" ContentType="application/inkml+xml"/>
  <Override PartName="/ppt/ink/ink534.xml" ContentType="application/inkml+xml"/>
  <Override PartName="/ppt/ink/ink535.xml" ContentType="application/inkml+xml"/>
  <Override PartName="/ppt/ink/ink536.xml" ContentType="application/inkml+xml"/>
  <Override PartName="/ppt/ink/ink537.xml" ContentType="application/inkml+xml"/>
  <Override PartName="/ppt/ink/ink538.xml" ContentType="application/inkml+xml"/>
  <Override PartName="/ppt/ink/ink539.xml" ContentType="application/inkml+xml"/>
  <Override PartName="/ppt/ink/ink540.xml" ContentType="application/inkml+xml"/>
  <Override PartName="/ppt/ink/ink541.xml" ContentType="application/inkml+xml"/>
  <Override PartName="/ppt/ink/ink542.xml" ContentType="application/inkml+xml"/>
  <Override PartName="/ppt/ink/ink543.xml" ContentType="application/inkml+xml"/>
  <Override PartName="/ppt/ink/ink544.xml" ContentType="application/inkml+xml"/>
  <Override PartName="/ppt/ink/ink545.xml" ContentType="application/inkml+xml"/>
  <Override PartName="/ppt/ink/ink546.xml" ContentType="application/inkml+xml"/>
  <Override PartName="/ppt/ink/ink547.xml" ContentType="application/inkml+xml"/>
  <Override PartName="/ppt/ink/ink548.xml" ContentType="application/inkml+xml"/>
  <Override PartName="/ppt/ink/ink549.xml" ContentType="application/inkml+xml"/>
  <Override PartName="/ppt/ink/ink550.xml" ContentType="application/inkml+xml"/>
  <Override PartName="/ppt/ink/ink551.xml" ContentType="application/inkml+xml"/>
  <Override PartName="/ppt/ink/ink552.xml" ContentType="application/inkml+xml"/>
  <Override PartName="/ppt/ink/ink553.xml" ContentType="application/inkml+xml"/>
  <Override PartName="/ppt/ink/ink554.xml" ContentType="application/inkml+xml"/>
  <Override PartName="/ppt/ink/ink555.xml" ContentType="application/inkml+xml"/>
  <Override PartName="/ppt/ink/ink556.xml" ContentType="application/inkml+xml"/>
  <Override PartName="/ppt/ink/ink557.xml" ContentType="application/inkml+xml"/>
  <Override PartName="/ppt/ink/ink558.xml" ContentType="application/inkml+xml"/>
  <Override PartName="/ppt/ink/ink559.xml" ContentType="application/inkml+xml"/>
  <Override PartName="/ppt/ink/ink560.xml" ContentType="application/inkml+xml"/>
  <Override PartName="/ppt/ink/ink561.xml" ContentType="application/inkml+xml"/>
  <Override PartName="/ppt/ink/ink562.xml" ContentType="application/inkml+xml"/>
  <Override PartName="/ppt/ink/ink563.xml" ContentType="application/inkml+xml"/>
  <Override PartName="/ppt/ink/ink564.xml" ContentType="application/inkml+xml"/>
  <Override PartName="/ppt/ink/ink565.xml" ContentType="application/inkml+xml"/>
  <Override PartName="/ppt/ink/ink566.xml" ContentType="application/inkml+xml"/>
  <Override PartName="/ppt/ink/ink567.xml" ContentType="application/inkml+xml"/>
  <Override PartName="/ppt/ink/ink568.xml" ContentType="application/inkml+xml"/>
  <Override PartName="/ppt/ink/ink569.xml" ContentType="application/inkml+xml"/>
  <Override PartName="/ppt/ink/ink570.xml" ContentType="application/inkml+xml"/>
  <Override PartName="/ppt/ink/ink571.xml" ContentType="application/inkml+xml"/>
  <Override PartName="/ppt/ink/ink572.xml" ContentType="application/inkml+xml"/>
  <Override PartName="/ppt/ink/ink573.xml" ContentType="application/inkml+xml"/>
  <Override PartName="/ppt/tags/tag21.xml" ContentType="application/vnd.openxmlformats-officedocument.presentationml.tags+xml"/>
  <Override PartName="/ppt/ink/ink574.xml" ContentType="application/inkml+xml"/>
  <Override PartName="/ppt/ink/ink575.xml" ContentType="application/inkml+xml"/>
  <Override PartName="/ppt/ink/ink576.xml" ContentType="application/inkml+xml"/>
  <Override PartName="/ppt/ink/ink577.xml" ContentType="application/inkml+xml"/>
  <Override PartName="/ppt/ink/ink578.xml" ContentType="application/inkml+xml"/>
  <Override PartName="/ppt/ink/ink579.xml" ContentType="application/inkml+xml"/>
  <Override PartName="/ppt/ink/ink580.xml" ContentType="application/inkml+xml"/>
  <Override PartName="/ppt/ink/ink581.xml" ContentType="application/inkml+xml"/>
  <Override PartName="/ppt/ink/ink582.xml" ContentType="application/inkml+xml"/>
  <Override PartName="/ppt/ink/ink583.xml" ContentType="application/inkml+xml"/>
  <Override PartName="/ppt/ink/ink584.xml" ContentType="application/inkml+xml"/>
  <Override PartName="/ppt/ink/ink585.xml" ContentType="application/inkml+xml"/>
  <Override PartName="/ppt/ink/ink586.xml" ContentType="application/inkml+xml"/>
  <Override PartName="/ppt/ink/ink587.xml" ContentType="application/inkml+xml"/>
  <Override PartName="/ppt/ink/ink588.xml" ContentType="application/inkml+xml"/>
  <Override PartName="/ppt/ink/ink589.xml" ContentType="application/inkml+xml"/>
  <Override PartName="/ppt/ink/ink590.xml" ContentType="application/inkml+xml"/>
  <Override PartName="/ppt/ink/ink591.xml" ContentType="application/inkml+xml"/>
  <Override PartName="/ppt/ink/ink592.xml" ContentType="application/inkml+xml"/>
  <Override PartName="/ppt/ink/ink593.xml" ContentType="application/inkml+xml"/>
  <Override PartName="/ppt/ink/ink594.xml" ContentType="application/inkml+xml"/>
  <Override PartName="/ppt/ink/ink595.xml" ContentType="application/inkml+xml"/>
  <Override PartName="/ppt/ink/ink596.xml" ContentType="application/inkml+xml"/>
  <Override PartName="/ppt/ink/ink597.xml" ContentType="application/inkml+xml"/>
  <Override PartName="/ppt/ink/ink598.xml" ContentType="application/inkml+xml"/>
  <Override PartName="/ppt/ink/ink599.xml" ContentType="application/inkml+xml"/>
  <Override PartName="/ppt/ink/ink600.xml" ContentType="application/inkml+xml"/>
  <Override PartName="/ppt/ink/ink601.xml" ContentType="application/inkml+xml"/>
  <Override PartName="/ppt/ink/ink602.xml" ContentType="application/inkml+xml"/>
  <Override PartName="/ppt/ink/ink603.xml" ContentType="application/inkml+xml"/>
  <Override PartName="/ppt/ink/ink604.xml" ContentType="application/inkml+xml"/>
  <Override PartName="/ppt/ink/ink605.xml" ContentType="application/inkml+xml"/>
  <Override PartName="/ppt/ink/ink606.xml" ContentType="application/inkml+xml"/>
  <Override PartName="/ppt/ink/ink607.xml" ContentType="application/inkml+xml"/>
  <Override PartName="/ppt/ink/ink608.xml" ContentType="application/inkml+xml"/>
  <Override PartName="/ppt/ink/ink609.xml" ContentType="application/inkml+xml"/>
  <Override PartName="/ppt/ink/ink610.xml" ContentType="application/inkml+xml"/>
  <Override PartName="/ppt/ink/ink611.xml" ContentType="application/inkml+xml"/>
  <Override PartName="/ppt/ink/ink612.xml" ContentType="application/inkml+xml"/>
  <Override PartName="/ppt/ink/ink613.xml" ContentType="application/inkml+xml"/>
  <Override PartName="/ppt/ink/ink614.xml" ContentType="application/inkml+xml"/>
  <Override PartName="/ppt/ink/ink615.xml" ContentType="application/inkml+xml"/>
  <Override PartName="/ppt/ink/ink616.xml" ContentType="application/inkml+xml"/>
  <Override PartName="/ppt/ink/ink617.xml" ContentType="application/inkml+xml"/>
  <Override PartName="/ppt/ink/ink618.xml" ContentType="application/inkml+xml"/>
  <Override PartName="/ppt/ink/ink619.xml" ContentType="application/inkml+xml"/>
  <Override PartName="/ppt/ink/ink620.xml" ContentType="application/inkml+xml"/>
  <Override PartName="/ppt/ink/ink621.xml" ContentType="application/inkml+xml"/>
  <Override PartName="/ppt/ink/ink622.xml" ContentType="application/inkml+xml"/>
  <Override PartName="/ppt/ink/ink623.xml" ContentType="application/inkml+xml"/>
  <Override PartName="/ppt/ink/ink624.xml" ContentType="application/inkml+xml"/>
  <Override PartName="/ppt/tags/tag22.xml" ContentType="application/vnd.openxmlformats-officedocument.presentationml.tags+xml"/>
  <Override PartName="/ppt/ink/ink625.xml" ContentType="application/inkml+xml"/>
  <Override PartName="/ppt/ink/ink626.xml" ContentType="application/inkml+xml"/>
  <Override PartName="/ppt/ink/ink627.xml" ContentType="application/inkml+xml"/>
  <Override PartName="/ppt/ink/ink628.xml" ContentType="application/inkml+xml"/>
  <Override PartName="/ppt/ink/ink629.xml" ContentType="application/inkml+xml"/>
  <Override PartName="/ppt/ink/ink630.xml" ContentType="application/inkml+xml"/>
  <Override PartName="/ppt/ink/ink631.xml" ContentType="application/inkml+xml"/>
  <Override PartName="/ppt/ink/ink632.xml" ContentType="application/inkml+xml"/>
  <Override PartName="/ppt/tags/tag23.xml" ContentType="application/vnd.openxmlformats-officedocument.presentationml.tags+xml"/>
  <Override PartName="/ppt/ink/ink633.xml" ContentType="application/inkml+xml"/>
  <Override PartName="/ppt/tags/tag2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81" r:id="rId11"/>
    <p:sldId id="280" r:id="rId12"/>
    <p:sldId id="283" r:id="rId13"/>
    <p:sldId id="284" r:id="rId14"/>
    <p:sldId id="285" r:id="rId15"/>
    <p:sldId id="286" r:id="rId16"/>
    <p:sldId id="282" r:id="rId17"/>
    <p:sldId id="265" r:id="rId18"/>
    <p:sldId id="266" r:id="rId19"/>
    <p:sldId id="267" r:id="rId20"/>
    <p:sldId id="268" r:id="rId21"/>
    <p:sldId id="269" r:id="rId22"/>
    <p:sldId id="270" r:id="rId23"/>
    <p:sldId id="271" r:id="rId24"/>
  </p:sldIdLst>
  <p:sldSz cx="12192000" cy="6858000"/>
  <p:notesSz cx="6858000" cy="91440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6D14C0E-B70E-4281-9AD2-7129A7F7BB3E}" v="2467" dt="2021-12-11T13:45:47.82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iket Chhabra" userId="598e0514-bef3-4e71-b6aa-f2edd6441cff" providerId="ADAL" clId="{36D14C0E-B70E-4281-9AD2-7129A7F7BB3E}"/>
    <pc:docChg chg="undo custSel addSld delSld modSld sldOrd">
      <pc:chgData name="Aniket Chhabra" userId="598e0514-bef3-4e71-b6aa-f2edd6441cff" providerId="ADAL" clId="{36D14C0E-B70E-4281-9AD2-7129A7F7BB3E}" dt="2021-12-11T13:45:47.281" v="1784" actId="1076"/>
      <pc:docMkLst>
        <pc:docMk/>
      </pc:docMkLst>
      <pc:sldChg chg="addSp delSp modSp mod">
        <pc:chgData name="Aniket Chhabra" userId="598e0514-bef3-4e71-b6aa-f2edd6441cff" providerId="ADAL" clId="{36D14C0E-B70E-4281-9AD2-7129A7F7BB3E}" dt="2021-12-10T06:15:30.500" v="1190" actId="14100"/>
        <pc:sldMkLst>
          <pc:docMk/>
          <pc:sldMk cId="1541895934" sldId="256"/>
        </pc:sldMkLst>
        <pc:spChg chg="mod">
          <ac:chgData name="Aniket Chhabra" userId="598e0514-bef3-4e71-b6aa-f2edd6441cff" providerId="ADAL" clId="{36D14C0E-B70E-4281-9AD2-7129A7F7BB3E}" dt="2021-12-10T06:15:25.061" v="1134" actId="948"/>
          <ac:spMkLst>
            <pc:docMk/>
            <pc:sldMk cId="1541895934" sldId="256"/>
            <ac:spMk id="2" creationId="{BC1132A8-4429-429E-ADDF-C03047D74598}"/>
          </ac:spMkLst>
        </pc:spChg>
        <pc:spChg chg="mod">
          <ac:chgData name="Aniket Chhabra" userId="598e0514-bef3-4e71-b6aa-f2edd6441cff" providerId="ADAL" clId="{36D14C0E-B70E-4281-9AD2-7129A7F7BB3E}" dt="2021-12-10T06:15:30.500" v="1190" actId="14100"/>
          <ac:spMkLst>
            <pc:docMk/>
            <pc:sldMk cId="1541895934" sldId="256"/>
            <ac:spMk id="3" creationId="{7DDE3E0B-6220-42FC-842F-35307DF9DB4A}"/>
          </ac:spMkLst>
        </pc:spChg>
        <pc:spChg chg="add del mod modVis">
          <ac:chgData name="Aniket Chhabra" userId="598e0514-bef3-4e71-b6aa-f2edd6441cff" providerId="ADAL" clId="{36D14C0E-B70E-4281-9AD2-7129A7F7BB3E}" dt="2021-12-10T06:15:19.435" v="932"/>
          <ac:spMkLst>
            <pc:docMk/>
            <pc:sldMk cId="1541895934" sldId="256"/>
            <ac:spMk id="4" creationId="{891147F6-58F1-44FF-8AC7-227D869BEAC6}"/>
          </ac:spMkLst>
        </pc:spChg>
        <pc:spChg chg="add del mod modVis">
          <ac:chgData name="Aniket Chhabra" userId="598e0514-bef3-4e71-b6aa-f2edd6441cff" providerId="ADAL" clId="{36D14C0E-B70E-4281-9AD2-7129A7F7BB3E}" dt="2021-12-10T06:15:20.627" v="993"/>
          <ac:spMkLst>
            <pc:docMk/>
            <pc:sldMk cId="1541895934" sldId="256"/>
            <ac:spMk id="6" creationId="{6B808D5B-751E-4095-B03F-A5815AAF5779}"/>
          </ac:spMkLst>
        </pc:spChg>
        <pc:spChg chg="add del mod modVis">
          <ac:chgData name="Aniket Chhabra" userId="598e0514-bef3-4e71-b6aa-f2edd6441cff" providerId="ADAL" clId="{36D14C0E-B70E-4281-9AD2-7129A7F7BB3E}" dt="2021-12-10T06:15:22.311" v="1041"/>
          <ac:spMkLst>
            <pc:docMk/>
            <pc:sldMk cId="1541895934" sldId="256"/>
            <ac:spMk id="7" creationId="{E4CCCD83-D8EE-4038-A753-3B49DB1614F4}"/>
          </ac:spMkLst>
        </pc:spChg>
        <pc:spChg chg="add del mod modVis">
          <ac:chgData name="Aniket Chhabra" userId="598e0514-bef3-4e71-b6aa-f2edd6441cff" providerId="ADAL" clId="{36D14C0E-B70E-4281-9AD2-7129A7F7BB3E}" dt="2021-12-10T06:15:23.115" v="1087"/>
          <ac:spMkLst>
            <pc:docMk/>
            <pc:sldMk cId="1541895934" sldId="256"/>
            <ac:spMk id="8" creationId="{CBD592B3-2A62-4750-9B03-829AD9CD4243}"/>
          </ac:spMkLst>
        </pc:spChg>
        <pc:spChg chg="add del mod modVis">
          <ac:chgData name="Aniket Chhabra" userId="598e0514-bef3-4e71-b6aa-f2edd6441cff" providerId="ADAL" clId="{36D14C0E-B70E-4281-9AD2-7129A7F7BB3E}" dt="2021-12-10T06:15:24.007" v="1130"/>
          <ac:spMkLst>
            <pc:docMk/>
            <pc:sldMk cId="1541895934" sldId="256"/>
            <ac:spMk id="9" creationId="{7A734D48-02C9-4DFD-BBDD-3BBDFE5BB773}"/>
          </ac:spMkLst>
        </pc:spChg>
        <pc:spChg chg="add del mod modVis">
          <ac:chgData name="Aniket Chhabra" userId="598e0514-bef3-4e71-b6aa-f2edd6441cff" providerId="ADAL" clId="{36D14C0E-B70E-4281-9AD2-7129A7F7BB3E}" dt="2021-12-10T06:15:25.111" v="1173"/>
          <ac:spMkLst>
            <pc:docMk/>
            <pc:sldMk cId="1541895934" sldId="256"/>
            <ac:spMk id="10" creationId="{93BBDAAB-2D0A-4AE3-96BD-374BF750546F}"/>
          </ac:spMkLst>
        </pc:spChg>
        <pc:graphicFrameChg chg="add mod ord modVis">
          <ac:chgData name="Aniket Chhabra" userId="598e0514-bef3-4e71-b6aa-f2edd6441cff" providerId="ADAL" clId="{36D14C0E-B70E-4281-9AD2-7129A7F7BB3E}" dt="2021-12-10T06:15:25.115" v="1175"/>
          <ac:graphicFrameMkLst>
            <pc:docMk/>
            <pc:sldMk cId="1541895934" sldId="256"/>
            <ac:graphicFrameMk id="5" creationId="{0B850215-396C-4538-AC48-77598C1E9806}"/>
          </ac:graphicFrameMkLst>
        </pc:graphicFrameChg>
      </pc:sldChg>
      <pc:sldChg chg="addSp modSp mod">
        <pc:chgData name="Aniket Chhabra" userId="598e0514-bef3-4e71-b6aa-f2edd6441cff" providerId="ADAL" clId="{36D14C0E-B70E-4281-9AD2-7129A7F7BB3E}" dt="2021-12-11T13:45:06.906" v="1783"/>
        <pc:sldMkLst>
          <pc:docMk/>
          <pc:sldMk cId="3986116547" sldId="257"/>
        </pc:sldMkLst>
        <pc:picChg chg="mod">
          <ac:chgData name="Aniket Chhabra" userId="598e0514-bef3-4e71-b6aa-f2edd6441cff" providerId="ADAL" clId="{36D14C0E-B70E-4281-9AD2-7129A7F7BB3E}" dt="2021-12-10T05:01:22.177" v="1" actId="1076"/>
          <ac:picMkLst>
            <pc:docMk/>
            <pc:sldMk cId="3986116547" sldId="257"/>
            <ac:picMk id="8" creationId="{05D959EC-5F66-4DD0-B499-D998C9026180}"/>
          </ac:picMkLst>
        </pc:picChg>
        <pc:inkChg chg="add">
          <ac:chgData name="Aniket Chhabra" userId="598e0514-bef3-4e71-b6aa-f2edd6441cff" providerId="ADAL" clId="{36D14C0E-B70E-4281-9AD2-7129A7F7BB3E}" dt="2021-12-11T13:45:06.906" v="1783"/>
          <ac:inkMkLst>
            <pc:docMk/>
            <pc:sldMk cId="3986116547" sldId="257"/>
            <ac:inkMk id="2" creationId="{1DA5E382-C561-4BB3-81B4-D136F1294D63}"/>
          </ac:inkMkLst>
        </pc:inkChg>
      </pc:sldChg>
      <pc:sldChg chg="addSp delSp modSp add mod">
        <pc:chgData name="Aniket Chhabra" userId="598e0514-bef3-4e71-b6aa-f2edd6441cff" providerId="ADAL" clId="{36D14C0E-B70E-4281-9AD2-7129A7F7BB3E}" dt="2021-12-11T13:45:06.906" v="1783"/>
        <pc:sldMkLst>
          <pc:docMk/>
          <pc:sldMk cId="1630001570" sldId="258"/>
        </pc:sldMkLst>
        <pc:grpChg chg="mod">
          <ac:chgData name="Aniket Chhabra" userId="598e0514-bef3-4e71-b6aa-f2edd6441cff" providerId="ADAL" clId="{36D14C0E-B70E-4281-9AD2-7129A7F7BB3E}" dt="2021-12-10T05:05:35.854" v="31"/>
          <ac:grpSpMkLst>
            <pc:docMk/>
            <pc:sldMk cId="1630001570" sldId="258"/>
            <ac:grpSpMk id="13" creationId="{A864863C-CF4D-481A-9527-0CD863C66BEA}"/>
          </ac:grpSpMkLst>
        </pc:grpChg>
        <pc:grpChg chg="mod">
          <ac:chgData name="Aniket Chhabra" userId="598e0514-bef3-4e71-b6aa-f2edd6441cff" providerId="ADAL" clId="{36D14C0E-B70E-4281-9AD2-7129A7F7BB3E}" dt="2021-12-10T05:05:40.157" v="37"/>
          <ac:grpSpMkLst>
            <pc:docMk/>
            <pc:sldMk cId="1630001570" sldId="258"/>
            <ac:grpSpMk id="18" creationId="{30879ED3-017C-45B1-8269-B9AA067394F2}"/>
          </ac:grpSpMkLst>
        </pc:grpChg>
        <pc:grpChg chg="del mod">
          <ac:chgData name="Aniket Chhabra" userId="598e0514-bef3-4e71-b6aa-f2edd6441cff" providerId="ADAL" clId="{36D14C0E-B70E-4281-9AD2-7129A7F7BB3E}" dt="2021-12-10T05:05:45.801" v="44"/>
          <ac:grpSpMkLst>
            <pc:docMk/>
            <pc:sldMk cId="1630001570" sldId="258"/>
            <ac:grpSpMk id="23" creationId="{55DBF3D1-2CD6-4D90-BD1D-DE9F8ACE7E85}"/>
          </ac:grpSpMkLst>
        </pc:grpChg>
        <pc:grpChg chg="mod">
          <ac:chgData name="Aniket Chhabra" userId="598e0514-bef3-4e71-b6aa-f2edd6441cff" providerId="ADAL" clId="{36D14C0E-B70E-4281-9AD2-7129A7F7BB3E}" dt="2021-12-10T05:05:45.801" v="44"/>
          <ac:grpSpMkLst>
            <pc:docMk/>
            <pc:sldMk cId="1630001570" sldId="258"/>
            <ac:grpSpMk id="25" creationId="{22C4CD7F-85F3-40F6-9306-8BB6632AB909}"/>
          </ac:grpSpMkLst>
        </pc:grpChg>
        <pc:grpChg chg="mod">
          <ac:chgData name="Aniket Chhabra" userId="598e0514-bef3-4e71-b6aa-f2edd6441cff" providerId="ADAL" clId="{36D14C0E-B70E-4281-9AD2-7129A7F7BB3E}" dt="2021-12-10T05:12:26.090" v="57"/>
          <ac:grpSpMkLst>
            <pc:docMk/>
            <pc:sldMk cId="1630001570" sldId="258"/>
            <ac:grpSpMk id="35" creationId="{55EE1DED-A83E-4912-8653-345392F6B44F}"/>
          </ac:grpSpMkLst>
        </pc:grpChg>
        <pc:grpChg chg="mod">
          <ac:chgData name="Aniket Chhabra" userId="598e0514-bef3-4e71-b6aa-f2edd6441cff" providerId="ADAL" clId="{36D14C0E-B70E-4281-9AD2-7129A7F7BB3E}" dt="2021-12-10T05:12:31.395" v="67"/>
          <ac:grpSpMkLst>
            <pc:docMk/>
            <pc:sldMk cId="1630001570" sldId="258"/>
            <ac:grpSpMk id="45" creationId="{87F53EB5-DD94-40C1-864F-11CB0A08C722}"/>
          </ac:grpSpMkLst>
        </pc:grpChg>
        <pc:grpChg chg="mod">
          <ac:chgData name="Aniket Chhabra" userId="598e0514-bef3-4e71-b6aa-f2edd6441cff" providerId="ADAL" clId="{36D14C0E-B70E-4281-9AD2-7129A7F7BB3E}" dt="2021-12-10T05:12:45.796" v="85"/>
          <ac:grpSpMkLst>
            <pc:docMk/>
            <pc:sldMk cId="1630001570" sldId="258"/>
            <ac:grpSpMk id="61" creationId="{ECB1FE00-4CCA-4679-8084-23C148E805FD}"/>
          </ac:grpSpMkLst>
        </pc:grpChg>
        <pc:grpChg chg="mod">
          <ac:chgData name="Aniket Chhabra" userId="598e0514-bef3-4e71-b6aa-f2edd6441cff" providerId="ADAL" clId="{36D14C0E-B70E-4281-9AD2-7129A7F7BB3E}" dt="2021-12-10T05:12:45.796" v="85"/>
          <ac:grpSpMkLst>
            <pc:docMk/>
            <pc:sldMk cId="1630001570" sldId="258"/>
            <ac:grpSpMk id="62" creationId="{CDE092BC-3D54-42FD-87BF-004F57293605}"/>
          </ac:grpSpMkLst>
        </pc:grpChg>
        <pc:picChg chg="add mod">
          <ac:chgData name="Aniket Chhabra" userId="598e0514-bef3-4e71-b6aa-f2edd6441cff" providerId="ADAL" clId="{36D14C0E-B70E-4281-9AD2-7129A7F7BB3E}" dt="2021-12-10T08:10:38.002" v="1713" actId="1076"/>
          <ac:picMkLst>
            <pc:docMk/>
            <pc:sldMk cId="1630001570" sldId="258"/>
            <ac:picMk id="3" creationId="{74D5911B-3428-4C79-9D34-2C83482013AF}"/>
          </ac:picMkLst>
        </pc:picChg>
        <pc:picChg chg="del">
          <ac:chgData name="Aniket Chhabra" userId="598e0514-bef3-4e71-b6aa-f2edd6441cff" providerId="ADAL" clId="{36D14C0E-B70E-4281-9AD2-7129A7F7BB3E}" dt="2021-12-10T05:01:28.333" v="6" actId="478"/>
          <ac:picMkLst>
            <pc:docMk/>
            <pc:sldMk cId="1630001570" sldId="258"/>
            <ac:picMk id="8" creationId="{05D959EC-5F66-4DD0-B499-D998C9026180}"/>
          </ac:picMkLst>
        </pc:picChg>
        <pc:inkChg chg="add">
          <ac:chgData name="Aniket Chhabra" userId="598e0514-bef3-4e71-b6aa-f2edd6441cff" providerId="ADAL" clId="{36D14C0E-B70E-4281-9AD2-7129A7F7BB3E}" dt="2021-12-11T13:45:06.906" v="1783"/>
          <ac:inkMkLst>
            <pc:docMk/>
            <pc:sldMk cId="1630001570" sldId="258"/>
            <ac:inkMk id="2" creationId="{2EFF6A1C-58C5-4BCF-AFAA-7972CE085472}"/>
          </ac:inkMkLst>
        </pc:inkChg>
        <pc:inkChg chg="add del">
          <ac:chgData name="Aniket Chhabra" userId="598e0514-bef3-4e71-b6aa-f2edd6441cff" providerId="ADAL" clId="{36D14C0E-B70E-4281-9AD2-7129A7F7BB3E}" dt="2021-12-10T05:05:31.243" v="25"/>
          <ac:inkMkLst>
            <pc:docMk/>
            <pc:sldMk cId="1630001570" sldId="258"/>
            <ac:inkMk id="4" creationId="{AB7DF9F4-41A5-4888-A1C7-936866EC56A9}"/>
          </ac:inkMkLst>
        </pc:inkChg>
        <pc:inkChg chg="add del">
          <ac:chgData name="Aniket Chhabra" userId="598e0514-bef3-4e71-b6aa-f2edd6441cff" providerId="ADAL" clId="{36D14C0E-B70E-4281-9AD2-7129A7F7BB3E}" dt="2021-12-10T05:05:31.242" v="24"/>
          <ac:inkMkLst>
            <pc:docMk/>
            <pc:sldMk cId="1630001570" sldId="258"/>
            <ac:inkMk id="5" creationId="{3E33C605-1426-4513-9868-16F3F7F60DD1}"/>
          </ac:inkMkLst>
        </pc:inkChg>
        <pc:inkChg chg="add mod">
          <ac:chgData name="Aniket Chhabra" userId="598e0514-bef3-4e71-b6aa-f2edd6441cff" providerId="ADAL" clId="{36D14C0E-B70E-4281-9AD2-7129A7F7BB3E}" dt="2021-12-10T05:05:35.854" v="31"/>
          <ac:inkMkLst>
            <pc:docMk/>
            <pc:sldMk cId="1630001570" sldId="258"/>
            <ac:inkMk id="7" creationId="{5E80EF4F-49EF-422B-B8A9-F137B17E05C1}"/>
          </ac:inkMkLst>
        </pc:inkChg>
        <pc:inkChg chg="add mod">
          <ac:chgData name="Aniket Chhabra" userId="598e0514-bef3-4e71-b6aa-f2edd6441cff" providerId="ADAL" clId="{36D14C0E-B70E-4281-9AD2-7129A7F7BB3E}" dt="2021-12-10T05:05:35.854" v="31"/>
          <ac:inkMkLst>
            <pc:docMk/>
            <pc:sldMk cId="1630001570" sldId="258"/>
            <ac:inkMk id="9" creationId="{45AE9CC4-8887-48C9-94C1-99524382A07B}"/>
          </ac:inkMkLst>
        </pc:inkChg>
        <pc:inkChg chg="add mod">
          <ac:chgData name="Aniket Chhabra" userId="598e0514-bef3-4e71-b6aa-f2edd6441cff" providerId="ADAL" clId="{36D14C0E-B70E-4281-9AD2-7129A7F7BB3E}" dt="2021-12-10T05:05:35.854" v="31"/>
          <ac:inkMkLst>
            <pc:docMk/>
            <pc:sldMk cId="1630001570" sldId="258"/>
            <ac:inkMk id="10" creationId="{29C0B6F4-9276-4718-83E1-82EB75228F1C}"/>
          </ac:inkMkLst>
        </pc:inkChg>
        <pc:inkChg chg="add mod">
          <ac:chgData name="Aniket Chhabra" userId="598e0514-bef3-4e71-b6aa-f2edd6441cff" providerId="ADAL" clId="{36D14C0E-B70E-4281-9AD2-7129A7F7BB3E}" dt="2021-12-10T05:05:35.854" v="31"/>
          <ac:inkMkLst>
            <pc:docMk/>
            <pc:sldMk cId="1630001570" sldId="258"/>
            <ac:inkMk id="11" creationId="{74FA328E-33A7-45E2-8055-8D3A8D5EC5E2}"/>
          </ac:inkMkLst>
        </pc:inkChg>
        <pc:inkChg chg="add mod">
          <ac:chgData name="Aniket Chhabra" userId="598e0514-bef3-4e71-b6aa-f2edd6441cff" providerId="ADAL" clId="{36D14C0E-B70E-4281-9AD2-7129A7F7BB3E}" dt="2021-12-10T05:05:35.854" v="31"/>
          <ac:inkMkLst>
            <pc:docMk/>
            <pc:sldMk cId="1630001570" sldId="258"/>
            <ac:inkMk id="12" creationId="{BFC4FA3D-0BFA-467B-96B7-824C480076E2}"/>
          </ac:inkMkLst>
        </pc:inkChg>
        <pc:inkChg chg="add mod">
          <ac:chgData name="Aniket Chhabra" userId="598e0514-bef3-4e71-b6aa-f2edd6441cff" providerId="ADAL" clId="{36D14C0E-B70E-4281-9AD2-7129A7F7BB3E}" dt="2021-12-10T05:05:40.157" v="37"/>
          <ac:inkMkLst>
            <pc:docMk/>
            <pc:sldMk cId="1630001570" sldId="258"/>
            <ac:inkMk id="14" creationId="{A5D51823-60CB-4E36-9F1E-93D0AF517D97}"/>
          </ac:inkMkLst>
        </pc:inkChg>
        <pc:inkChg chg="add mod">
          <ac:chgData name="Aniket Chhabra" userId="598e0514-bef3-4e71-b6aa-f2edd6441cff" providerId="ADAL" clId="{36D14C0E-B70E-4281-9AD2-7129A7F7BB3E}" dt="2021-12-10T05:05:40.157" v="37"/>
          <ac:inkMkLst>
            <pc:docMk/>
            <pc:sldMk cId="1630001570" sldId="258"/>
            <ac:inkMk id="15" creationId="{7D7FCB02-C25D-4C08-B35E-BC32A918FE71}"/>
          </ac:inkMkLst>
        </pc:inkChg>
        <pc:inkChg chg="add mod">
          <ac:chgData name="Aniket Chhabra" userId="598e0514-bef3-4e71-b6aa-f2edd6441cff" providerId="ADAL" clId="{36D14C0E-B70E-4281-9AD2-7129A7F7BB3E}" dt="2021-12-10T05:05:40.157" v="37"/>
          <ac:inkMkLst>
            <pc:docMk/>
            <pc:sldMk cId="1630001570" sldId="258"/>
            <ac:inkMk id="16" creationId="{0500DD87-95F4-4D88-84BE-AE7D55E4D49D}"/>
          </ac:inkMkLst>
        </pc:inkChg>
        <pc:inkChg chg="add del">
          <ac:chgData name="Aniket Chhabra" userId="598e0514-bef3-4e71-b6aa-f2edd6441cff" providerId="ADAL" clId="{36D14C0E-B70E-4281-9AD2-7129A7F7BB3E}" dt="2021-12-10T05:05:39.321" v="36"/>
          <ac:inkMkLst>
            <pc:docMk/>
            <pc:sldMk cId="1630001570" sldId="258"/>
            <ac:inkMk id="17" creationId="{F73B9D49-8638-457E-BA1E-07A56D101CEC}"/>
          </ac:inkMkLst>
        </pc:inkChg>
        <pc:inkChg chg="add mod">
          <ac:chgData name="Aniket Chhabra" userId="598e0514-bef3-4e71-b6aa-f2edd6441cff" providerId="ADAL" clId="{36D14C0E-B70E-4281-9AD2-7129A7F7BB3E}" dt="2021-12-10T05:05:45.801" v="44"/>
          <ac:inkMkLst>
            <pc:docMk/>
            <pc:sldMk cId="1630001570" sldId="258"/>
            <ac:inkMk id="19" creationId="{B979FEBB-52A9-4D41-B5F6-0482954F96F7}"/>
          </ac:inkMkLst>
        </pc:inkChg>
        <pc:inkChg chg="add mod">
          <ac:chgData name="Aniket Chhabra" userId="598e0514-bef3-4e71-b6aa-f2edd6441cff" providerId="ADAL" clId="{36D14C0E-B70E-4281-9AD2-7129A7F7BB3E}" dt="2021-12-10T05:05:45.801" v="44"/>
          <ac:inkMkLst>
            <pc:docMk/>
            <pc:sldMk cId="1630001570" sldId="258"/>
            <ac:inkMk id="20" creationId="{25AAFF44-942E-4455-9A12-68B5CD8192A3}"/>
          </ac:inkMkLst>
        </pc:inkChg>
        <pc:inkChg chg="add mod">
          <ac:chgData name="Aniket Chhabra" userId="598e0514-bef3-4e71-b6aa-f2edd6441cff" providerId="ADAL" clId="{36D14C0E-B70E-4281-9AD2-7129A7F7BB3E}" dt="2021-12-10T05:05:45.801" v="44"/>
          <ac:inkMkLst>
            <pc:docMk/>
            <pc:sldMk cId="1630001570" sldId="258"/>
            <ac:inkMk id="21" creationId="{69747BB2-C674-4DDC-ABCE-41453D826D99}"/>
          </ac:inkMkLst>
        </pc:inkChg>
        <pc:inkChg chg="add mod">
          <ac:chgData name="Aniket Chhabra" userId="598e0514-bef3-4e71-b6aa-f2edd6441cff" providerId="ADAL" clId="{36D14C0E-B70E-4281-9AD2-7129A7F7BB3E}" dt="2021-12-10T05:05:45.801" v="44"/>
          <ac:inkMkLst>
            <pc:docMk/>
            <pc:sldMk cId="1630001570" sldId="258"/>
            <ac:inkMk id="22" creationId="{EFF94248-FB5E-459B-B71F-C8278ABE9084}"/>
          </ac:inkMkLst>
        </pc:inkChg>
        <pc:inkChg chg="add mod">
          <ac:chgData name="Aniket Chhabra" userId="598e0514-bef3-4e71-b6aa-f2edd6441cff" providerId="ADAL" clId="{36D14C0E-B70E-4281-9AD2-7129A7F7BB3E}" dt="2021-12-10T05:05:45.801" v="44"/>
          <ac:inkMkLst>
            <pc:docMk/>
            <pc:sldMk cId="1630001570" sldId="258"/>
            <ac:inkMk id="24" creationId="{BC4671D5-A779-4499-994A-B98668BCEA47}"/>
          </ac:inkMkLst>
        </pc:inkChg>
        <pc:inkChg chg="add mod">
          <ac:chgData name="Aniket Chhabra" userId="598e0514-bef3-4e71-b6aa-f2edd6441cff" providerId="ADAL" clId="{36D14C0E-B70E-4281-9AD2-7129A7F7BB3E}" dt="2021-12-10T05:12:26.090" v="57"/>
          <ac:inkMkLst>
            <pc:docMk/>
            <pc:sldMk cId="1630001570" sldId="258"/>
            <ac:inkMk id="26" creationId="{F3CE6778-68F7-488C-91F8-0B5D2F8AA9D1}"/>
          </ac:inkMkLst>
        </pc:inkChg>
        <pc:inkChg chg="add mod">
          <ac:chgData name="Aniket Chhabra" userId="598e0514-bef3-4e71-b6aa-f2edd6441cff" providerId="ADAL" clId="{36D14C0E-B70E-4281-9AD2-7129A7F7BB3E}" dt="2021-12-10T05:12:26.090" v="57"/>
          <ac:inkMkLst>
            <pc:docMk/>
            <pc:sldMk cId="1630001570" sldId="258"/>
            <ac:inkMk id="27" creationId="{4965FF0C-F76F-49D4-B9CE-F746E50D5A19}"/>
          </ac:inkMkLst>
        </pc:inkChg>
        <pc:inkChg chg="add mod">
          <ac:chgData name="Aniket Chhabra" userId="598e0514-bef3-4e71-b6aa-f2edd6441cff" providerId="ADAL" clId="{36D14C0E-B70E-4281-9AD2-7129A7F7BB3E}" dt="2021-12-10T05:12:26.090" v="57"/>
          <ac:inkMkLst>
            <pc:docMk/>
            <pc:sldMk cId="1630001570" sldId="258"/>
            <ac:inkMk id="28" creationId="{4DED7387-53C0-4326-93DE-4F56AAB22412}"/>
          </ac:inkMkLst>
        </pc:inkChg>
        <pc:inkChg chg="add mod">
          <ac:chgData name="Aniket Chhabra" userId="598e0514-bef3-4e71-b6aa-f2edd6441cff" providerId="ADAL" clId="{36D14C0E-B70E-4281-9AD2-7129A7F7BB3E}" dt="2021-12-10T05:12:26.090" v="57"/>
          <ac:inkMkLst>
            <pc:docMk/>
            <pc:sldMk cId="1630001570" sldId="258"/>
            <ac:inkMk id="29" creationId="{44E514CD-09EB-4438-AC91-66A1FD298822}"/>
          </ac:inkMkLst>
        </pc:inkChg>
        <pc:inkChg chg="add mod">
          <ac:chgData name="Aniket Chhabra" userId="598e0514-bef3-4e71-b6aa-f2edd6441cff" providerId="ADAL" clId="{36D14C0E-B70E-4281-9AD2-7129A7F7BB3E}" dt="2021-12-10T05:12:26.090" v="57"/>
          <ac:inkMkLst>
            <pc:docMk/>
            <pc:sldMk cId="1630001570" sldId="258"/>
            <ac:inkMk id="30" creationId="{E6C6657A-26DB-4C92-A102-D0F77FD5E6BB}"/>
          </ac:inkMkLst>
        </pc:inkChg>
        <pc:inkChg chg="add mod">
          <ac:chgData name="Aniket Chhabra" userId="598e0514-bef3-4e71-b6aa-f2edd6441cff" providerId="ADAL" clId="{36D14C0E-B70E-4281-9AD2-7129A7F7BB3E}" dt="2021-12-10T05:12:26.090" v="57"/>
          <ac:inkMkLst>
            <pc:docMk/>
            <pc:sldMk cId="1630001570" sldId="258"/>
            <ac:inkMk id="31" creationId="{6E6DD10C-B3E1-4640-8304-FCC6357D4CDD}"/>
          </ac:inkMkLst>
        </pc:inkChg>
        <pc:inkChg chg="add del">
          <ac:chgData name="Aniket Chhabra" userId="598e0514-bef3-4e71-b6aa-f2edd6441cff" providerId="ADAL" clId="{36D14C0E-B70E-4281-9AD2-7129A7F7BB3E}" dt="2021-12-10T05:12:25.949" v="54"/>
          <ac:inkMkLst>
            <pc:docMk/>
            <pc:sldMk cId="1630001570" sldId="258"/>
            <ac:inkMk id="32" creationId="{175577CD-3E0B-435A-B308-B96C77F85EFC}"/>
          </ac:inkMkLst>
        </pc:inkChg>
        <pc:inkChg chg="add del">
          <ac:chgData name="Aniket Chhabra" userId="598e0514-bef3-4e71-b6aa-f2edd6441cff" providerId="ADAL" clId="{36D14C0E-B70E-4281-9AD2-7129A7F7BB3E}" dt="2021-12-10T05:12:25.951" v="55"/>
          <ac:inkMkLst>
            <pc:docMk/>
            <pc:sldMk cId="1630001570" sldId="258"/>
            <ac:inkMk id="33" creationId="{BDA9A119-88AB-4FE9-8856-8CD05EA60A2F}"/>
          </ac:inkMkLst>
        </pc:inkChg>
        <pc:inkChg chg="add del">
          <ac:chgData name="Aniket Chhabra" userId="598e0514-bef3-4e71-b6aa-f2edd6441cff" providerId="ADAL" clId="{36D14C0E-B70E-4281-9AD2-7129A7F7BB3E}" dt="2021-12-10T05:12:25.951" v="56"/>
          <ac:inkMkLst>
            <pc:docMk/>
            <pc:sldMk cId="1630001570" sldId="258"/>
            <ac:inkMk id="34" creationId="{E2BCA418-4503-4D15-81D7-6BC84F92B945}"/>
          </ac:inkMkLst>
        </pc:inkChg>
        <pc:inkChg chg="add mod">
          <ac:chgData name="Aniket Chhabra" userId="598e0514-bef3-4e71-b6aa-f2edd6441cff" providerId="ADAL" clId="{36D14C0E-B70E-4281-9AD2-7129A7F7BB3E}" dt="2021-12-10T05:12:31.395" v="67"/>
          <ac:inkMkLst>
            <pc:docMk/>
            <pc:sldMk cId="1630001570" sldId="258"/>
            <ac:inkMk id="36" creationId="{FC41E75B-E966-43CC-A35E-BB9AE2269548}"/>
          </ac:inkMkLst>
        </pc:inkChg>
        <pc:inkChg chg="add mod">
          <ac:chgData name="Aniket Chhabra" userId="598e0514-bef3-4e71-b6aa-f2edd6441cff" providerId="ADAL" clId="{36D14C0E-B70E-4281-9AD2-7129A7F7BB3E}" dt="2021-12-10T05:12:31.395" v="67"/>
          <ac:inkMkLst>
            <pc:docMk/>
            <pc:sldMk cId="1630001570" sldId="258"/>
            <ac:inkMk id="37" creationId="{A11A741B-B20A-459A-AB3F-34E09E623994}"/>
          </ac:inkMkLst>
        </pc:inkChg>
        <pc:inkChg chg="add mod">
          <ac:chgData name="Aniket Chhabra" userId="598e0514-bef3-4e71-b6aa-f2edd6441cff" providerId="ADAL" clId="{36D14C0E-B70E-4281-9AD2-7129A7F7BB3E}" dt="2021-12-10T05:12:31.395" v="67"/>
          <ac:inkMkLst>
            <pc:docMk/>
            <pc:sldMk cId="1630001570" sldId="258"/>
            <ac:inkMk id="38" creationId="{9E836F4D-6419-4404-9BB6-E076F11741EC}"/>
          </ac:inkMkLst>
        </pc:inkChg>
        <pc:inkChg chg="add mod">
          <ac:chgData name="Aniket Chhabra" userId="598e0514-bef3-4e71-b6aa-f2edd6441cff" providerId="ADAL" clId="{36D14C0E-B70E-4281-9AD2-7129A7F7BB3E}" dt="2021-12-10T05:12:31.395" v="67"/>
          <ac:inkMkLst>
            <pc:docMk/>
            <pc:sldMk cId="1630001570" sldId="258"/>
            <ac:inkMk id="39" creationId="{B3CBE499-6AAE-40CF-8F12-51A9BED8DE6F}"/>
          </ac:inkMkLst>
        </pc:inkChg>
        <pc:inkChg chg="add mod">
          <ac:chgData name="Aniket Chhabra" userId="598e0514-bef3-4e71-b6aa-f2edd6441cff" providerId="ADAL" clId="{36D14C0E-B70E-4281-9AD2-7129A7F7BB3E}" dt="2021-12-10T05:12:31.395" v="67"/>
          <ac:inkMkLst>
            <pc:docMk/>
            <pc:sldMk cId="1630001570" sldId="258"/>
            <ac:inkMk id="40" creationId="{AA934C80-7B12-4668-ADB6-FCA656AB7DE8}"/>
          </ac:inkMkLst>
        </pc:inkChg>
        <pc:inkChg chg="add mod">
          <ac:chgData name="Aniket Chhabra" userId="598e0514-bef3-4e71-b6aa-f2edd6441cff" providerId="ADAL" clId="{36D14C0E-B70E-4281-9AD2-7129A7F7BB3E}" dt="2021-12-10T05:12:31.395" v="67"/>
          <ac:inkMkLst>
            <pc:docMk/>
            <pc:sldMk cId="1630001570" sldId="258"/>
            <ac:inkMk id="41" creationId="{D83A9D21-152C-4C79-9178-2441764E9F79}"/>
          </ac:inkMkLst>
        </pc:inkChg>
        <pc:inkChg chg="add mod">
          <ac:chgData name="Aniket Chhabra" userId="598e0514-bef3-4e71-b6aa-f2edd6441cff" providerId="ADAL" clId="{36D14C0E-B70E-4281-9AD2-7129A7F7BB3E}" dt="2021-12-10T05:12:31.395" v="67"/>
          <ac:inkMkLst>
            <pc:docMk/>
            <pc:sldMk cId="1630001570" sldId="258"/>
            <ac:inkMk id="42" creationId="{4406DDF9-F724-4E5B-9C4C-13A06FA84D6E}"/>
          </ac:inkMkLst>
        </pc:inkChg>
        <pc:inkChg chg="add mod">
          <ac:chgData name="Aniket Chhabra" userId="598e0514-bef3-4e71-b6aa-f2edd6441cff" providerId="ADAL" clId="{36D14C0E-B70E-4281-9AD2-7129A7F7BB3E}" dt="2021-12-10T05:12:31.395" v="67"/>
          <ac:inkMkLst>
            <pc:docMk/>
            <pc:sldMk cId="1630001570" sldId="258"/>
            <ac:inkMk id="43" creationId="{5DA2B74F-1C4E-4B23-9034-73076D3E7812}"/>
          </ac:inkMkLst>
        </pc:inkChg>
        <pc:inkChg chg="add mod">
          <ac:chgData name="Aniket Chhabra" userId="598e0514-bef3-4e71-b6aa-f2edd6441cff" providerId="ADAL" clId="{36D14C0E-B70E-4281-9AD2-7129A7F7BB3E}" dt="2021-12-10T05:12:31.395" v="67"/>
          <ac:inkMkLst>
            <pc:docMk/>
            <pc:sldMk cId="1630001570" sldId="258"/>
            <ac:inkMk id="44" creationId="{E40F0D50-7B41-4E58-BDB1-9910BE12B0E8}"/>
          </ac:inkMkLst>
        </pc:inkChg>
        <pc:inkChg chg="add">
          <ac:chgData name="Aniket Chhabra" userId="598e0514-bef3-4e71-b6aa-f2edd6441cff" providerId="ADAL" clId="{36D14C0E-B70E-4281-9AD2-7129A7F7BB3E}" dt="2021-12-10T05:12:32.053" v="68" actId="9405"/>
          <ac:inkMkLst>
            <pc:docMk/>
            <pc:sldMk cId="1630001570" sldId="258"/>
            <ac:inkMk id="46" creationId="{0C42A3C4-55FB-452D-9493-FE4DA1E81CD9}"/>
          </ac:inkMkLst>
        </pc:inkChg>
        <pc:inkChg chg="add mod">
          <ac:chgData name="Aniket Chhabra" userId="598e0514-bef3-4e71-b6aa-f2edd6441cff" providerId="ADAL" clId="{36D14C0E-B70E-4281-9AD2-7129A7F7BB3E}" dt="2021-12-10T05:12:45.796" v="85"/>
          <ac:inkMkLst>
            <pc:docMk/>
            <pc:sldMk cId="1630001570" sldId="258"/>
            <ac:inkMk id="47" creationId="{639BBE7E-6A3B-4978-B587-5DBDDFC77BEC}"/>
          </ac:inkMkLst>
        </pc:inkChg>
        <pc:inkChg chg="add mod">
          <ac:chgData name="Aniket Chhabra" userId="598e0514-bef3-4e71-b6aa-f2edd6441cff" providerId="ADAL" clId="{36D14C0E-B70E-4281-9AD2-7129A7F7BB3E}" dt="2021-12-10T05:12:45.796" v="85"/>
          <ac:inkMkLst>
            <pc:docMk/>
            <pc:sldMk cId="1630001570" sldId="258"/>
            <ac:inkMk id="48" creationId="{5552CBE6-C9D6-4E3B-8046-1162AD29FC52}"/>
          </ac:inkMkLst>
        </pc:inkChg>
        <pc:inkChg chg="add mod">
          <ac:chgData name="Aniket Chhabra" userId="598e0514-bef3-4e71-b6aa-f2edd6441cff" providerId="ADAL" clId="{36D14C0E-B70E-4281-9AD2-7129A7F7BB3E}" dt="2021-12-10T05:12:45.796" v="85"/>
          <ac:inkMkLst>
            <pc:docMk/>
            <pc:sldMk cId="1630001570" sldId="258"/>
            <ac:inkMk id="49" creationId="{987C2339-A929-4DBC-9B84-9A6555C66B3C}"/>
          </ac:inkMkLst>
        </pc:inkChg>
        <pc:inkChg chg="add mod">
          <ac:chgData name="Aniket Chhabra" userId="598e0514-bef3-4e71-b6aa-f2edd6441cff" providerId="ADAL" clId="{36D14C0E-B70E-4281-9AD2-7129A7F7BB3E}" dt="2021-12-10T05:12:45.796" v="85"/>
          <ac:inkMkLst>
            <pc:docMk/>
            <pc:sldMk cId="1630001570" sldId="258"/>
            <ac:inkMk id="50" creationId="{748E74EF-186E-4678-A66A-8F0E31848702}"/>
          </ac:inkMkLst>
        </pc:inkChg>
        <pc:inkChg chg="add del">
          <ac:chgData name="Aniket Chhabra" userId="598e0514-bef3-4e71-b6aa-f2edd6441cff" providerId="ADAL" clId="{36D14C0E-B70E-4281-9AD2-7129A7F7BB3E}" dt="2021-12-10T05:12:41.394" v="75"/>
          <ac:inkMkLst>
            <pc:docMk/>
            <pc:sldMk cId="1630001570" sldId="258"/>
            <ac:inkMk id="51" creationId="{0DFBFBAD-5ABD-41AE-9AF5-834162C05F33}"/>
          </ac:inkMkLst>
        </pc:inkChg>
        <pc:inkChg chg="add del">
          <ac:chgData name="Aniket Chhabra" userId="598e0514-bef3-4e71-b6aa-f2edd6441cff" providerId="ADAL" clId="{36D14C0E-B70E-4281-9AD2-7129A7F7BB3E}" dt="2021-12-10T05:12:41.396" v="76"/>
          <ac:inkMkLst>
            <pc:docMk/>
            <pc:sldMk cId="1630001570" sldId="258"/>
            <ac:inkMk id="52" creationId="{B41B682A-18AD-4A37-8B7A-E55D001362E3}"/>
          </ac:inkMkLst>
        </pc:inkChg>
        <pc:inkChg chg="add mod">
          <ac:chgData name="Aniket Chhabra" userId="598e0514-bef3-4e71-b6aa-f2edd6441cff" providerId="ADAL" clId="{36D14C0E-B70E-4281-9AD2-7129A7F7BB3E}" dt="2021-12-10T05:12:45.796" v="85"/>
          <ac:inkMkLst>
            <pc:docMk/>
            <pc:sldMk cId="1630001570" sldId="258"/>
            <ac:inkMk id="53" creationId="{63D203CB-1FC5-4D9D-AC78-B3D0FB7100F7}"/>
          </ac:inkMkLst>
        </pc:inkChg>
        <pc:inkChg chg="add mod">
          <ac:chgData name="Aniket Chhabra" userId="598e0514-bef3-4e71-b6aa-f2edd6441cff" providerId="ADAL" clId="{36D14C0E-B70E-4281-9AD2-7129A7F7BB3E}" dt="2021-12-10T05:12:45.796" v="85"/>
          <ac:inkMkLst>
            <pc:docMk/>
            <pc:sldMk cId="1630001570" sldId="258"/>
            <ac:inkMk id="54" creationId="{6647C96E-F453-4F26-9D02-EE8102F97D02}"/>
          </ac:inkMkLst>
        </pc:inkChg>
        <pc:inkChg chg="add mod">
          <ac:chgData name="Aniket Chhabra" userId="598e0514-bef3-4e71-b6aa-f2edd6441cff" providerId="ADAL" clId="{36D14C0E-B70E-4281-9AD2-7129A7F7BB3E}" dt="2021-12-10T05:12:45.796" v="85"/>
          <ac:inkMkLst>
            <pc:docMk/>
            <pc:sldMk cId="1630001570" sldId="258"/>
            <ac:inkMk id="55" creationId="{B43D6FCA-FB24-4C28-911C-12E2A120E4A4}"/>
          </ac:inkMkLst>
        </pc:inkChg>
        <pc:inkChg chg="add mod">
          <ac:chgData name="Aniket Chhabra" userId="598e0514-bef3-4e71-b6aa-f2edd6441cff" providerId="ADAL" clId="{36D14C0E-B70E-4281-9AD2-7129A7F7BB3E}" dt="2021-12-10T05:12:45.796" v="85"/>
          <ac:inkMkLst>
            <pc:docMk/>
            <pc:sldMk cId="1630001570" sldId="258"/>
            <ac:inkMk id="56" creationId="{9DB1A425-36F7-49B4-B3D3-298106D09DD1}"/>
          </ac:inkMkLst>
        </pc:inkChg>
        <pc:inkChg chg="add mod">
          <ac:chgData name="Aniket Chhabra" userId="598e0514-bef3-4e71-b6aa-f2edd6441cff" providerId="ADAL" clId="{36D14C0E-B70E-4281-9AD2-7129A7F7BB3E}" dt="2021-12-10T05:12:45.796" v="85"/>
          <ac:inkMkLst>
            <pc:docMk/>
            <pc:sldMk cId="1630001570" sldId="258"/>
            <ac:inkMk id="57" creationId="{FBAC06F1-01CD-4D69-92C6-E9959378835F}"/>
          </ac:inkMkLst>
        </pc:inkChg>
        <pc:inkChg chg="add mod">
          <ac:chgData name="Aniket Chhabra" userId="598e0514-bef3-4e71-b6aa-f2edd6441cff" providerId="ADAL" clId="{36D14C0E-B70E-4281-9AD2-7129A7F7BB3E}" dt="2021-12-10T05:12:45.796" v="85"/>
          <ac:inkMkLst>
            <pc:docMk/>
            <pc:sldMk cId="1630001570" sldId="258"/>
            <ac:inkMk id="58" creationId="{037AD582-A651-4143-92FE-7D9206E51004}"/>
          </ac:inkMkLst>
        </pc:inkChg>
        <pc:inkChg chg="add mod">
          <ac:chgData name="Aniket Chhabra" userId="598e0514-bef3-4e71-b6aa-f2edd6441cff" providerId="ADAL" clId="{36D14C0E-B70E-4281-9AD2-7129A7F7BB3E}" dt="2021-12-10T05:12:45.796" v="85"/>
          <ac:inkMkLst>
            <pc:docMk/>
            <pc:sldMk cId="1630001570" sldId="258"/>
            <ac:inkMk id="59" creationId="{CC2356D0-4A41-4B8B-8C01-8AB24F4DD640}"/>
          </ac:inkMkLst>
        </pc:inkChg>
        <pc:inkChg chg="add mod">
          <ac:chgData name="Aniket Chhabra" userId="598e0514-bef3-4e71-b6aa-f2edd6441cff" providerId="ADAL" clId="{36D14C0E-B70E-4281-9AD2-7129A7F7BB3E}" dt="2021-12-10T05:12:45.796" v="85"/>
          <ac:inkMkLst>
            <pc:docMk/>
            <pc:sldMk cId="1630001570" sldId="258"/>
            <ac:inkMk id="60" creationId="{1E9C010C-1611-433F-A5CF-F5B2753A54C6}"/>
          </ac:inkMkLst>
        </pc:inkChg>
      </pc:sldChg>
      <pc:sldChg chg="new add del">
        <pc:chgData name="Aniket Chhabra" userId="598e0514-bef3-4e71-b6aa-f2edd6441cff" providerId="ADAL" clId="{36D14C0E-B70E-4281-9AD2-7129A7F7BB3E}" dt="2021-12-10T05:01:24.570" v="4" actId="680"/>
        <pc:sldMkLst>
          <pc:docMk/>
          <pc:sldMk cId="4292910633" sldId="258"/>
        </pc:sldMkLst>
      </pc:sldChg>
      <pc:sldChg chg="addSp delSp modSp add mod">
        <pc:chgData name="Aniket Chhabra" userId="598e0514-bef3-4e71-b6aa-f2edd6441cff" providerId="ADAL" clId="{36D14C0E-B70E-4281-9AD2-7129A7F7BB3E}" dt="2021-12-11T13:45:06.906" v="1783"/>
        <pc:sldMkLst>
          <pc:docMk/>
          <pc:sldMk cId="149577422" sldId="259"/>
        </pc:sldMkLst>
        <pc:grpChg chg="del mod">
          <ac:chgData name="Aniket Chhabra" userId="598e0514-bef3-4e71-b6aa-f2edd6441cff" providerId="ADAL" clId="{36D14C0E-B70E-4281-9AD2-7129A7F7BB3E}" dt="2021-12-10T05:14:30.176" v="98"/>
          <ac:grpSpMkLst>
            <pc:docMk/>
            <pc:sldMk cId="149577422" sldId="259"/>
            <ac:grpSpMk id="11" creationId="{DC9A3AC4-A73A-4F6C-8CD8-F152E92F7E04}"/>
          </ac:grpSpMkLst>
        </pc:grpChg>
        <pc:grpChg chg="mod">
          <ac:chgData name="Aniket Chhabra" userId="598e0514-bef3-4e71-b6aa-f2edd6441cff" providerId="ADAL" clId="{36D14C0E-B70E-4281-9AD2-7129A7F7BB3E}" dt="2021-12-10T05:14:37.103" v="113"/>
          <ac:grpSpMkLst>
            <pc:docMk/>
            <pc:sldMk cId="149577422" sldId="259"/>
            <ac:grpSpMk id="25" creationId="{6217A037-C9A0-4AB6-AAB2-9E095D7CB7FF}"/>
          </ac:grpSpMkLst>
        </pc:grpChg>
        <pc:grpChg chg="del mod">
          <ac:chgData name="Aniket Chhabra" userId="598e0514-bef3-4e71-b6aa-f2edd6441cff" providerId="ADAL" clId="{36D14C0E-B70E-4281-9AD2-7129A7F7BB3E}" dt="2021-12-10T05:14:51.254" v="137"/>
          <ac:grpSpMkLst>
            <pc:docMk/>
            <pc:sldMk cId="149577422" sldId="259"/>
            <ac:grpSpMk id="43" creationId="{247F9868-2751-4B2C-88A3-9A4AC5B73DC3}"/>
          </ac:grpSpMkLst>
        </pc:grpChg>
        <pc:grpChg chg="mod">
          <ac:chgData name="Aniket Chhabra" userId="598e0514-bef3-4e71-b6aa-f2edd6441cff" providerId="ADAL" clId="{36D14C0E-B70E-4281-9AD2-7129A7F7BB3E}" dt="2021-12-10T05:14:46.835" v="132"/>
          <ac:grpSpMkLst>
            <pc:docMk/>
            <pc:sldMk cId="149577422" sldId="259"/>
            <ac:grpSpMk id="44" creationId="{A5A43D87-E23A-4E1E-9316-824DA6381E55}"/>
          </ac:grpSpMkLst>
        </pc:grpChg>
        <pc:grpChg chg="mod">
          <ac:chgData name="Aniket Chhabra" userId="598e0514-bef3-4e71-b6aa-f2edd6441cff" providerId="ADAL" clId="{36D14C0E-B70E-4281-9AD2-7129A7F7BB3E}" dt="2021-12-10T05:14:46.835" v="132"/>
          <ac:grpSpMkLst>
            <pc:docMk/>
            <pc:sldMk cId="149577422" sldId="259"/>
            <ac:grpSpMk id="45" creationId="{15472FD0-E08D-445D-B5D6-3AA14D6A44A0}"/>
          </ac:grpSpMkLst>
        </pc:grpChg>
        <pc:grpChg chg="del mod">
          <ac:chgData name="Aniket Chhabra" userId="598e0514-bef3-4e71-b6aa-f2edd6441cff" providerId="ADAL" clId="{36D14C0E-B70E-4281-9AD2-7129A7F7BB3E}" dt="2021-12-10T05:14:51.763" v="140"/>
          <ac:grpSpMkLst>
            <pc:docMk/>
            <pc:sldMk cId="149577422" sldId="259"/>
            <ac:grpSpMk id="48" creationId="{C8E7BD9A-1BB6-44EC-B376-80437DE527C7}"/>
          </ac:grpSpMkLst>
        </pc:grpChg>
        <pc:grpChg chg="mod">
          <ac:chgData name="Aniket Chhabra" userId="598e0514-bef3-4e71-b6aa-f2edd6441cff" providerId="ADAL" clId="{36D14C0E-B70E-4281-9AD2-7129A7F7BB3E}" dt="2021-12-10T05:14:55.327" v="147"/>
          <ac:grpSpMkLst>
            <pc:docMk/>
            <pc:sldMk cId="149577422" sldId="259"/>
            <ac:grpSpMk id="54" creationId="{773B5526-1CFA-4060-B386-F5500EF91331}"/>
          </ac:grpSpMkLst>
        </pc:grpChg>
        <pc:grpChg chg="mod">
          <ac:chgData name="Aniket Chhabra" userId="598e0514-bef3-4e71-b6aa-f2edd6441cff" providerId="ADAL" clId="{36D14C0E-B70E-4281-9AD2-7129A7F7BB3E}" dt="2021-12-10T05:15:21.237" v="163"/>
          <ac:grpSpMkLst>
            <pc:docMk/>
            <pc:sldMk cId="149577422" sldId="259"/>
            <ac:grpSpMk id="65" creationId="{14D11BF6-9F6D-445B-A4CA-C9A79EB01486}"/>
          </ac:grpSpMkLst>
        </pc:grpChg>
        <pc:grpChg chg="mod">
          <ac:chgData name="Aniket Chhabra" userId="598e0514-bef3-4e71-b6aa-f2edd6441cff" providerId="ADAL" clId="{36D14C0E-B70E-4281-9AD2-7129A7F7BB3E}" dt="2021-12-10T05:16:54.600" v="171"/>
          <ac:grpSpMkLst>
            <pc:docMk/>
            <pc:sldMk cId="149577422" sldId="259"/>
            <ac:grpSpMk id="73" creationId="{950EC694-63FE-4CB6-B5BB-E6EBB2463201}"/>
          </ac:grpSpMkLst>
        </pc:grpChg>
        <pc:grpChg chg="mod">
          <ac:chgData name="Aniket Chhabra" userId="598e0514-bef3-4e71-b6aa-f2edd6441cff" providerId="ADAL" clId="{36D14C0E-B70E-4281-9AD2-7129A7F7BB3E}" dt="2021-12-10T05:16:54.600" v="171"/>
          <ac:grpSpMkLst>
            <pc:docMk/>
            <pc:sldMk cId="149577422" sldId="259"/>
            <ac:grpSpMk id="74" creationId="{E0160BFD-58BD-4156-8A00-B7C1DBC501E0}"/>
          </ac:grpSpMkLst>
        </pc:grpChg>
        <pc:grpChg chg="del mod">
          <ac:chgData name="Aniket Chhabra" userId="598e0514-bef3-4e71-b6aa-f2edd6441cff" providerId="ADAL" clId="{36D14C0E-B70E-4281-9AD2-7129A7F7BB3E}" dt="2021-12-10T05:17:01.036" v="181"/>
          <ac:grpSpMkLst>
            <pc:docMk/>
            <pc:sldMk cId="149577422" sldId="259"/>
            <ac:grpSpMk id="80" creationId="{E3A9F2AA-D746-4008-A2D5-2191A0807253}"/>
          </ac:grpSpMkLst>
        </pc:grpChg>
        <pc:grpChg chg="mod">
          <ac:chgData name="Aniket Chhabra" userId="598e0514-bef3-4e71-b6aa-f2edd6441cff" providerId="ADAL" clId="{36D14C0E-B70E-4281-9AD2-7129A7F7BB3E}" dt="2021-12-10T05:17:06.008" v="190"/>
          <ac:grpSpMkLst>
            <pc:docMk/>
            <pc:sldMk cId="149577422" sldId="259"/>
            <ac:grpSpMk id="89" creationId="{FD088EA3-FADB-4AAC-AD81-950F191F352F}"/>
          </ac:grpSpMkLst>
        </pc:grpChg>
        <pc:grpChg chg="del mod">
          <ac:chgData name="Aniket Chhabra" userId="598e0514-bef3-4e71-b6aa-f2edd6441cff" providerId="ADAL" clId="{36D14C0E-B70E-4281-9AD2-7129A7F7BB3E}" dt="2021-12-10T05:17:46.368" v="218"/>
          <ac:grpSpMkLst>
            <pc:docMk/>
            <pc:sldMk cId="149577422" sldId="259"/>
            <ac:grpSpMk id="107" creationId="{CDE50579-4B6D-4FE0-B06C-D7A387372E68}"/>
          </ac:grpSpMkLst>
        </pc:grpChg>
        <pc:grpChg chg="mod">
          <ac:chgData name="Aniket Chhabra" userId="598e0514-bef3-4e71-b6aa-f2edd6441cff" providerId="ADAL" clId="{36D14C0E-B70E-4281-9AD2-7129A7F7BB3E}" dt="2021-12-10T05:17:15.956" v="208"/>
          <ac:grpSpMkLst>
            <pc:docMk/>
            <pc:sldMk cId="149577422" sldId="259"/>
            <ac:grpSpMk id="108" creationId="{B938F733-0C02-4896-A5A8-4D29B41888EF}"/>
          </ac:grpSpMkLst>
        </pc:grpChg>
        <pc:grpChg chg="del mod">
          <ac:chgData name="Aniket Chhabra" userId="598e0514-bef3-4e71-b6aa-f2edd6441cff" providerId="ADAL" clId="{36D14C0E-B70E-4281-9AD2-7129A7F7BB3E}" dt="2021-12-10T05:17:55.787" v="235"/>
          <ac:grpSpMkLst>
            <pc:docMk/>
            <pc:sldMk cId="149577422" sldId="259"/>
            <ac:grpSpMk id="118" creationId="{1C72E5E6-4EA0-41A3-8F0F-A8BE01EA5EF3}"/>
          </ac:grpSpMkLst>
        </pc:grpChg>
        <pc:grpChg chg="del mod">
          <ac:chgData name="Aniket Chhabra" userId="598e0514-bef3-4e71-b6aa-f2edd6441cff" providerId="ADAL" clId="{36D14C0E-B70E-4281-9AD2-7129A7F7BB3E}" dt="2021-12-10T05:17:55.787" v="235"/>
          <ac:grpSpMkLst>
            <pc:docMk/>
            <pc:sldMk cId="149577422" sldId="259"/>
            <ac:grpSpMk id="127" creationId="{DD2554B6-0F8A-4EB1-818A-802326CC090A}"/>
          </ac:grpSpMkLst>
        </pc:grpChg>
        <pc:grpChg chg="mod">
          <ac:chgData name="Aniket Chhabra" userId="598e0514-bef3-4e71-b6aa-f2edd6441cff" providerId="ADAL" clId="{36D14C0E-B70E-4281-9AD2-7129A7F7BB3E}" dt="2021-12-10T05:17:55.787" v="235"/>
          <ac:grpSpMkLst>
            <pc:docMk/>
            <pc:sldMk cId="149577422" sldId="259"/>
            <ac:grpSpMk id="135" creationId="{B9EABB31-EF76-4413-A8EC-E0FCB1A07EAE}"/>
          </ac:grpSpMkLst>
        </pc:grpChg>
        <pc:picChg chg="del">
          <ac:chgData name="Aniket Chhabra" userId="598e0514-bef3-4e71-b6aa-f2edd6441cff" providerId="ADAL" clId="{36D14C0E-B70E-4281-9AD2-7129A7F7BB3E}" dt="2021-12-10T05:03:46.067" v="17" actId="478"/>
          <ac:picMkLst>
            <pc:docMk/>
            <pc:sldMk cId="149577422" sldId="259"/>
            <ac:picMk id="3" creationId="{74D5911B-3428-4C79-9D34-2C83482013AF}"/>
          </ac:picMkLst>
        </pc:picChg>
        <pc:picChg chg="add del">
          <ac:chgData name="Aniket Chhabra" userId="598e0514-bef3-4e71-b6aa-f2edd6441cff" providerId="ADAL" clId="{36D14C0E-B70E-4281-9AD2-7129A7F7BB3E}" dt="2021-12-10T05:14:16.760" v="88" actId="478"/>
          <ac:picMkLst>
            <pc:docMk/>
            <pc:sldMk cId="149577422" sldId="259"/>
            <ac:picMk id="4" creationId="{DD511426-3903-44EA-AFB2-060E204CDB62}"/>
          </ac:picMkLst>
        </pc:picChg>
        <pc:picChg chg="add mod">
          <ac:chgData name="Aniket Chhabra" userId="598e0514-bef3-4e71-b6aa-f2edd6441cff" providerId="ADAL" clId="{36D14C0E-B70E-4281-9AD2-7129A7F7BB3E}" dt="2021-12-10T05:14:20.785" v="92" actId="14100"/>
          <ac:picMkLst>
            <pc:docMk/>
            <pc:sldMk cId="149577422" sldId="259"/>
            <ac:picMk id="7" creationId="{356669E0-68AB-42D6-BF57-8C0304401EFA}"/>
          </ac:picMkLst>
        </pc:picChg>
        <pc:inkChg chg="add">
          <ac:chgData name="Aniket Chhabra" userId="598e0514-bef3-4e71-b6aa-f2edd6441cff" providerId="ADAL" clId="{36D14C0E-B70E-4281-9AD2-7129A7F7BB3E}" dt="2021-12-11T13:45:06.906" v="1783"/>
          <ac:inkMkLst>
            <pc:docMk/>
            <pc:sldMk cId="149577422" sldId="259"/>
            <ac:inkMk id="2" creationId="{200A70CD-C0CD-4BE7-B27F-147D455AF588}"/>
          </ac:inkMkLst>
        </pc:inkChg>
        <pc:inkChg chg="add del">
          <ac:chgData name="Aniket Chhabra" userId="598e0514-bef3-4e71-b6aa-f2edd6441cff" providerId="ADAL" clId="{36D14C0E-B70E-4281-9AD2-7129A7F7BB3E}" dt="2021-12-10T05:14:28.076" v="94"/>
          <ac:inkMkLst>
            <pc:docMk/>
            <pc:sldMk cId="149577422" sldId="259"/>
            <ac:inkMk id="8" creationId="{398CFBCA-87A5-446D-921C-4B577DA08653}"/>
          </ac:inkMkLst>
        </pc:inkChg>
        <pc:inkChg chg="add del mod">
          <ac:chgData name="Aniket Chhabra" userId="598e0514-bef3-4e71-b6aa-f2edd6441cff" providerId="ADAL" clId="{36D14C0E-B70E-4281-9AD2-7129A7F7BB3E}" dt="2021-12-10T05:14:30.177" v="99"/>
          <ac:inkMkLst>
            <pc:docMk/>
            <pc:sldMk cId="149577422" sldId="259"/>
            <ac:inkMk id="9" creationId="{110185CB-56ED-4F59-A96F-BF1FF269961A}"/>
          </ac:inkMkLst>
        </pc:inkChg>
        <pc:inkChg chg="add del mod">
          <ac:chgData name="Aniket Chhabra" userId="598e0514-bef3-4e71-b6aa-f2edd6441cff" providerId="ADAL" clId="{36D14C0E-B70E-4281-9AD2-7129A7F7BB3E}" dt="2021-12-10T05:14:30.176" v="98"/>
          <ac:inkMkLst>
            <pc:docMk/>
            <pc:sldMk cId="149577422" sldId="259"/>
            <ac:inkMk id="10" creationId="{9C5F5EC3-23BA-469D-9AB8-FAFCD8F9ABBD}"/>
          </ac:inkMkLst>
        </pc:inkChg>
        <pc:inkChg chg="add mod">
          <ac:chgData name="Aniket Chhabra" userId="598e0514-bef3-4e71-b6aa-f2edd6441cff" providerId="ADAL" clId="{36D14C0E-B70E-4281-9AD2-7129A7F7BB3E}" dt="2021-12-10T05:14:37.103" v="113"/>
          <ac:inkMkLst>
            <pc:docMk/>
            <pc:sldMk cId="149577422" sldId="259"/>
            <ac:inkMk id="12" creationId="{2CA56659-5074-4BA7-B262-F2089AF7CC61}"/>
          </ac:inkMkLst>
        </pc:inkChg>
        <pc:inkChg chg="add mod">
          <ac:chgData name="Aniket Chhabra" userId="598e0514-bef3-4e71-b6aa-f2edd6441cff" providerId="ADAL" clId="{36D14C0E-B70E-4281-9AD2-7129A7F7BB3E}" dt="2021-12-10T05:14:37.103" v="113"/>
          <ac:inkMkLst>
            <pc:docMk/>
            <pc:sldMk cId="149577422" sldId="259"/>
            <ac:inkMk id="13" creationId="{6EBE2E75-DA6A-4CA2-B7FF-F59391130763}"/>
          </ac:inkMkLst>
        </pc:inkChg>
        <pc:inkChg chg="add mod">
          <ac:chgData name="Aniket Chhabra" userId="598e0514-bef3-4e71-b6aa-f2edd6441cff" providerId="ADAL" clId="{36D14C0E-B70E-4281-9AD2-7129A7F7BB3E}" dt="2021-12-10T05:14:37.103" v="113"/>
          <ac:inkMkLst>
            <pc:docMk/>
            <pc:sldMk cId="149577422" sldId="259"/>
            <ac:inkMk id="14" creationId="{B3130F19-8D2D-4FE8-B7E5-F18772D16749}"/>
          </ac:inkMkLst>
        </pc:inkChg>
        <pc:inkChg chg="add mod">
          <ac:chgData name="Aniket Chhabra" userId="598e0514-bef3-4e71-b6aa-f2edd6441cff" providerId="ADAL" clId="{36D14C0E-B70E-4281-9AD2-7129A7F7BB3E}" dt="2021-12-10T05:14:37.103" v="113"/>
          <ac:inkMkLst>
            <pc:docMk/>
            <pc:sldMk cId="149577422" sldId="259"/>
            <ac:inkMk id="15" creationId="{C62EB867-614C-4F7F-A7ED-8E75C5DFF303}"/>
          </ac:inkMkLst>
        </pc:inkChg>
        <pc:inkChg chg="add mod">
          <ac:chgData name="Aniket Chhabra" userId="598e0514-bef3-4e71-b6aa-f2edd6441cff" providerId="ADAL" clId="{36D14C0E-B70E-4281-9AD2-7129A7F7BB3E}" dt="2021-12-10T05:14:37.103" v="113"/>
          <ac:inkMkLst>
            <pc:docMk/>
            <pc:sldMk cId="149577422" sldId="259"/>
            <ac:inkMk id="16" creationId="{239FBBA6-1E21-44C0-8255-8F5DE804CFDC}"/>
          </ac:inkMkLst>
        </pc:inkChg>
        <pc:inkChg chg="add mod">
          <ac:chgData name="Aniket Chhabra" userId="598e0514-bef3-4e71-b6aa-f2edd6441cff" providerId="ADAL" clId="{36D14C0E-B70E-4281-9AD2-7129A7F7BB3E}" dt="2021-12-10T05:14:37.103" v="113"/>
          <ac:inkMkLst>
            <pc:docMk/>
            <pc:sldMk cId="149577422" sldId="259"/>
            <ac:inkMk id="17" creationId="{FA544C9E-18BC-42F6-863B-F4696995073C}"/>
          </ac:inkMkLst>
        </pc:inkChg>
        <pc:inkChg chg="add mod">
          <ac:chgData name="Aniket Chhabra" userId="598e0514-bef3-4e71-b6aa-f2edd6441cff" providerId="ADAL" clId="{36D14C0E-B70E-4281-9AD2-7129A7F7BB3E}" dt="2021-12-10T05:14:37.103" v="113"/>
          <ac:inkMkLst>
            <pc:docMk/>
            <pc:sldMk cId="149577422" sldId="259"/>
            <ac:inkMk id="18" creationId="{5569C77A-E101-4B2C-94A1-9A84163D701B}"/>
          </ac:inkMkLst>
        </pc:inkChg>
        <pc:inkChg chg="add mod">
          <ac:chgData name="Aniket Chhabra" userId="598e0514-bef3-4e71-b6aa-f2edd6441cff" providerId="ADAL" clId="{36D14C0E-B70E-4281-9AD2-7129A7F7BB3E}" dt="2021-12-10T05:14:37.103" v="113"/>
          <ac:inkMkLst>
            <pc:docMk/>
            <pc:sldMk cId="149577422" sldId="259"/>
            <ac:inkMk id="19" creationId="{E0DE3302-8489-4F45-BC8A-8C549E760D0C}"/>
          </ac:inkMkLst>
        </pc:inkChg>
        <pc:inkChg chg="add mod">
          <ac:chgData name="Aniket Chhabra" userId="598e0514-bef3-4e71-b6aa-f2edd6441cff" providerId="ADAL" clId="{36D14C0E-B70E-4281-9AD2-7129A7F7BB3E}" dt="2021-12-10T05:14:37.103" v="113"/>
          <ac:inkMkLst>
            <pc:docMk/>
            <pc:sldMk cId="149577422" sldId="259"/>
            <ac:inkMk id="20" creationId="{7E1C0A8D-2E2B-4E72-8414-A79BB65964CB}"/>
          </ac:inkMkLst>
        </pc:inkChg>
        <pc:inkChg chg="add mod">
          <ac:chgData name="Aniket Chhabra" userId="598e0514-bef3-4e71-b6aa-f2edd6441cff" providerId="ADAL" clId="{36D14C0E-B70E-4281-9AD2-7129A7F7BB3E}" dt="2021-12-10T05:14:37.103" v="113"/>
          <ac:inkMkLst>
            <pc:docMk/>
            <pc:sldMk cId="149577422" sldId="259"/>
            <ac:inkMk id="21" creationId="{BDF3BBBC-27E5-4F7F-87DF-9D931B68F433}"/>
          </ac:inkMkLst>
        </pc:inkChg>
        <pc:inkChg chg="add mod">
          <ac:chgData name="Aniket Chhabra" userId="598e0514-bef3-4e71-b6aa-f2edd6441cff" providerId="ADAL" clId="{36D14C0E-B70E-4281-9AD2-7129A7F7BB3E}" dt="2021-12-10T05:14:37.103" v="113"/>
          <ac:inkMkLst>
            <pc:docMk/>
            <pc:sldMk cId="149577422" sldId="259"/>
            <ac:inkMk id="22" creationId="{FCA24188-19AA-4050-99B8-3BBDD6F8A7C4}"/>
          </ac:inkMkLst>
        </pc:inkChg>
        <pc:inkChg chg="add mod">
          <ac:chgData name="Aniket Chhabra" userId="598e0514-bef3-4e71-b6aa-f2edd6441cff" providerId="ADAL" clId="{36D14C0E-B70E-4281-9AD2-7129A7F7BB3E}" dt="2021-12-10T05:14:37.103" v="113"/>
          <ac:inkMkLst>
            <pc:docMk/>
            <pc:sldMk cId="149577422" sldId="259"/>
            <ac:inkMk id="23" creationId="{D4B8556B-75B2-42D0-A49B-A2B8890A5F2C}"/>
          </ac:inkMkLst>
        </pc:inkChg>
        <pc:inkChg chg="add mod">
          <ac:chgData name="Aniket Chhabra" userId="598e0514-bef3-4e71-b6aa-f2edd6441cff" providerId="ADAL" clId="{36D14C0E-B70E-4281-9AD2-7129A7F7BB3E}" dt="2021-12-10T05:14:37.103" v="113"/>
          <ac:inkMkLst>
            <pc:docMk/>
            <pc:sldMk cId="149577422" sldId="259"/>
            <ac:inkMk id="24" creationId="{9A723B36-3521-4FD2-808C-472AD388FCCA}"/>
          </ac:inkMkLst>
        </pc:inkChg>
        <pc:inkChg chg="add mod">
          <ac:chgData name="Aniket Chhabra" userId="598e0514-bef3-4e71-b6aa-f2edd6441cff" providerId="ADAL" clId="{36D14C0E-B70E-4281-9AD2-7129A7F7BB3E}" dt="2021-12-10T05:14:46.835" v="132"/>
          <ac:inkMkLst>
            <pc:docMk/>
            <pc:sldMk cId="149577422" sldId="259"/>
            <ac:inkMk id="26" creationId="{E1CB6BD7-C65F-4157-97E5-58817A82B617}"/>
          </ac:inkMkLst>
        </pc:inkChg>
        <pc:inkChg chg="add mod">
          <ac:chgData name="Aniket Chhabra" userId="598e0514-bef3-4e71-b6aa-f2edd6441cff" providerId="ADAL" clId="{36D14C0E-B70E-4281-9AD2-7129A7F7BB3E}" dt="2021-12-10T05:14:46.835" v="132"/>
          <ac:inkMkLst>
            <pc:docMk/>
            <pc:sldMk cId="149577422" sldId="259"/>
            <ac:inkMk id="27" creationId="{688DF802-5E7C-432D-BCAC-15752BF17FF9}"/>
          </ac:inkMkLst>
        </pc:inkChg>
        <pc:inkChg chg="add mod">
          <ac:chgData name="Aniket Chhabra" userId="598e0514-bef3-4e71-b6aa-f2edd6441cff" providerId="ADAL" clId="{36D14C0E-B70E-4281-9AD2-7129A7F7BB3E}" dt="2021-12-10T05:14:46.835" v="132"/>
          <ac:inkMkLst>
            <pc:docMk/>
            <pc:sldMk cId="149577422" sldId="259"/>
            <ac:inkMk id="28" creationId="{DE94824C-C138-40A0-9A39-7EBD08320542}"/>
          </ac:inkMkLst>
        </pc:inkChg>
        <pc:inkChg chg="add mod">
          <ac:chgData name="Aniket Chhabra" userId="598e0514-bef3-4e71-b6aa-f2edd6441cff" providerId="ADAL" clId="{36D14C0E-B70E-4281-9AD2-7129A7F7BB3E}" dt="2021-12-10T05:14:46.835" v="132"/>
          <ac:inkMkLst>
            <pc:docMk/>
            <pc:sldMk cId="149577422" sldId="259"/>
            <ac:inkMk id="29" creationId="{72E63677-E1ED-4997-8E4A-48FC80AA285E}"/>
          </ac:inkMkLst>
        </pc:inkChg>
        <pc:inkChg chg="add mod">
          <ac:chgData name="Aniket Chhabra" userId="598e0514-bef3-4e71-b6aa-f2edd6441cff" providerId="ADAL" clId="{36D14C0E-B70E-4281-9AD2-7129A7F7BB3E}" dt="2021-12-10T05:14:46.835" v="132"/>
          <ac:inkMkLst>
            <pc:docMk/>
            <pc:sldMk cId="149577422" sldId="259"/>
            <ac:inkMk id="30" creationId="{DDE46BEA-4AA9-481D-8330-92754DA5230B}"/>
          </ac:inkMkLst>
        </pc:inkChg>
        <pc:inkChg chg="add mod">
          <ac:chgData name="Aniket Chhabra" userId="598e0514-bef3-4e71-b6aa-f2edd6441cff" providerId="ADAL" clId="{36D14C0E-B70E-4281-9AD2-7129A7F7BB3E}" dt="2021-12-10T05:14:46.835" v="132"/>
          <ac:inkMkLst>
            <pc:docMk/>
            <pc:sldMk cId="149577422" sldId="259"/>
            <ac:inkMk id="31" creationId="{83344506-DFF1-4086-B509-C57BCE71C231}"/>
          </ac:inkMkLst>
        </pc:inkChg>
        <pc:inkChg chg="add mod">
          <ac:chgData name="Aniket Chhabra" userId="598e0514-bef3-4e71-b6aa-f2edd6441cff" providerId="ADAL" clId="{36D14C0E-B70E-4281-9AD2-7129A7F7BB3E}" dt="2021-12-10T05:14:46.835" v="132"/>
          <ac:inkMkLst>
            <pc:docMk/>
            <pc:sldMk cId="149577422" sldId="259"/>
            <ac:inkMk id="32" creationId="{FBD278CF-DE7F-401F-AA58-671AD6019E28}"/>
          </ac:inkMkLst>
        </pc:inkChg>
        <pc:inkChg chg="add mod">
          <ac:chgData name="Aniket Chhabra" userId="598e0514-bef3-4e71-b6aa-f2edd6441cff" providerId="ADAL" clId="{36D14C0E-B70E-4281-9AD2-7129A7F7BB3E}" dt="2021-12-10T05:14:46.835" v="132"/>
          <ac:inkMkLst>
            <pc:docMk/>
            <pc:sldMk cId="149577422" sldId="259"/>
            <ac:inkMk id="33" creationId="{1CFC96DC-E27E-4444-A0C7-9D925AD981F9}"/>
          </ac:inkMkLst>
        </pc:inkChg>
        <pc:inkChg chg="add mod">
          <ac:chgData name="Aniket Chhabra" userId="598e0514-bef3-4e71-b6aa-f2edd6441cff" providerId="ADAL" clId="{36D14C0E-B70E-4281-9AD2-7129A7F7BB3E}" dt="2021-12-10T05:14:46.835" v="132"/>
          <ac:inkMkLst>
            <pc:docMk/>
            <pc:sldMk cId="149577422" sldId="259"/>
            <ac:inkMk id="34" creationId="{6EF4CF14-DE2D-4019-9D69-3773889F7C2F}"/>
          </ac:inkMkLst>
        </pc:inkChg>
        <pc:inkChg chg="add mod">
          <ac:chgData name="Aniket Chhabra" userId="598e0514-bef3-4e71-b6aa-f2edd6441cff" providerId="ADAL" clId="{36D14C0E-B70E-4281-9AD2-7129A7F7BB3E}" dt="2021-12-10T05:14:46.835" v="132"/>
          <ac:inkMkLst>
            <pc:docMk/>
            <pc:sldMk cId="149577422" sldId="259"/>
            <ac:inkMk id="35" creationId="{0E2E0A5E-BB5D-46BB-AB7D-62E5E89DFAB8}"/>
          </ac:inkMkLst>
        </pc:inkChg>
        <pc:inkChg chg="add mod">
          <ac:chgData name="Aniket Chhabra" userId="598e0514-bef3-4e71-b6aa-f2edd6441cff" providerId="ADAL" clId="{36D14C0E-B70E-4281-9AD2-7129A7F7BB3E}" dt="2021-12-10T05:14:46.835" v="132"/>
          <ac:inkMkLst>
            <pc:docMk/>
            <pc:sldMk cId="149577422" sldId="259"/>
            <ac:inkMk id="36" creationId="{2E529442-5444-4007-B4C3-E8D181FDF39C}"/>
          </ac:inkMkLst>
        </pc:inkChg>
        <pc:inkChg chg="add mod">
          <ac:chgData name="Aniket Chhabra" userId="598e0514-bef3-4e71-b6aa-f2edd6441cff" providerId="ADAL" clId="{36D14C0E-B70E-4281-9AD2-7129A7F7BB3E}" dt="2021-12-10T05:14:46.835" v="132"/>
          <ac:inkMkLst>
            <pc:docMk/>
            <pc:sldMk cId="149577422" sldId="259"/>
            <ac:inkMk id="37" creationId="{4951B58B-8004-4D51-A4D1-19931B4158C0}"/>
          </ac:inkMkLst>
        </pc:inkChg>
        <pc:inkChg chg="add del mod">
          <ac:chgData name="Aniket Chhabra" userId="598e0514-bef3-4e71-b6aa-f2edd6441cff" providerId="ADAL" clId="{36D14C0E-B70E-4281-9AD2-7129A7F7BB3E}" dt="2021-12-10T05:14:51.761" v="138"/>
          <ac:inkMkLst>
            <pc:docMk/>
            <pc:sldMk cId="149577422" sldId="259"/>
            <ac:inkMk id="38" creationId="{717B5103-327F-449F-B4C3-884AB99F621E}"/>
          </ac:inkMkLst>
        </pc:inkChg>
        <pc:inkChg chg="add del mod">
          <ac:chgData name="Aniket Chhabra" userId="598e0514-bef3-4e71-b6aa-f2edd6441cff" providerId="ADAL" clId="{36D14C0E-B70E-4281-9AD2-7129A7F7BB3E}" dt="2021-12-10T05:14:51.763" v="140"/>
          <ac:inkMkLst>
            <pc:docMk/>
            <pc:sldMk cId="149577422" sldId="259"/>
            <ac:inkMk id="39" creationId="{D25DADEC-E7D8-4FF3-9B8C-52C77954F2A4}"/>
          </ac:inkMkLst>
        </pc:inkChg>
        <pc:inkChg chg="add del mod">
          <ac:chgData name="Aniket Chhabra" userId="598e0514-bef3-4e71-b6aa-f2edd6441cff" providerId="ADAL" clId="{36D14C0E-B70E-4281-9AD2-7129A7F7BB3E}" dt="2021-12-10T05:14:51.763" v="139"/>
          <ac:inkMkLst>
            <pc:docMk/>
            <pc:sldMk cId="149577422" sldId="259"/>
            <ac:inkMk id="40" creationId="{39108D79-5334-4B3A-AC83-70F9BAF7C1B5}"/>
          </ac:inkMkLst>
        </pc:inkChg>
        <pc:inkChg chg="add del">
          <ac:chgData name="Aniket Chhabra" userId="598e0514-bef3-4e71-b6aa-f2edd6441cff" providerId="ADAL" clId="{36D14C0E-B70E-4281-9AD2-7129A7F7BB3E}" dt="2021-12-10T05:14:46.352" v="131"/>
          <ac:inkMkLst>
            <pc:docMk/>
            <pc:sldMk cId="149577422" sldId="259"/>
            <ac:inkMk id="41" creationId="{132A5567-00F6-425C-BA70-95C312052136}"/>
          </ac:inkMkLst>
        </pc:inkChg>
        <pc:inkChg chg="add del">
          <ac:chgData name="Aniket Chhabra" userId="598e0514-bef3-4e71-b6aa-f2edd6441cff" providerId="ADAL" clId="{36D14C0E-B70E-4281-9AD2-7129A7F7BB3E}" dt="2021-12-10T05:14:47.879" v="134"/>
          <ac:inkMkLst>
            <pc:docMk/>
            <pc:sldMk cId="149577422" sldId="259"/>
            <ac:inkMk id="42" creationId="{4B8120F5-AA2F-4888-944E-447F391C67E5}"/>
          </ac:inkMkLst>
        </pc:inkChg>
        <pc:inkChg chg="add del">
          <ac:chgData name="Aniket Chhabra" userId="598e0514-bef3-4e71-b6aa-f2edd6441cff" providerId="ADAL" clId="{36D14C0E-B70E-4281-9AD2-7129A7F7BB3E}" dt="2021-12-10T05:14:47.880" v="135"/>
          <ac:inkMkLst>
            <pc:docMk/>
            <pc:sldMk cId="149577422" sldId="259"/>
            <ac:inkMk id="46" creationId="{37D60CE2-BCD6-43E9-9AAC-ABE5E751BBF3}"/>
          </ac:inkMkLst>
        </pc:inkChg>
        <pc:inkChg chg="add del mod">
          <ac:chgData name="Aniket Chhabra" userId="598e0514-bef3-4e71-b6aa-f2edd6441cff" providerId="ADAL" clId="{36D14C0E-B70E-4281-9AD2-7129A7F7BB3E}" dt="2021-12-10T05:14:51.764" v="141"/>
          <ac:inkMkLst>
            <pc:docMk/>
            <pc:sldMk cId="149577422" sldId="259"/>
            <ac:inkMk id="47" creationId="{4C4CB2E8-D407-4B07-9911-C5E116F67D6D}"/>
          </ac:inkMkLst>
        </pc:inkChg>
        <pc:inkChg chg="add mod">
          <ac:chgData name="Aniket Chhabra" userId="598e0514-bef3-4e71-b6aa-f2edd6441cff" providerId="ADAL" clId="{36D14C0E-B70E-4281-9AD2-7129A7F7BB3E}" dt="2021-12-10T05:14:55.327" v="147"/>
          <ac:inkMkLst>
            <pc:docMk/>
            <pc:sldMk cId="149577422" sldId="259"/>
            <ac:inkMk id="49" creationId="{D48FD3EF-6077-464F-A05E-9CD8259B44AC}"/>
          </ac:inkMkLst>
        </pc:inkChg>
        <pc:inkChg chg="add mod">
          <ac:chgData name="Aniket Chhabra" userId="598e0514-bef3-4e71-b6aa-f2edd6441cff" providerId="ADAL" clId="{36D14C0E-B70E-4281-9AD2-7129A7F7BB3E}" dt="2021-12-10T05:14:55.327" v="147"/>
          <ac:inkMkLst>
            <pc:docMk/>
            <pc:sldMk cId="149577422" sldId="259"/>
            <ac:inkMk id="50" creationId="{F15ABA9D-95FB-402A-92DC-5771BE647B42}"/>
          </ac:inkMkLst>
        </pc:inkChg>
        <pc:inkChg chg="add mod">
          <ac:chgData name="Aniket Chhabra" userId="598e0514-bef3-4e71-b6aa-f2edd6441cff" providerId="ADAL" clId="{36D14C0E-B70E-4281-9AD2-7129A7F7BB3E}" dt="2021-12-10T05:14:55.327" v="147"/>
          <ac:inkMkLst>
            <pc:docMk/>
            <pc:sldMk cId="149577422" sldId="259"/>
            <ac:inkMk id="51" creationId="{74781DCC-D257-4959-9712-916161408F5B}"/>
          </ac:inkMkLst>
        </pc:inkChg>
        <pc:inkChg chg="add mod">
          <ac:chgData name="Aniket Chhabra" userId="598e0514-bef3-4e71-b6aa-f2edd6441cff" providerId="ADAL" clId="{36D14C0E-B70E-4281-9AD2-7129A7F7BB3E}" dt="2021-12-10T05:14:55.327" v="147"/>
          <ac:inkMkLst>
            <pc:docMk/>
            <pc:sldMk cId="149577422" sldId="259"/>
            <ac:inkMk id="52" creationId="{84FAEC12-921D-49E0-A28E-4A39951CD725}"/>
          </ac:inkMkLst>
        </pc:inkChg>
        <pc:inkChg chg="add mod">
          <ac:chgData name="Aniket Chhabra" userId="598e0514-bef3-4e71-b6aa-f2edd6441cff" providerId="ADAL" clId="{36D14C0E-B70E-4281-9AD2-7129A7F7BB3E}" dt="2021-12-10T05:14:55.327" v="147"/>
          <ac:inkMkLst>
            <pc:docMk/>
            <pc:sldMk cId="149577422" sldId="259"/>
            <ac:inkMk id="53" creationId="{89805704-EF71-4D00-AFB9-A92454E73292}"/>
          </ac:inkMkLst>
        </pc:inkChg>
        <pc:inkChg chg="add">
          <ac:chgData name="Aniket Chhabra" userId="598e0514-bef3-4e71-b6aa-f2edd6441cff" providerId="ADAL" clId="{36D14C0E-B70E-4281-9AD2-7129A7F7BB3E}" dt="2021-12-10T05:15:05.336" v="148" actId="9405"/>
          <ac:inkMkLst>
            <pc:docMk/>
            <pc:sldMk cId="149577422" sldId="259"/>
            <ac:inkMk id="55" creationId="{DF610378-C551-4AEF-B140-69233298D7D0}"/>
          </ac:inkMkLst>
        </pc:inkChg>
        <pc:inkChg chg="add del">
          <ac:chgData name="Aniket Chhabra" userId="598e0514-bef3-4e71-b6aa-f2edd6441cff" providerId="ADAL" clId="{36D14C0E-B70E-4281-9AD2-7129A7F7BB3E}" dt="2021-12-10T05:15:13.842" v="154"/>
          <ac:inkMkLst>
            <pc:docMk/>
            <pc:sldMk cId="149577422" sldId="259"/>
            <ac:inkMk id="56" creationId="{DFEBEE0E-4FC9-4CC1-A774-62EA989CC9E7}"/>
          </ac:inkMkLst>
        </pc:inkChg>
        <pc:inkChg chg="add del">
          <ac:chgData name="Aniket Chhabra" userId="598e0514-bef3-4e71-b6aa-f2edd6441cff" providerId="ADAL" clId="{36D14C0E-B70E-4281-9AD2-7129A7F7BB3E}" dt="2021-12-10T05:15:13.841" v="153"/>
          <ac:inkMkLst>
            <pc:docMk/>
            <pc:sldMk cId="149577422" sldId="259"/>
            <ac:inkMk id="57" creationId="{131637C1-7E8A-4D8C-8B84-CB838FFB8829}"/>
          </ac:inkMkLst>
        </pc:inkChg>
        <pc:inkChg chg="add del">
          <ac:chgData name="Aniket Chhabra" userId="598e0514-bef3-4e71-b6aa-f2edd6441cff" providerId="ADAL" clId="{36D14C0E-B70E-4281-9AD2-7129A7F7BB3E}" dt="2021-12-10T05:15:13.840" v="152"/>
          <ac:inkMkLst>
            <pc:docMk/>
            <pc:sldMk cId="149577422" sldId="259"/>
            <ac:inkMk id="58" creationId="{DA04685C-382E-4C4D-94E6-FBFD39145220}"/>
          </ac:inkMkLst>
        </pc:inkChg>
        <pc:inkChg chg="add del">
          <ac:chgData name="Aniket Chhabra" userId="598e0514-bef3-4e71-b6aa-f2edd6441cff" providerId="ADAL" clId="{36D14C0E-B70E-4281-9AD2-7129A7F7BB3E}" dt="2021-12-10T05:15:15.524" v="156"/>
          <ac:inkMkLst>
            <pc:docMk/>
            <pc:sldMk cId="149577422" sldId="259"/>
            <ac:inkMk id="59" creationId="{6089BFA8-5DD6-4FE8-88F6-5C6A25B447D9}"/>
          </ac:inkMkLst>
        </pc:inkChg>
        <pc:inkChg chg="add del">
          <ac:chgData name="Aniket Chhabra" userId="598e0514-bef3-4e71-b6aa-f2edd6441cff" providerId="ADAL" clId="{36D14C0E-B70E-4281-9AD2-7129A7F7BB3E}" dt="2021-12-10T05:15:17.375" v="158"/>
          <ac:inkMkLst>
            <pc:docMk/>
            <pc:sldMk cId="149577422" sldId="259"/>
            <ac:inkMk id="60" creationId="{C21BA34B-3289-4174-8978-B4E935638F70}"/>
          </ac:inkMkLst>
        </pc:inkChg>
        <pc:inkChg chg="add mod">
          <ac:chgData name="Aniket Chhabra" userId="598e0514-bef3-4e71-b6aa-f2edd6441cff" providerId="ADAL" clId="{36D14C0E-B70E-4281-9AD2-7129A7F7BB3E}" dt="2021-12-10T05:15:21.237" v="163"/>
          <ac:inkMkLst>
            <pc:docMk/>
            <pc:sldMk cId="149577422" sldId="259"/>
            <ac:inkMk id="61" creationId="{9362DEEB-FA63-4730-B2A9-3EB74E3B072A}"/>
          </ac:inkMkLst>
        </pc:inkChg>
        <pc:inkChg chg="add mod">
          <ac:chgData name="Aniket Chhabra" userId="598e0514-bef3-4e71-b6aa-f2edd6441cff" providerId="ADAL" clId="{36D14C0E-B70E-4281-9AD2-7129A7F7BB3E}" dt="2021-12-10T05:15:21.237" v="163"/>
          <ac:inkMkLst>
            <pc:docMk/>
            <pc:sldMk cId="149577422" sldId="259"/>
            <ac:inkMk id="62" creationId="{3DFBEFEA-85E3-4BCA-A76F-F33EB805A602}"/>
          </ac:inkMkLst>
        </pc:inkChg>
        <pc:inkChg chg="add mod">
          <ac:chgData name="Aniket Chhabra" userId="598e0514-bef3-4e71-b6aa-f2edd6441cff" providerId="ADAL" clId="{36D14C0E-B70E-4281-9AD2-7129A7F7BB3E}" dt="2021-12-10T05:15:21.237" v="163"/>
          <ac:inkMkLst>
            <pc:docMk/>
            <pc:sldMk cId="149577422" sldId="259"/>
            <ac:inkMk id="63" creationId="{BBEBF695-2D1B-4126-AB57-2BA02ADE3D7D}"/>
          </ac:inkMkLst>
        </pc:inkChg>
        <pc:inkChg chg="add mod">
          <ac:chgData name="Aniket Chhabra" userId="598e0514-bef3-4e71-b6aa-f2edd6441cff" providerId="ADAL" clId="{36D14C0E-B70E-4281-9AD2-7129A7F7BB3E}" dt="2021-12-10T05:15:21.237" v="163"/>
          <ac:inkMkLst>
            <pc:docMk/>
            <pc:sldMk cId="149577422" sldId="259"/>
            <ac:inkMk id="64" creationId="{925BAEE6-6450-46E8-9C13-D2783836BA3D}"/>
          </ac:inkMkLst>
        </pc:inkChg>
        <pc:inkChg chg="add">
          <ac:chgData name="Aniket Chhabra" userId="598e0514-bef3-4e71-b6aa-f2edd6441cff" providerId="ADAL" clId="{36D14C0E-B70E-4281-9AD2-7129A7F7BB3E}" dt="2021-12-10T05:16:47.030" v="164" actId="9405"/>
          <ac:inkMkLst>
            <pc:docMk/>
            <pc:sldMk cId="149577422" sldId="259"/>
            <ac:inkMk id="66" creationId="{C1CD454B-207B-4FAF-A070-4C3022D9B1E5}"/>
          </ac:inkMkLst>
        </pc:inkChg>
        <pc:inkChg chg="add mod">
          <ac:chgData name="Aniket Chhabra" userId="598e0514-bef3-4e71-b6aa-f2edd6441cff" providerId="ADAL" clId="{36D14C0E-B70E-4281-9AD2-7129A7F7BB3E}" dt="2021-12-10T05:16:54.600" v="171"/>
          <ac:inkMkLst>
            <pc:docMk/>
            <pc:sldMk cId="149577422" sldId="259"/>
            <ac:inkMk id="67" creationId="{7979BBF3-44BF-47F2-B95C-A8A1161D2BBA}"/>
          </ac:inkMkLst>
        </pc:inkChg>
        <pc:inkChg chg="add mod">
          <ac:chgData name="Aniket Chhabra" userId="598e0514-bef3-4e71-b6aa-f2edd6441cff" providerId="ADAL" clId="{36D14C0E-B70E-4281-9AD2-7129A7F7BB3E}" dt="2021-12-10T05:16:54.600" v="171"/>
          <ac:inkMkLst>
            <pc:docMk/>
            <pc:sldMk cId="149577422" sldId="259"/>
            <ac:inkMk id="68" creationId="{0803FE75-6319-48FC-A1D8-4D1216E0C04F}"/>
          </ac:inkMkLst>
        </pc:inkChg>
        <pc:inkChg chg="add mod">
          <ac:chgData name="Aniket Chhabra" userId="598e0514-bef3-4e71-b6aa-f2edd6441cff" providerId="ADAL" clId="{36D14C0E-B70E-4281-9AD2-7129A7F7BB3E}" dt="2021-12-10T05:16:54.600" v="171"/>
          <ac:inkMkLst>
            <pc:docMk/>
            <pc:sldMk cId="149577422" sldId="259"/>
            <ac:inkMk id="69" creationId="{CB3102D2-5D68-4711-93B4-EB373DA1C37D}"/>
          </ac:inkMkLst>
        </pc:inkChg>
        <pc:inkChg chg="add mod">
          <ac:chgData name="Aniket Chhabra" userId="598e0514-bef3-4e71-b6aa-f2edd6441cff" providerId="ADAL" clId="{36D14C0E-B70E-4281-9AD2-7129A7F7BB3E}" dt="2021-12-10T05:16:54.600" v="171"/>
          <ac:inkMkLst>
            <pc:docMk/>
            <pc:sldMk cId="149577422" sldId="259"/>
            <ac:inkMk id="70" creationId="{12AD0F1A-1C57-47FE-A033-192E30B801A5}"/>
          </ac:inkMkLst>
        </pc:inkChg>
        <pc:inkChg chg="add mod">
          <ac:chgData name="Aniket Chhabra" userId="598e0514-bef3-4e71-b6aa-f2edd6441cff" providerId="ADAL" clId="{36D14C0E-B70E-4281-9AD2-7129A7F7BB3E}" dt="2021-12-10T05:16:54.600" v="171"/>
          <ac:inkMkLst>
            <pc:docMk/>
            <pc:sldMk cId="149577422" sldId="259"/>
            <ac:inkMk id="71" creationId="{9FF87547-4800-4DF9-B993-AB460417F10F}"/>
          </ac:inkMkLst>
        </pc:inkChg>
        <pc:inkChg chg="add mod">
          <ac:chgData name="Aniket Chhabra" userId="598e0514-bef3-4e71-b6aa-f2edd6441cff" providerId="ADAL" clId="{36D14C0E-B70E-4281-9AD2-7129A7F7BB3E}" dt="2021-12-10T05:16:54.600" v="171"/>
          <ac:inkMkLst>
            <pc:docMk/>
            <pc:sldMk cId="149577422" sldId="259"/>
            <ac:inkMk id="72" creationId="{85BBCD04-B72E-4911-ABAB-A50C62E06021}"/>
          </ac:inkMkLst>
        </pc:inkChg>
        <pc:inkChg chg="add del mod">
          <ac:chgData name="Aniket Chhabra" userId="598e0514-bef3-4e71-b6aa-f2edd6441cff" providerId="ADAL" clId="{36D14C0E-B70E-4281-9AD2-7129A7F7BB3E}" dt="2021-12-10T05:17:01.034" v="178"/>
          <ac:inkMkLst>
            <pc:docMk/>
            <pc:sldMk cId="149577422" sldId="259"/>
            <ac:inkMk id="75" creationId="{ABA9A6AB-EC9D-4562-A973-DE761E605FB7}"/>
          </ac:inkMkLst>
        </pc:inkChg>
        <pc:inkChg chg="add del mod">
          <ac:chgData name="Aniket Chhabra" userId="598e0514-bef3-4e71-b6aa-f2edd6441cff" providerId="ADAL" clId="{36D14C0E-B70E-4281-9AD2-7129A7F7BB3E}" dt="2021-12-10T05:17:01.035" v="179"/>
          <ac:inkMkLst>
            <pc:docMk/>
            <pc:sldMk cId="149577422" sldId="259"/>
            <ac:inkMk id="76" creationId="{41A09730-5D52-46F7-8C62-86EE7988630B}"/>
          </ac:inkMkLst>
        </pc:inkChg>
        <pc:inkChg chg="add del mod">
          <ac:chgData name="Aniket Chhabra" userId="598e0514-bef3-4e71-b6aa-f2edd6441cff" providerId="ADAL" clId="{36D14C0E-B70E-4281-9AD2-7129A7F7BB3E}" dt="2021-12-10T05:17:01.036" v="181"/>
          <ac:inkMkLst>
            <pc:docMk/>
            <pc:sldMk cId="149577422" sldId="259"/>
            <ac:inkMk id="77" creationId="{3CA904D1-9D37-419F-BD31-D0DA6934C756}"/>
          </ac:inkMkLst>
        </pc:inkChg>
        <pc:inkChg chg="add mod">
          <ac:chgData name="Aniket Chhabra" userId="598e0514-bef3-4e71-b6aa-f2edd6441cff" providerId="ADAL" clId="{36D14C0E-B70E-4281-9AD2-7129A7F7BB3E}" dt="2021-12-10T05:17:01.036" v="181"/>
          <ac:inkMkLst>
            <pc:docMk/>
            <pc:sldMk cId="149577422" sldId="259"/>
            <ac:inkMk id="78" creationId="{CC6BBF45-CC4C-4DA7-B491-4CB9D966B01B}"/>
          </ac:inkMkLst>
        </pc:inkChg>
        <pc:inkChg chg="add del mod">
          <ac:chgData name="Aniket Chhabra" userId="598e0514-bef3-4e71-b6aa-f2edd6441cff" providerId="ADAL" clId="{36D14C0E-B70E-4281-9AD2-7129A7F7BB3E}" dt="2021-12-10T05:17:01.036" v="180"/>
          <ac:inkMkLst>
            <pc:docMk/>
            <pc:sldMk cId="149577422" sldId="259"/>
            <ac:inkMk id="79" creationId="{4744C1B2-AF80-4D11-84A6-1C3FA6456B2B}"/>
          </ac:inkMkLst>
        </pc:inkChg>
        <pc:inkChg chg="add mod">
          <ac:chgData name="Aniket Chhabra" userId="598e0514-bef3-4e71-b6aa-f2edd6441cff" providerId="ADAL" clId="{36D14C0E-B70E-4281-9AD2-7129A7F7BB3E}" dt="2021-12-10T05:17:06.008" v="190"/>
          <ac:inkMkLst>
            <pc:docMk/>
            <pc:sldMk cId="149577422" sldId="259"/>
            <ac:inkMk id="81" creationId="{463B9C10-7AE1-4A48-953F-47FEB845175D}"/>
          </ac:inkMkLst>
        </pc:inkChg>
        <pc:inkChg chg="add mod">
          <ac:chgData name="Aniket Chhabra" userId="598e0514-bef3-4e71-b6aa-f2edd6441cff" providerId="ADAL" clId="{36D14C0E-B70E-4281-9AD2-7129A7F7BB3E}" dt="2021-12-10T05:17:06.008" v="190"/>
          <ac:inkMkLst>
            <pc:docMk/>
            <pc:sldMk cId="149577422" sldId="259"/>
            <ac:inkMk id="82" creationId="{88156434-94D3-43C7-B0A9-7533E6F669D6}"/>
          </ac:inkMkLst>
        </pc:inkChg>
        <pc:inkChg chg="add mod">
          <ac:chgData name="Aniket Chhabra" userId="598e0514-bef3-4e71-b6aa-f2edd6441cff" providerId="ADAL" clId="{36D14C0E-B70E-4281-9AD2-7129A7F7BB3E}" dt="2021-12-10T05:17:06.008" v="190"/>
          <ac:inkMkLst>
            <pc:docMk/>
            <pc:sldMk cId="149577422" sldId="259"/>
            <ac:inkMk id="83" creationId="{BC63AE98-4531-4AFD-92D4-FDB94DCA661E}"/>
          </ac:inkMkLst>
        </pc:inkChg>
        <pc:inkChg chg="add mod">
          <ac:chgData name="Aniket Chhabra" userId="598e0514-bef3-4e71-b6aa-f2edd6441cff" providerId="ADAL" clId="{36D14C0E-B70E-4281-9AD2-7129A7F7BB3E}" dt="2021-12-10T05:17:06.008" v="190"/>
          <ac:inkMkLst>
            <pc:docMk/>
            <pc:sldMk cId="149577422" sldId="259"/>
            <ac:inkMk id="84" creationId="{43199AF0-9336-4B1B-AEB6-99373988D2AF}"/>
          </ac:inkMkLst>
        </pc:inkChg>
        <pc:inkChg chg="add mod">
          <ac:chgData name="Aniket Chhabra" userId="598e0514-bef3-4e71-b6aa-f2edd6441cff" providerId="ADAL" clId="{36D14C0E-B70E-4281-9AD2-7129A7F7BB3E}" dt="2021-12-10T05:17:06.008" v="190"/>
          <ac:inkMkLst>
            <pc:docMk/>
            <pc:sldMk cId="149577422" sldId="259"/>
            <ac:inkMk id="85" creationId="{4A9F8E62-692F-4C5D-B33C-E4AE0BB2045B}"/>
          </ac:inkMkLst>
        </pc:inkChg>
        <pc:inkChg chg="add mod">
          <ac:chgData name="Aniket Chhabra" userId="598e0514-bef3-4e71-b6aa-f2edd6441cff" providerId="ADAL" clId="{36D14C0E-B70E-4281-9AD2-7129A7F7BB3E}" dt="2021-12-10T05:17:06.008" v="190"/>
          <ac:inkMkLst>
            <pc:docMk/>
            <pc:sldMk cId="149577422" sldId="259"/>
            <ac:inkMk id="86" creationId="{1E6EA9DC-498B-43C1-9F54-A2A3179FDF5A}"/>
          </ac:inkMkLst>
        </pc:inkChg>
        <pc:inkChg chg="add mod">
          <ac:chgData name="Aniket Chhabra" userId="598e0514-bef3-4e71-b6aa-f2edd6441cff" providerId="ADAL" clId="{36D14C0E-B70E-4281-9AD2-7129A7F7BB3E}" dt="2021-12-10T05:17:06.008" v="190"/>
          <ac:inkMkLst>
            <pc:docMk/>
            <pc:sldMk cId="149577422" sldId="259"/>
            <ac:inkMk id="87" creationId="{D5D5D8E5-C49D-4BE5-B17E-851DFEA7679B}"/>
          </ac:inkMkLst>
        </pc:inkChg>
        <pc:inkChg chg="add mod">
          <ac:chgData name="Aniket Chhabra" userId="598e0514-bef3-4e71-b6aa-f2edd6441cff" providerId="ADAL" clId="{36D14C0E-B70E-4281-9AD2-7129A7F7BB3E}" dt="2021-12-10T05:17:06.008" v="190"/>
          <ac:inkMkLst>
            <pc:docMk/>
            <pc:sldMk cId="149577422" sldId="259"/>
            <ac:inkMk id="88" creationId="{FABD9309-5CF8-4416-822F-730118129EDB}"/>
          </ac:inkMkLst>
        </pc:inkChg>
        <pc:inkChg chg="add mod">
          <ac:chgData name="Aniket Chhabra" userId="598e0514-bef3-4e71-b6aa-f2edd6441cff" providerId="ADAL" clId="{36D14C0E-B70E-4281-9AD2-7129A7F7BB3E}" dt="2021-12-10T05:17:15.956" v="208"/>
          <ac:inkMkLst>
            <pc:docMk/>
            <pc:sldMk cId="149577422" sldId="259"/>
            <ac:inkMk id="90" creationId="{ADBC88BB-60F2-4460-A99F-B4E584C585CC}"/>
          </ac:inkMkLst>
        </pc:inkChg>
        <pc:inkChg chg="add mod">
          <ac:chgData name="Aniket Chhabra" userId="598e0514-bef3-4e71-b6aa-f2edd6441cff" providerId="ADAL" clId="{36D14C0E-B70E-4281-9AD2-7129A7F7BB3E}" dt="2021-12-10T05:17:15.956" v="208"/>
          <ac:inkMkLst>
            <pc:docMk/>
            <pc:sldMk cId="149577422" sldId="259"/>
            <ac:inkMk id="91" creationId="{C4A41010-160E-4F0B-8C3F-C7DB9BF175C3}"/>
          </ac:inkMkLst>
        </pc:inkChg>
        <pc:inkChg chg="add mod">
          <ac:chgData name="Aniket Chhabra" userId="598e0514-bef3-4e71-b6aa-f2edd6441cff" providerId="ADAL" clId="{36D14C0E-B70E-4281-9AD2-7129A7F7BB3E}" dt="2021-12-10T05:17:15.956" v="208"/>
          <ac:inkMkLst>
            <pc:docMk/>
            <pc:sldMk cId="149577422" sldId="259"/>
            <ac:inkMk id="92" creationId="{64669249-45BD-48D5-BB4D-047425589651}"/>
          </ac:inkMkLst>
        </pc:inkChg>
        <pc:inkChg chg="add mod">
          <ac:chgData name="Aniket Chhabra" userId="598e0514-bef3-4e71-b6aa-f2edd6441cff" providerId="ADAL" clId="{36D14C0E-B70E-4281-9AD2-7129A7F7BB3E}" dt="2021-12-10T05:17:15.956" v="208"/>
          <ac:inkMkLst>
            <pc:docMk/>
            <pc:sldMk cId="149577422" sldId="259"/>
            <ac:inkMk id="93" creationId="{5F1113D6-C653-4EF1-9B23-CA75841738E5}"/>
          </ac:inkMkLst>
        </pc:inkChg>
        <pc:inkChg chg="add mod">
          <ac:chgData name="Aniket Chhabra" userId="598e0514-bef3-4e71-b6aa-f2edd6441cff" providerId="ADAL" clId="{36D14C0E-B70E-4281-9AD2-7129A7F7BB3E}" dt="2021-12-10T05:17:55.787" v="235"/>
          <ac:inkMkLst>
            <pc:docMk/>
            <pc:sldMk cId="149577422" sldId="259"/>
            <ac:inkMk id="94" creationId="{A233EF9A-C955-4F2F-9B0A-3C4F6F8B32F4}"/>
          </ac:inkMkLst>
        </pc:inkChg>
        <pc:inkChg chg="add mod">
          <ac:chgData name="Aniket Chhabra" userId="598e0514-bef3-4e71-b6aa-f2edd6441cff" providerId="ADAL" clId="{36D14C0E-B70E-4281-9AD2-7129A7F7BB3E}" dt="2021-12-10T05:17:55.787" v="235"/>
          <ac:inkMkLst>
            <pc:docMk/>
            <pc:sldMk cId="149577422" sldId="259"/>
            <ac:inkMk id="95" creationId="{3AC8CC2B-950E-44B3-A3FC-07D089D11C14}"/>
          </ac:inkMkLst>
        </pc:inkChg>
        <pc:inkChg chg="add mod">
          <ac:chgData name="Aniket Chhabra" userId="598e0514-bef3-4e71-b6aa-f2edd6441cff" providerId="ADAL" clId="{36D14C0E-B70E-4281-9AD2-7129A7F7BB3E}" dt="2021-12-10T05:17:55.787" v="235"/>
          <ac:inkMkLst>
            <pc:docMk/>
            <pc:sldMk cId="149577422" sldId="259"/>
            <ac:inkMk id="96" creationId="{D58C21EC-2F55-4F59-81DA-28C3B0CF7A0A}"/>
          </ac:inkMkLst>
        </pc:inkChg>
        <pc:inkChg chg="add mod">
          <ac:chgData name="Aniket Chhabra" userId="598e0514-bef3-4e71-b6aa-f2edd6441cff" providerId="ADAL" clId="{36D14C0E-B70E-4281-9AD2-7129A7F7BB3E}" dt="2021-12-10T05:17:55.787" v="235"/>
          <ac:inkMkLst>
            <pc:docMk/>
            <pc:sldMk cId="149577422" sldId="259"/>
            <ac:inkMk id="97" creationId="{4AB70D70-B2FB-4258-BEB0-B59AB075F94B}"/>
          </ac:inkMkLst>
        </pc:inkChg>
        <pc:inkChg chg="add mod">
          <ac:chgData name="Aniket Chhabra" userId="598e0514-bef3-4e71-b6aa-f2edd6441cff" providerId="ADAL" clId="{36D14C0E-B70E-4281-9AD2-7129A7F7BB3E}" dt="2021-12-10T05:17:55.787" v="235"/>
          <ac:inkMkLst>
            <pc:docMk/>
            <pc:sldMk cId="149577422" sldId="259"/>
            <ac:inkMk id="98" creationId="{A2138275-0A9E-4793-9C0F-4AA4CCC6FC2A}"/>
          </ac:inkMkLst>
        </pc:inkChg>
        <pc:inkChg chg="add mod">
          <ac:chgData name="Aniket Chhabra" userId="598e0514-bef3-4e71-b6aa-f2edd6441cff" providerId="ADAL" clId="{36D14C0E-B70E-4281-9AD2-7129A7F7BB3E}" dt="2021-12-10T05:17:55.787" v="235"/>
          <ac:inkMkLst>
            <pc:docMk/>
            <pc:sldMk cId="149577422" sldId="259"/>
            <ac:inkMk id="99" creationId="{70716E8C-1E77-4A97-8947-0C75A9B9F768}"/>
          </ac:inkMkLst>
        </pc:inkChg>
        <pc:inkChg chg="add mod">
          <ac:chgData name="Aniket Chhabra" userId="598e0514-bef3-4e71-b6aa-f2edd6441cff" providerId="ADAL" clId="{36D14C0E-B70E-4281-9AD2-7129A7F7BB3E}" dt="2021-12-10T05:17:55.787" v="235"/>
          <ac:inkMkLst>
            <pc:docMk/>
            <pc:sldMk cId="149577422" sldId="259"/>
            <ac:inkMk id="100" creationId="{BBDB242A-08F4-4938-8674-2124AAEA24FA}"/>
          </ac:inkMkLst>
        </pc:inkChg>
        <pc:inkChg chg="add mod">
          <ac:chgData name="Aniket Chhabra" userId="598e0514-bef3-4e71-b6aa-f2edd6441cff" providerId="ADAL" clId="{36D14C0E-B70E-4281-9AD2-7129A7F7BB3E}" dt="2021-12-10T05:17:55.787" v="235"/>
          <ac:inkMkLst>
            <pc:docMk/>
            <pc:sldMk cId="149577422" sldId="259"/>
            <ac:inkMk id="101" creationId="{58A4DCF2-8FEE-4F98-B952-C324DCB0E907}"/>
          </ac:inkMkLst>
        </pc:inkChg>
        <pc:inkChg chg="add mod">
          <ac:chgData name="Aniket Chhabra" userId="598e0514-bef3-4e71-b6aa-f2edd6441cff" providerId="ADAL" clId="{36D14C0E-B70E-4281-9AD2-7129A7F7BB3E}" dt="2021-12-10T05:17:55.787" v="235"/>
          <ac:inkMkLst>
            <pc:docMk/>
            <pc:sldMk cId="149577422" sldId="259"/>
            <ac:inkMk id="102" creationId="{0EFD0E47-8B24-4814-B958-EB93CB132710}"/>
          </ac:inkMkLst>
        </pc:inkChg>
        <pc:inkChg chg="add mod">
          <ac:chgData name="Aniket Chhabra" userId="598e0514-bef3-4e71-b6aa-f2edd6441cff" providerId="ADAL" clId="{36D14C0E-B70E-4281-9AD2-7129A7F7BB3E}" dt="2021-12-10T05:17:55.787" v="235"/>
          <ac:inkMkLst>
            <pc:docMk/>
            <pc:sldMk cId="149577422" sldId="259"/>
            <ac:inkMk id="103" creationId="{502463DD-FC67-45B5-AC38-AB1CEA185768}"/>
          </ac:inkMkLst>
        </pc:inkChg>
        <pc:inkChg chg="add mod">
          <ac:chgData name="Aniket Chhabra" userId="598e0514-bef3-4e71-b6aa-f2edd6441cff" providerId="ADAL" clId="{36D14C0E-B70E-4281-9AD2-7129A7F7BB3E}" dt="2021-12-10T05:17:55.787" v="235"/>
          <ac:inkMkLst>
            <pc:docMk/>
            <pc:sldMk cId="149577422" sldId="259"/>
            <ac:inkMk id="104" creationId="{FE742E97-4BB7-458E-9EE5-791A6C1E1BD9}"/>
          </ac:inkMkLst>
        </pc:inkChg>
        <pc:inkChg chg="add mod">
          <ac:chgData name="Aniket Chhabra" userId="598e0514-bef3-4e71-b6aa-f2edd6441cff" providerId="ADAL" clId="{36D14C0E-B70E-4281-9AD2-7129A7F7BB3E}" dt="2021-12-10T05:17:55.787" v="235"/>
          <ac:inkMkLst>
            <pc:docMk/>
            <pc:sldMk cId="149577422" sldId="259"/>
            <ac:inkMk id="105" creationId="{50402E54-6787-448B-84E5-2E380FADF90F}"/>
          </ac:inkMkLst>
        </pc:inkChg>
        <pc:inkChg chg="add mod">
          <ac:chgData name="Aniket Chhabra" userId="598e0514-bef3-4e71-b6aa-f2edd6441cff" providerId="ADAL" clId="{36D14C0E-B70E-4281-9AD2-7129A7F7BB3E}" dt="2021-12-10T05:17:55.787" v="235"/>
          <ac:inkMkLst>
            <pc:docMk/>
            <pc:sldMk cId="149577422" sldId="259"/>
            <ac:inkMk id="106" creationId="{59723523-14F1-4937-A0EA-B93BE1D2DFF2}"/>
          </ac:inkMkLst>
        </pc:inkChg>
        <pc:inkChg chg="add mod">
          <ac:chgData name="Aniket Chhabra" userId="598e0514-bef3-4e71-b6aa-f2edd6441cff" providerId="ADAL" clId="{36D14C0E-B70E-4281-9AD2-7129A7F7BB3E}" dt="2021-12-10T05:17:55.787" v="235"/>
          <ac:inkMkLst>
            <pc:docMk/>
            <pc:sldMk cId="149577422" sldId="259"/>
            <ac:inkMk id="109" creationId="{D4ABA540-605F-47AB-8D1D-EEBF94187B5F}"/>
          </ac:inkMkLst>
        </pc:inkChg>
        <pc:inkChg chg="add mod">
          <ac:chgData name="Aniket Chhabra" userId="598e0514-bef3-4e71-b6aa-f2edd6441cff" providerId="ADAL" clId="{36D14C0E-B70E-4281-9AD2-7129A7F7BB3E}" dt="2021-12-10T05:17:55.787" v="235"/>
          <ac:inkMkLst>
            <pc:docMk/>
            <pc:sldMk cId="149577422" sldId="259"/>
            <ac:inkMk id="110" creationId="{0C2F393F-85D2-4665-8375-68992082CCDD}"/>
          </ac:inkMkLst>
        </pc:inkChg>
        <pc:inkChg chg="add mod">
          <ac:chgData name="Aniket Chhabra" userId="598e0514-bef3-4e71-b6aa-f2edd6441cff" providerId="ADAL" clId="{36D14C0E-B70E-4281-9AD2-7129A7F7BB3E}" dt="2021-12-10T05:17:55.787" v="235"/>
          <ac:inkMkLst>
            <pc:docMk/>
            <pc:sldMk cId="149577422" sldId="259"/>
            <ac:inkMk id="111" creationId="{07D98889-65F8-44DF-9BD6-5F94F8523AEF}"/>
          </ac:inkMkLst>
        </pc:inkChg>
        <pc:inkChg chg="add mod">
          <ac:chgData name="Aniket Chhabra" userId="598e0514-bef3-4e71-b6aa-f2edd6441cff" providerId="ADAL" clId="{36D14C0E-B70E-4281-9AD2-7129A7F7BB3E}" dt="2021-12-10T05:17:55.787" v="235"/>
          <ac:inkMkLst>
            <pc:docMk/>
            <pc:sldMk cId="149577422" sldId="259"/>
            <ac:inkMk id="112" creationId="{9DC9F114-824A-40C0-BF09-BF4CDF4BFBD3}"/>
          </ac:inkMkLst>
        </pc:inkChg>
        <pc:inkChg chg="add mod">
          <ac:chgData name="Aniket Chhabra" userId="598e0514-bef3-4e71-b6aa-f2edd6441cff" providerId="ADAL" clId="{36D14C0E-B70E-4281-9AD2-7129A7F7BB3E}" dt="2021-12-10T05:17:55.787" v="235"/>
          <ac:inkMkLst>
            <pc:docMk/>
            <pc:sldMk cId="149577422" sldId="259"/>
            <ac:inkMk id="113" creationId="{7E293279-19D9-47DE-853E-38B75DAAEFDC}"/>
          </ac:inkMkLst>
        </pc:inkChg>
        <pc:inkChg chg="add mod">
          <ac:chgData name="Aniket Chhabra" userId="598e0514-bef3-4e71-b6aa-f2edd6441cff" providerId="ADAL" clId="{36D14C0E-B70E-4281-9AD2-7129A7F7BB3E}" dt="2021-12-10T05:17:55.787" v="235"/>
          <ac:inkMkLst>
            <pc:docMk/>
            <pc:sldMk cId="149577422" sldId="259"/>
            <ac:inkMk id="114" creationId="{A89F2B9B-27E9-412E-B917-16672BF3822F}"/>
          </ac:inkMkLst>
        </pc:inkChg>
        <pc:inkChg chg="add mod">
          <ac:chgData name="Aniket Chhabra" userId="598e0514-bef3-4e71-b6aa-f2edd6441cff" providerId="ADAL" clId="{36D14C0E-B70E-4281-9AD2-7129A7F7BB3E}" dt="2021-12-10T05:17:55.787" v="235"/>
          <ac:inkMkLst>
            <pc:docMk/>
            <pc:sldMk cId="149577422" sldId="259"/>
            <ac:inkMk id="115" creationId="{E37FB2E4-197D-40E5-93E4-4E9182BCFEC1}"/>
          </ac:inkMkLst>
        </pc:inkChg>
        <pc:inkChg chg="add mod">
          <ac:chgData name="Aniket Chhabra" userId="598e0514-bef3-4e71-b6aa-f2edd6441cff" providerId="ADAL" clId="{36D14C0E-B70E-4281-9AD2-7129A7F7BB3E}" dt="2021-12-10T05:17:55.787" v="235"/>
          <ac:inkMkLst>
            <pc:docMk/>
            <pc:sldMk cId="149577422" sldId="259"/>
            <ac:inkMk id="116" creationId="{CA7DA9A4-C8DE-4C6F-A9AC-F0EDB3978B91}"/>
          </ac:inkMkLst>
        </pc:inkChg>
        <pc:inkChg chg="add mod">
          <ac:chgData name="Aniket Chhabra" userId="598e0514-bef3-4e71-b6aa-f2edd6441cff" providerId="ADAL" clId="{36D14C0E-B70E-4281-9AD2-7129A7F7BB3E}" dt="2021-12-10T05:17:55.787" v="235"/>
          <ac:inkMkLst>
            <pc:docMk/>
            <pc:sldMk cId="149577422" sldId="259"/>
            <ac:inkMk id="117" creationId="{6178A035-1D82-4CB5-92C9-E10596C02A7E}"/>
          </ac:inkMkLst>
        </pc:inkChg>
        <pc:inkChg chg="add mod">
          <ac:chgData name="Aniket Chhabra" userId="598e0514-bef3-4e71-b6aa-f2edd6441cff" providerId="ADAL" clId="{36D14C0E-B70E-4281-9AD2-7129A7F7BB3E}" dt="2021-12-10T05:17:55.787" v="235"/>
          <ac:inkMkLst>
            <pc:docMk/>
            <pc:sldMk cId="149577422" sldId="259"/>
            <ac:inkMk id="119" creationId="{F7BC75C8-A08F-4C03-A298-84995AAF6BBC}"/>
          </ac:inkMkLst>
        </pc:inkChg>
        <pc:inkChg chg="add mod">
          <ac:chgData name="Aniket Chhabra" userId="598e0514-bef3-4e71-b6aa-f2edd6441cff" providerId="ADAL" clId="{36D14C0E-B70E-4281-9AD2-7129A7F7BB3E}" dt="2021-12-10T05:17:55.787" v="235"/>
          <ac:inkMkLst>
            <pc:docMk/>
            <pc:sldMk cId="149577422" sldId="259"/>
            <ac:inkMk id="120" creationId="{51ACE61C-831E-4F9E-BD74-3D2646E51DBD}"/>
          </ac:inkMkLst>
        </pc:inkChg>
        <pc:inkChg chg="add mod">
          <ac:chgData name="Aniket Chhabra" userId="598e0514-bef3-4e71-b6aa-f2edd6441cff" providerId="ADAL" clId="{36D14C0E-B70E-4281-9AD2-7129A7F7BB3E}" dt="2021-12-10T05:17:55.787" v="235"/>
          <ac:inkMkLst>
            <pc:docMk/>
            <pc:sldMk cId="149577422" sldId="259"/>
            <ac:inkMk id="121" creationId="{35954BB8-65C5-4DBC-8404-BC491521CBD2}"/>
          </ac:inkMkLst>
        </pc:inkChg>
        <pc:inkChg chg="add mod">
          <ac:chgData name="Aniket Chhabra" userId="598e0514-bef3-4e71-b6aa-f2edd6441cff" providerId="ADAL" clId="{36D14C0E-B70E-4281-9AD2-7129A7F7BB3E}" dt="2021-12-10T05:17:55.787" v="235"/>
          <ac:inkMkLst>
            <pc:docMk/>
            <pc:sldMk cId="149577422" sldId="259"/>
            <ac:inkMk id="122" creationId="{779884EC-DDAE-4EA3-9E6C-FE8F2FDE7E3D}"/>
          </ac:inkMkLst>
        </pc:inkChg>
        <pc:inkChg chg="add mod">
          <ac:chgData name="Aniket Chhabra" userId="598e0514-bef3-4e71-b6aa-f2edd6441cff" providerId="ADAL" clId="{36D14C0E-B70E-4281-9AD2-7129A7F7BB3E}" dt="2021-12-10T05:17:55.787" v="235"/>
          <ac:inkMkLst>
            <pc:docMk/>
            <pc:sldMk cId="149577422" sldId="259"/>
            <ac:inkMk id="123" creationId="{817E610F-FEB3-4C23-950A-558E150F9C92}"/>
          </ac:inkMkLst>
        </pc:inkChg>
        <pc:inkChg chg="add mod">
          <ac:chgData name="Aniket Chhabra" userId="598e0514-bef3-4e71-b6aa-f2edd6441cff" providerId="ADAL" clId="{36D14C0E-B70E-4281-9AD2-7129A7F7BB3E}" dt="2021-12-10T05:17:55.787" v="235"/>
          <ac:inkMkLst>
            <pc:docMk/>
            <pc:sldMk cId="149577422" sldId="259"/>
            <ac:inkMk id="124" creationId="{66F6FFCC-CE8F-48C6-B024-FD683B5FC105}"/>
          </ac:inkMkLst>
        </pc:inkChg>
        <pc:inkChg chg="add mod">
          <ac:chgData name="Aniket Chhabra" userId="598e0514-bef3-4e71-b6aa-f2edd6441cff" providerId="ADAL" clId="{36D14C0E-B70E-4281-9AD2-7129A7F7BB3E}" dt="2021-12-10T05:17:55.787" v="235"/>
          <ac:inkMkLst>
            <pc:docMk/>
            <pc:sldMk cId="149577422" sldId="259"/>
            <ac:inkMk id="125" creationId="{44A3DE2D-F20F-4085-83F7-4D57E2C60E60}"/>
          </ac:inkMkLst>
        </pc:inkChg>
        <pc:inkChg chg="add mod">
          <ac:chgData name="Aniket Chhabra" userId="598e0514-bef3-4e71-b6aa-f2edd6441cff" providerId="ADAL" clId="{36D14C0E-B70E-4281-9AD2-7129A7F7BB3E}" dt="2021-12-10T05:17:55.787" v="235"/>
          <ac:inkMkLst>
            <pc:docMk/>
            <pc:sldMk cId="149577422" sldId="259"/>
            <ac:inkMk id="126" creationId="{75CBCABE-9204-4B6F-8E04-E5D001C58A8C}"/>
          </ac:inkMkLst>
        </pc:inkChg>
        <pc:inkChg chg="add mod">
          <ac:chgData name="Aniket Chhabra" userId="598e0514-bef3-4e71-b6aa-f2edd6441cff" providerId="ADAL" clId="{36D14C0E-B70E-4281-9AD2-7129A7F7BB3E}" dt="2021-12-10T05:17:55.787" v="235"/>
          <ac:inkMkLst>
            <pc:docMk/>
            <pc:sldMk cId="149577422" sldId="259"/>
            <ac:inkMk id="128" creationId="{94C74997-25B8-415F-B8DC-2D89D84BE382}"/>
          </ac:inkMkLst>
        </pc:inkChg>
        <pc:inkChg chg="add mod">
          <ac:chgData name="Aniket Chhabra" userId="598e0514-bef3-4e71-b6aa-f2edd6441cff" providerId="ADAL" clId="{36D14C0E-B70E-4281-9AD2-7129A7F7BB3E}" dt="2021-12-10T05:17:55.787" v="235"/>
          <ac:inkMkLst>
            <pc:docMk/>
            <pc:sldMk cId="149577422" sldId="259"/>
            <ac:inkMk id="129" creationId="{D8882E6E-9A11-4B34-AEF4-364A117D9B77}"/>
          </ac:inkMkLst>
        </pc:inkChg>
        <pc:inkChg chg="add mod">
          <ac:chgData name="Aniket Chhabra" userId="598e0514-bef3-4e71-b6aa-f2edd6441cff" providerId="ADAL" clId="{36D14C0E-B70E-4281-9AD2-7129A7F7BB3E}" dt="2021-12-10T05:17:55.787" v="235"/>
          <ac:inkMkLst>
            <pc:docMk/>
            <pc:sldMk cId="149577422" sldId="259"/>
            <ac:inkMk id="130" creationId="{8E07057D-C6BE-4FD2-9D67-56F5D6ABF1E2}"/>
          </ac:inkMkLst>
        </pc:inkChg>
        <pc:inkChg chg="add mod">
          <ac:chgData name="Aniket Chhabra" userId="598e0514-bef3-4e71-b6aa-f2edd6441cff" providerId="ADAL" clId="{36D14C0E-B70E-4281-9AD2-7129A7F7BB3E}" dt="2021-12-10T05:17:55.787" v="235"/>
          <ac:inkMkLst>
            <pc:docMk/>
            <pc:sldMk cId="149577422" sldId="259"/>
            <ac:inkMk id="131" creationId="{42E812BE-CB2C-4B2F-9EBA-26CA41BBA721}"/>
          </ac:inkMkLst>
        </pc:inkChg>
        <pc:inkChg chg="add mod">
          <ac:chgData name="Aniket Chhabra" userId="598e0514-bef3-4e71-b6aa-f2edd6441cff" providerId="ADAL" clId="{36D14C0E-B70E-4281-9AD2-7129A7F7BB3E}" dt="2021-12-10T05:17:55.787" v="235"/>
          <ac:inkMkLst>
            <pc:docMk/>
            <pc:sldMk cId="149577422" sldId="259"/>
            <ac:inkMk id="132" creationId="{631F56B1-12BF-4CAA-9D2F-633D705B216C}"/>
          </ac:inkMkLst>
        </pc:inkChg>
        <pc:inkChg chg="add mod">
          <ac:chgData name="Aniket Chhabra" userId="598e0514-bef3-4e71-b6aa-f2edd6441cff" providerId="ADAL" clId="{36D14C0E-B70E-4281-9AD2-7129A7F7BB3E}" dt="2021-12-10T05:17:55.787" v="235"/>
          <ac:inkMkLst>
            <pc:docMk/>
            <pc:sldMk cId="149577422" sldId="259"/>
            <ac:inkMk id="133" creationId="{B9EFC85B-F72C-490A-ADC1-88AC7C44BD9A}"/>
          </ac:inkMkLst>
        </pc:inkChg>
        <pc:inkChg chg="add mod">
          <ac:chgData name="Aniket Chhabra" userId="598e0514-bef3-4e71-b6aa-f2edd6441cff" providerId="ADAL" clId="{36D14C0E-B70E-4281-9AD2-7129A7F7BB3E}" dt="2021-12-10T05:17:55.787" v="235"/>
          <ac:inkMkLst>
            <pc:docMk/>
            <pc:sldMk cId="149577422" sldId="259"/>
            <ac:inkMk id="134" creationId="{0CEB1138-C269-49C7-AA6F-80470A10F736}"/>
          </ac:inkMkLst>
        </pc:inkChg>
      </pc:sldChg>
      <pc:sldChg chg="new add del">
        <pc:chgData name="Aniket Chhabra" userId="598e0514-bef3-4e71-b6aa-f2edd6441cff" providerId="ADAL" clId="{36D14C0E-B70E-4281-9AD2-7129A7F7BB3E}" dt="2021-12-10T05:03:40.414" v="11" actId="680"/>
        <pc:sldMkLst>
          <pc:docMk/>
          <pc:sldMk cId="552320069" sldId="259"/>
        </pc:sldMkLst>
      </pc:sldChg>
      <pc:sldChg chg="addSp delSp modSp add mod">
        <pc:chgData name="Aniket Chhabra" userId="598e0514-bef3-4e71-b6aa-f2edd6441cff" providerId="ADAL" clId="{36D14C0E-B70E-4281-9AD2-7129A7F7BB3E}" dt="2021-12-10T05:24:22.287" v="447"/>
        <pc:sldMkLst>
          <pc:docMk/>
          <pc:sldMk cId="2205738745" sldId="260"/>
        </pc:sldMkLst>
        <pc:grpChg chg="mod">
          <ac:chgData name="Aniket Chhabra" userId="598e0514-bef3-4e71-b6aa-f2edd6441cff" providerId="ADAL" clId="{36D14C0E-B70E-4281-9AD2-7129A7F7BB3E}" dt="2021-12-10T05:20:18.629" v="256"/>
          <ac:grpSpMkLst>
            <pc:docMk/>
            <pc:sldMk cId="2205738745" sldId="260"/>
            <ac:grpSpMk id="20" creationId="{48EF9C8A-F3D9-4FF1-AD92-48E576A8FD79}"/>
          </ac:grpSpMkLst>
        </pc:grpChg>
        <pc:grpChg chg="mod">
          <ac:chgData name="Aniket Chhabra" userId="598e0514-bef3-4e71-b6aa-f2edd6441cff" providerId="ADAL" clId="{36D14C0E-B70E-4281-9AD2-7129A7F7BB3E}" dt="2021-12-10T05:20:30.301" v="278"/>
          <ac:grpSpMkLst>
            <pc:docMk/>
            <pc:sldMk cId="2205738745" sldId="260"/>
            <ac:grpSpMk id="38" creationId="{763457CC-1CE9-4D41-87CA-E20C394522CF}"/>
          </ac:grpSpMkLst>
        </pc:grpChg>
        <pc:grpChg chg="mod">
          <ac:chgData name="Aniket Chhabra" userId="598e0514-bef3-4e71-b6aa-f2edd6441cff" providerId="ADAL" clId="{36D14C0E-B70E-4281-9AD2-7129A7F7BB3E}" dt="2021-12-10T05:20:30.301" v="278"/>
          <ac:grpSpMkLst>
            <pc:docMk/>
            <pc:sldMk cId="2205738745" sldId="260"/>
            <ac:grpSpMk id="39" creationId="{D85D4FE7-4910-488E-8AC6-B1012D0ED786}"/>
          </ac:grpSpMkLst>
        </pc:grpChg>
        <pc:grpChg chg="del mod">
          <ac:chgData name="Aniket Chhabra" userId="598e0514-bef3-4e71-b6aa-f2edd6441cff" providerId="ADAL" clId="{36D14C0E-B70E-4281-9AD2-7129A7F7BB3E}" dt="2021-12-10T05:21:20.261" v="319"/>
          <ac:grpSpMkLst>
            <pc:docMk/>
            <pc:sldMk cId="2205738745" sldId="260"/>
            <ac:grpSpMk id="59" creationId="{B76F6D47-E84E-4618-B4C8-B50043D28C33}"/>
          </ac:grpSpMkLst>
        </pc:grpChg>
        <pc:grpChg chg="del mod">
          <ac:chgData name="Aniket Chhabra" userId="598e0514-bef3-4e71-b6aa-f2edd6441cff" providerId="ADAL" clId="{36D14C0E-B70E-4281-9AD2-7129A7F7BB3E}" dt="2021-12-10T05:21:24.128" v="328"/>
          <ac:grpSpMkLst>
            <pc:docMk/>
            <pc:sldMk cId="2205738745" sldId="260"/>
            <ac:grpSpMk id="64" creationId="{7D75A89F-6135-4B28-8493-644A203B939A}"/>
          </ac:grpSpMkLst>
        </pc:grpChg>
        <pc:grpChg chg="del mod">
          <ac:chgData name="Aniket Chhabra" userId="598e0514-bef3-4e71-b6aa-f2edd6441cff" providerId="ADAL" clId="{36D14C0E-B70E-4281-9AD2-7129A7F7BB3E}" dt="2021-12-10T05:21:30.098" v="331"/>
          <ac:grpSpMkLst>
            <pc:docMk/>
            <pc:sldMk cId="2205738745" sldId="260"/>
            <ac:grpSpMk id="67" creationId="{03205DBF-1910-4AB9-8684-2DDC4B211C9C}"/>
          </ac:grpSpMkLst>
        </pc:grpChg>
        <pc:grpChg chg="del mod">
          <ac:chgData name="Aniket Chhabra" userId="598e0514-bef3-4e71-b6aa-f2edd6441cff" providerId="ADAL" clId="{36D14C0E-B70E-4281-9AD2-7129A7F7BB3E}" dt="2021-12-10T05:21:37.243" v="341"/>
          <ac:grpSpMkLst>
            <pc:docMk/>
            <pc:sldMk cId="2205738745" sldId="260"/>
            <ac:grpSpMk id="70" creationId="{BB6FA156-ECBB-442F-A362-D1A09F4532C0}"/>
          </ac:grpSpMkLst>
        </pc:grpChg>
        <pc:grpChg chg="del mod">
          <ac:chgData name="Aniket Chhabra" userId="598e0514-bef3-4e71-b6aa-f2edd6441cff" providerId="ADAL" clId="{36D14C0E-B70E-4281-9AD2-7129A7F7BB3E}" dt="2021-12-10T05:21:37.874" v="347"/>
          <ac:grpSpMkLst>
            <pc:docMk/>
            <pc:sldMk cId="2205738745" sldId="260"/>
            <ac:grpSpMk id="76" creationId="{27A74AF6-424C-4516-A1DB-E96E2C30F242}"/>
          </ac:grpSpMkLst>
        </pc:grpChg>
        <pc:grpChg chg="del mod">
          <ac:chgData name="Aniket Chhabra" userId="598e0514-bef3-4e71-b6aa-f2edd6441cff" providerId="ADAL" clId="{36D14C0E-B70E-4281-9AD2-7129A7F7BB3E}" dt="2021-12-10T05:21:43.725" v="354"/>
          <ac:grpSpMkLst>
            <pc:docMk/>
            <pc:sldMk cId="2205738745" sldId="260"/>
            <ac:grpSpMk id="79" creationId="{36C21A8F-A5F6-4A8C-9C12-03B7370D7D6E}"/>
          </ac:grpSpMkLst>
        </pc:grpChg>
        <pc:grpChg chg="del mod">
          <ac:chgData name="Aniket Chhabra" userId="598e0514-bef3-4e71-b6aa-f2edd6441cff" providerId="ADAL" clId="{36D14C0E-B70E-4281-9AD2-7129A7F7BB3E}" dt="2021-12-10T05:21:45.056" v="357"/>
          <ac:grpSpMkLst>
            <pc:docMk/>
            <pc:sldMk cId="2205738745" sldId="260"/>
            <ac:grpSpMk id="82" creationId="{FA3A5CD1-2E30-40C1-BD2C-643C12009AC2}"/>
          </ac:grpSpMkLst>
        </pc:grpChg>
        <pc:grpChg chg="del mod">
          <ac:chgData name="Aniket Chhabra" userId="598e0514-bef3-4e71-b6aa-f2edd6441cff" providerId="ADAL" clId="{36D14C0E-B70E-4281-9AD2-7129A7F7BB3E}" dt="2021-12-10T05:22:00.895" v="380"/>
          <ac:grpSpMkLst>
            <pc:docMk/>
            <pc:sldMk cId="2205738745" sldId="260"/>
            <ac:grpSpMk id="88" creationId="{5451974A-23DB-4CC5-B4E2-84AA28B69008}"/>
          </ac:grpSpMkLst>
        </pc:grpChg>
        <pc:grpChg chg="del mod">
          <ac:chgData name="Aniket Chhabra" userId="598e0514-bef3-4e71-b6aa-f2edd6441cff" providerId="ADAL" clId="{36D14C0E-B70E-4281-9AD2-7129A7F7BB3E}" dt="2021-12-10T05:22:00.895" v="380"/>
          <ac:grpSpMkLst>
            <pc:docMk/>
            <pc:sldMk cId="2205738745" sldId="260"/>
            <ac:grpSpMk id="96" creationId="{FBF30814-6E30-4D7D-8450-4F8AD7800FFE}"/>
          </ac:grpSpMkLst>
        </pc:grpChg>
        <pc:grpChg chg="mod">
          <ac:chgData name="Aniket Chhabra" userId="598e0514-bef3-4e71-b6aa-f2edd6441cff" providerId="ADAL" clId="{36D14C0E-B70E-4281-9AD2-7129A7F7BB3E}" dt="2021-12-10T05:22:00.895" v="380"/>
          <ac:grpSpMkLst>
            <pc:docMk/>
            <pc:sldMk cId="2205738745" sldId="260"/>
            <ac:grpSpMk id="100" creationId="{A4093349-9DA8-46FB-90F4-D4D9761937A5}"/>
          </ac:grpSpMkLst>
        </pc:grpChg>
        <pc:grpChg chg="del mod">
          <ac:chgData name="Aniket Chhabra" userId="598e0514-bef3-4e71-b6aa-f2edd6441cff" providerId="ADAL" clId="{36D14C0E-B70E-4281-9AD2-7129A7F7BB3E}" dt="2021-12-10T05:22:14.899" v="398"/>
          <ac:grpSpMkLst>
            <pc:docMk/>
            <pc:sldMk cId="2205738745" sldId="260"/>
            <ac:grpSpMk id="118" creationId="{10703443-9A7B-4137-9342-C7C1009E2D30}"/>
          </ac:grpSpMkLst>
        </pc:grpChg>
        <pc:grpChg chg="mod">
          <ac:chgData name="Aniket Chhabra" userId="598e0514-bef3-4e71-b6aa-f2edd6441cff" providerId="ADAL" clId="{36D14C0E-B70E-4281-9AD2-7129A7F7BB3E}" dt="2021-12-10T05:22:14.899" v="398"/>
          <ac:grpSpMkLst>
            <pc:docMk/>
            <pc:sldMk cId="2205738745" sldId="260"/>
            <ac:grpSpMk id="119" creationId="{BF9752DA-08D6-4CBE-82CF-313ADF6C3AC0}"/>
          </ac:grpSpMkLst>
        </pc:grpChg>
        <pc:grpChg chg="del mod">
          <ac:chgData name="Aniket Chhabra" userId="598e0514-bef3-4e71-b6aa-f2edd6441cff" providerId="ADAL" clId="{36D14C0E-B70E-4281-9AD2-7129A7F7BB3E}" dt="2021-12-10T05:23:22.165" v="424"/>
          <ac:grpSpMkLst>
            <pc:docMk/>
            <pc:sldMk cId="2205738745" sldId="260"/>
            <ac:grpSpMk id="132" creationId="{5A895197-FC95-416E-98AB-528DE8B7B2C7}"/>
          </ac:grpSpMkLst>
        </pc:grpChg>
        <pc:grpChg chg="del mod">
          <ac:chgData name="Aniket Chhabra" userId="598e0514-bef3-4e71-b6aa-f2edd6441cff" providerId="ADAL" clId="{36D14C0E-B70E-4281-9AD2-7129A7F7BB3E}" dt="2021-12-10T05:23:25.879" v="433"/>
          <ac:grpSpMkLst>
            <pc:docMk/>
            <pc:sldMk cId="2205738745" sldId="260"/>
            <ac:grpSpMk id="137" creationId="{6F0F4733-5ADA-49D7-845E-2533ECCB563B}"/>
          </ac:grpSpMkLst>
        </pc:grpChg>
        <pc:grpChg chg="del mod">
          <ac:chgData name="Aniket Chhabra" userId="598e0514-bef3-4e71-b6aa-f2edd6441cff" providerId="ADAL" clId="{36D14C0E-B70E-4281-9AD2-7129A7F7BB3E}" dt="2021-12-10T05:23:26.466" v="435"/>
          <ac:grpSpMkLst>
            <pc:docMk/>
            <pc:sldMk cId="2205738745" sldId="260"/>
            <ac:grpSpMk id="146" creationId="{D0718313-0F8E-49FF-88B6-5F2995879D0C}"/>
          </ac:grpSpMkLst>
        </pc:grpChg>
        <pc:grpChg chg="mod">
          <ac:chgData name="Aniket Chhabra" userId="598e0514-bef3-4e71-b6aa-f2edd6441cff" providerId="ADAL" clId="{36D14C0E-B70E-4281-9AD2-7129A7F7BB3E}" dt="2021-12-10T05:23:26.466" v="435"/>
          <ac:grpSpMkLst>
            <pc:docMk/>
            <pc:sldMk cId="2205738745" sldId="260"/>
            <ac:grpSpMk id="148" creationId="{BACE68F8-6AEB-4E17-AB0E-12468DE014C6}"/>
          </ac:grpSpMkLst>
        </pc:grpChg>
        <pc:grpChg chg="mod">
          <ac:chgData name="Aniket Chhabra" userId="598e0514-bef3-4e71-b6aa-f2edd6441cff" providerId="ADAL" clId="{36D14C0E-B70E-4281-9AD2-7129A7F7BB3E}" dt="2021-12-10T05:24:22.287" v="447"/>
          <ac:grpSpMkLst>
            <pc:docMk/>
            <pc:sldMk cId="2205738745" sldId="260"/>
            <ac:grpSpMk id="160" creationId="{F6D5EA00-53A3-4B8D-A534-454CEE8426DC}"/>
          </ac:grpSpMkLst>
        </pc:grpChg>
        <pc:grpChg chg="mod">
          <ac:chgData name="Aniket Chhabra" userId="598e0514-bef3-4e71-b6aa-f2edd6441cff" providerId="ADAL" clId="{36D14C0E-B70E-4281-9AD2-7129A7F7BB3E}" dt="2021-12-10T05:24:22.287" v="447"/>
          <ac:grpSpMkLst>
            <pc:docMk/>
            <pc:sldMk cId="2205738745" sldId="260"/>
            <ac:grpSpMk id="161" creationId="{9AC67B6F-2700-4BE5-A0F7-9A55D21CA019}"/>
          </ac:grpSpMkLst>
        </pc:grpChg>
        <pc:picChg chg="del">
          <ac:chgData name="Aniket Chhabra" userId="598e0514-bef3-4e71-b6aa-f2edd6441cff" providerId="ADAL" clId="{36D14C0E-B70E-4281-9AD2-7129A7F7BB3E}" dt="2021-12-10T05:03:48.062" v="18" actId="478"/>
          <ac:picMkLst>
            <pc:docMk/>
            <pc:sldMk cId="2205738745" sldId="260"/>
            <ac:picMk id="3" creationId="{74D5911B-3428-4C79-9D34-2C83482013AF}"/>
          </ac:picMkLst>
        </pc:picChg>
        <pc:picChg chg="add del">
          <ac:chgData name="Aniket Chhabra" userId="598e0514-bef3-4e71-b6aa-f2edd6441cff" providerId="ADAL" clId="{36D14C0E-B70E-4281-9AD2-7129A7F7BB3E}" dt="2021-12-10T05:20:02.797" v="238" actId="478"/>
          <ac:picMkLst>
            <pc:docMk/>
            <pc:sldMk cId="2205738745" sldId="260"/>
            <ac:picMk id="4" creationId="{4DBE19AD-5771-412C-961C-3054268952BC}"/>
          </ac:picMkLst>
        </pc:picChg>
        <pc:picChg chg="add mod">
          <ac:chgData name="Aniket Chhabra" userId="598e0514-bef3-4e71-b6aa-f2edd6441cff" providerId="ADAL" clId="{36D14C0E-B70E-4281-9AD2-7129A7F7BB3E}" dt="2021-12-10T05:22:25.364" v="400" actId="14100"/>
          <ac:picMkLst>
            <pc:docMk/>
            <pc:sldMk cId="2205738745" sldId="260"/>
            <ac:picMk id="7" creationId="{83EE02B8-00DA-4524-8DFE-30E4FDD594DF}"/>
          </ac:picMkLst>
        </pc:picChg>
        <pc:picChg chg="add mod">
          <ac:chgData name="Aniket Chhabra" userId="598e0514-bef3-4e71-b6aa-f2edd6441cff" providerId="ADAL" clId="{36D14C0E-B70E-4281-9AD2-7129A7F7BB3E}" dt="2021-12-10T05:23:04.258" v="407" actId="1076"/>
          <ac:picMkLst>
            <pc:docMk/>
            <pc:sldMk cId="2205738745" sldId="260"/>
            <ac:picMk id="121" creationId="{FDAB0A52-487C-4F81-8BAE-859E4B9C45F0}"/>
          </ac:picMkLst>
        </pc:picChg>
        <pc:inkChg chg="add mod">
          <ac:chgData name="Aniket Chhabra" userId="598e0514-bef3-4e71-b6aa-f2edd6441cff" providerId="ADAL" clId="{36D14C0E-B70E-4281-9AD2-7129A7F7BB3E}" dt="2021-12-10T05:20:18.629" v="256"/>
          <ac:inkMkLst>
            <pc:docMk/>
            <pc:sldMk cId="2205738745" sldId="260"/>
            <ac:inkMk id="8" creationId="{BF2649F0-5C4B-432A-9BA9-1B3B530A94E6}"/>
          </ac:inkMkLst>
        </pc:inkChg>
        <pc:inkChg chg="add mod">
          <ac:chgData name="Aniket Chhabra" userId="598e0514-bef3-4e71-b6aa-f2edd6441cff" providerId="ADAL" clId="{36D14C0E-B70E-4281-9AD2-7129A7F7BB3E}" dt="2021-12-10T05:20:18.629" v="256"/>
          <ac:inkMkLst>
            <pc:docMk/>
            <pc:sldMk cId="2205738745" sldId="260"/>
            <ac:inkMk id="9" creationId="{9481C291-EA76-4A68-BB77-0F8DD1004A34}"/>
          </ac:inkMkLst>
        </pc:inkChg>
        <pc:inkChg chg="add mod">
          <ac:chgData name="Aniket Chhabra" userId="598e0514-bef3-4e71-b6aa-f2edd6441cff" providerId="ADAL" clId="{36D14C0E-B70E-4281-9AD2-7129A7F7BB3E}" dt="2021-12-10T05:20:18.629" v="256"/>
          <ac:inkMkLst>
            <pc:docMk/>
            <pc:sldMk cId="2205738745" sldId="260"/>
            <ac:inkMk id="10" creationId="{159820CA-95E5-4211-8316-C8A3E4BC2709}"/>
          </ac:inkMkLst>
        </pc:inkChg>
        <pc:inkChg chg="add mod">
          <ac:chgData name="Aniket Chhabra" userId="598e0514-bef3-4e71-b6aa-f2edd6441cff" providerId="ADAL" clId="{36D14C0E-B70E-4281-9AD2-7129A7F7BB3E}" dt="2021-12-10T05:20:18.629" v="256"/>
          <ac:inkMkLst>
            <pc:docMk/>
            <pc:sldMk cId="2205738745" sldId="260"/>
            <ac:inkMk id="11" creationId="{F4926213-5E26-44BB-8CB6-91CDE38747EE}"/>
          </ac:inkMkLst>
        </pc:inkChg>
        <pc:inkChg chg="add mod">
          <ac:chgData name="Aniket Chhabra" userId="598e0514-bef3-4e71-b6aa-f2edd6441cff" providerId="ADAL" clId="{36D14C0E-B70E-4281-9AD2-7129A7F7BB3E}" dt="2021-12-10T05:20:18.629" v="256"/>
          <ac:inkMkLst>
            <pc:docMk/>
            <pc:sldMk cId="2205738745" sldId="260"/>
            <ac:inkMk id="12" creationId="{4DB7B3C6-6E9E-4E3F-A501-4BC607BA3AF8}"/>
          </ac:inkMkLst>
        </pc:inkChg>
        <pc:inkChg chg="add mod">
          <ac:chgData name="Aniket Chhabra" userId="598e0514-bef3-4e71-b6aa-f2edd6441cff" providerId="ADAL" clId="{36D14C0E-B70E-4281-9AD2-7129A7F7BB3E}" dt="2021-12-10T05:20:18.629" v="256"/>
          <ac:inkMkLst>
            <pc:docMk/>
            <pc:sldMk cId="2205738745" sldId="260"/>
            <ac:inkMk id="13" creationId="{251494EF-08DE-490D-A5A5-E62F80576ADD}"/>
          </ac:inkMkLst>
        </pc:inkChg>
        <pc:inkChg chg="add mod">
          <ac:chgData name="Aniket Chhabra" userId="598e0514-bef3-4e71-b6aa-f2edd6441cff" providerId="ADAL" clId="{36D14C0E-B70E-4281-9AD2-7129A7F7BB3E}" dt="2021-12-10T05:20:18.629" v="256"/>
          <ac:inkMkLst>
            <pc:docMk/>
            <pc:sldMk cId="2205738745" sldId="260"/>
            <ac:inkMk id="14" creationId="{2A79E493-4203-4CCE-A1F1-BED1C9333059}"/>
          </ac:inkMkLst>
        </pc:inkChg>
        <pc:inkChg chg="add mod">
          <ac:chgData name="Aniket Chhabra" userId="598e0514-bef3-4e71-b6aa-f2edd6441cff" providerId="ADAL" clId="{36D14C0E-B70E-4281-9AD2-7129A7F7BB3E}" dt="2021-12-10T05:20:18.629" v="256"/>
          <ac:inkMkLst>
            <pc:docMk/>
            <pc:sldMk cId="2205738745" sldId="260"/>
            <ac:inkMk id="15" creationId="{B81DF305-5151-43CB-BDC8-80CD383C8A5F}"/>
          </ac:inkMkLst>
        </pc:inkChg>
        <pc:inkChg chg="add mod">
          <ac:chgData name="Aniket Chhabra" userId="598e0514-bef3-4e71-b6aa-f2edd6441cff" providerId="ADAL" clId="{36D14C0E-B70E-4281-9AD2-7129A7F7BB3E}" dt="2021-12-10T05:20:18.629" v="256"/>
          <ac:inkMkLst>
            <pc:docMk/>
            <pc:sldMk cId="2205738745" sldId="260"/>
            <ac:inkMk id="16" creationId="{2ADB1E24-8E58-4623-BA13-9CE84CC4F3D0}"/>
          </ac:inkMkLst>
        </pc:inkChg>
        <pc:inkChg chg="add mod">
          <ac:chgData name="Aniket Chhabra" userId="598e0514-bef3-4e71-b6aa-f2edd6441cff" providerId="ADAL" clId="{36D14C0E-B70E-4281-9AD2-7129A7F7BB3E}" dt="2021-12-10T05:20:18.629" v="256"/>
          <ac:inkMkLst>
            <pc:docMk/>
            <pc:sldMk cId="2205738745" sldId="260"/>
            <ac:inkMk id="17" creationId="{20C40BB2-97E7-4938-91C1-52778ED8A53E}"/>
          </ac:inkMkLst>
        </pc:inkChg>
        <pc:inkChg chg="add mod">
          <ac:chgData name="Aniket Chhabra" userId="598e0514-bef3-4e71-b6aa-f2edd6441cff" providerId="ADAL" clId="{36D14C0E-B70E-4281-9AD2-7129A7F7BB3E}" dt="2021-12-10T05:20:18.629" v="256"/>
          <ac:inkMkLst>
            <pc:docMk/>
            <pc:sldMk cId="2205738745" sldId="260"/>
            <ac:inkMk id="18" creationId="{6834AF60-C77E-4706-BBC6-65E29727B494}"/>
          </ac:inkMkLst>
        </pc:inkChg>
        <pc:inkChg chg="add mod">
          <ac:chgData name="Aniket Chhabra" userId="598e0514-bef3-4e71-b6aa-f2edd6441cff" providerId="ADAL" clId="{36D14C0E-B70E-4281-9AD2-7129A7F7BB3E}" dt="2021-12-10T05:20:18.629" v="256"/>
          <ac:inkMkLst>
            <pc:docMk/>
            <pc:sldMk cId="2205738745" sldId="260"/>
            <ac:inkMk id="19" creationId="{8C31C2F6-F9B3-40A9-9619-8C156114EE7E}"/>
          </ac:inkMkLst>
        </pc:inkChg>
        <pc:inkChg chg="add">
          <ac:chgData name="Aniket Chhabra" userId="598e0514-bef3-4e71-b6aa-f2edd6441cff" providerId="ADAL" clId="{36D14C0E-B70E-4281-9AD2-7129A7F7BB3E}" dt="2021-12-10T05:20:21" v="257" actId="9405"/>
          <ac:inkMkLst>
            <pc:docMk/>
            <pc:sldMk cId="2205738745" sldId="260"/>
            <ac:inkMk id="21" creationId="{D6AB703E-2A85-4FE4-824E-11B9868E0D3B}"/>
          </ac:inkMkLst>
        </pc:inkChg>
        <pc:inkChg chg="add del">
          <ac:chgData name="Aniket Chhabra" userId="598e0514-bef3-4e71-b6aa-f2edd6441cff" providerId="ADAL" clId="{36D14C0E-B70E-4281-9AD2-7129A7F7BB3E}" dt="2021-12-10T05:20:24.278" v="265"/>
          <ac:inkMkLst>
            <pc:docMk/>
            <pc:sldMk cId="2205738745" sldId="260"/>
            <ac:inkMk id="22" creationId="{8E1CFBE8-23B1-4661-ABB9-2FF8AE969BC6}"/>
          </ac:inkMkLst>
        </pc:inkChg>
        <pc:inkChg chg="add del">
          <ac:chgData name="Aniket Chhabra" userId="598e0514-bef3-4e71-b6aa-f2edd6441cff" providerId="ADAL" clId="{36D14C0E-B70E-4281-9AD2-7129A7F7BB3E}" dt="2021-12-10T05:20:24.278" v="264"/>
          <ac:inkMkLst>
            <pc:docMk/>
            <pc:sldMk cId="2205738745" sldId="260"/>
            <ac:inkMk id="23" creationId="{6BC0851D-ADFF-4B77-97F5-EA4BBC857BAF}"/>
          </ac:inkMkLst>
        </pc:inkChg>
        <pc:inkChg chg="add del">
          <ac:chgData name="Aniket Chhabra" userId="598e0514-bef3-4e71-b6aa-f2edd6441cff" providerId="ADAL" clId="{36D14C0E-B70E-4281-9AD2-7129A7F7BB3E}" dt="2021-12-10T05:20:24.277" v="263"/>
          <ac:inkMkLst>
            <pc:docMk/>
            <pc:sldMk cId="2205738745" sldId="260"/>
            <ac:inkMk id="24" creationId="{40CFB5E8-CB68-4D2D-90FE-4AAB4689D8D6}"/>
          </ac:inkMkLst>
        </pc:inkChg>
        <pc:inkChg chg="add del">
          <ac:chgData name="Aniket Chhabra" userId="598e0514-bef3-4e71-b6aa-f2edd6441cff" providerId="ADAL" clId="{36D14C0E-B70E-4281-9AD2-7129A7F7BB3E}" dt="2021-12-10T05:20:24.276" v="262"/>
          <ac:inkMkLst>
            <pc:docMk/>
            <pc:sldMk cId="2205738745" sldId="260"/>
            <ac:inkMk id="25" creationId="{FBBD1C13-ED93-41A1-BBDB-94C80DA1AAD9}"/>
          </ac:inkMkLst>
        </pc:inkChg>
        <pc:inkChg chg="add mod">
          <ac:chgData name="Aniket Chhabra" userId="598e0514-bef3-4e71-b6aa-f2edd6441cff" providerId="ADAL" clId="{36D14C0E-B70E-4281-9AD2-7129A7F7BB3E}" dt="2021-12-10T05:20:30.301" v="278"/>
          <ac:inkMkLst>
            <pc:docMk/>
            <pc:sldMk cId="2205738745" sldId="260"/>
            <ac:inkMk id="26" creationId="{97F53801-4C30-43CB-9331-8FCA640B39BB}"/>
          </ac:inkMkLst>
        </pc:inkChg>
        <pc:inkChg chg="add mod">
          <ac:chgData name="Aniket Chhabra" userId="598e0514-bef3-4e71-b6aa-f2edd6441cff" providerId="ADAL" clId="{36D14C0E-B70E-4281-9AD2-7129A7F7BB3E}" dt="2021-12-10T05:20:30.301" v="278"/>
          <ac:inkMkLst>
            <pc:docMk/>
            <pc:sldMk cId="2205738745" sldId="260"/>
            <ac:inkMk id="27" creationId="{90EEEFF3-C58C-4F5D-9080-975EBCA037F4}"/>
          </ac:inkMkLst>
        </pc:inkChg>
        <pc:inkChg chg="add mod">
          <ac:chgData name="Aniket Chhabra" userId="598e0514-bef3-4e71-b6aa-f2edd6441cff" providerId="ADAL" clId="{36D14C0E-B70E-4281-9AD2-7129A7F7BB3E}" dt="2021-12-10T05:20:30.301" v="278"/>
          <ac:inkMkLst>
            <pc:docMk/>
            <pc:sldMk cId="2205738745" sldId="260"/>
            <ac:inkMk id="28" creationId="{2822895B-08DC-4246-B2C0-AFCE265E5233}"/>
          </ac:inkMkLst>
        </pc:inkChg>
        <pc:inkChg chg="add mod">
          <ac:chgData name="Aniket Chhabra" userId="598e0514-bef3-4e71-b6aa-f2edd6441cff" providerId="ADAL" clId="{36D14C0E-B70E-4281-9AD2-7129A7F7BB3E}" dt="2021-12-10T05:20:30.301" v="278"/>
          <ac:inkMkLst>
            <pc:docMk/>
            <pc:sldMk cId="2205738745" sldId="260"/>
            <ac:inkMk id="29" creationId="{B523F90C-69D3-4EAA-9BB7-0F9FC9AECE9A}"/>
          </ac:inkMkLst>
        </pc:inkChg>
        <pc:inkChg chg="add mod">
          <ac:chgData name="Aniket Chhabra" userId="598e0514-bef3-4e71-b6aa-f2edd6441cff" providerId="ADAL" clId="{36D14C0E-B70E-4281-9AD2-7129A7F7BB3E}" dt="2021-12-10T05:20:30.301" v="278"/>
          <ac:inkMkLst>
            <pc:docMk/>
            <pc:sldMk cId="2205738745" sldId="260"/>
            <ac:inkMk id="30" creationId="{751C8169-1509-45A2-99F5-DE24AAA0DF5D}"/>
          </ac:inkMkLst>
        </pc:inkChg>
        <pc:inkChg chg="add mod">
          <ac:chgData name="Aniket Chhabra" userId="598e0514-bef3-4e71-b6aa-f2edd6441cff" providerId="ADAL" clId="{36D14C0E-B70E-4281-9AD2-7129A7F7BB3E}" dt="2021-12-10T05:20:30.301" v="278"/>
          <ac:inkMkLst>
            <pc:docMk/>
            <pc:sldMk cId="2205738745" sldId="260"/>
            <ac:inkMk id="31" creationId="{68103324-B02B-41A4-B382-351D102C5DBA}"/>
          </ac:inkMkLst>
        </pc:inkChg>
        <pc:inkChg chg="add mod">
          <ac:chgData name="Aniket Chhabra" userId="598e0514-bef3-4e71-b6aa-f2edd6441cff" providerId="ADAL" clId="{36D14C0E-B70E-4281-9AD2-7129A7F7BB3E}" dt="2021-12-10T05:20:30.301" v="278"/>
          <ac:inkMkLst>
            <pc:docMk/>
            <pc:sldMk cId="2205738745" sldId="260"/>
            <ac:inkMk id="32" creationId="{8C3C0AF0-C538-457E-B242-C33B1962A05D}"/>
          </ac:inkMkLst>
        </pc:inkChg>
        <pc:inkChg chg="add mod">
          <ac:chgData name="Aniket Chhabra" userId="598e0514-bef3-4e71-b6aa-f2edd6441cff" providerId="ADAL" clId="{36D14C0E-B70E-4281-9AD2-7129A7F7BB3E}" dt="2021-12-10T05:20:30.301" v="278"/>
          <ac:inkMkLst>
            <pc:docMk/>
            <pc:sldMk cId="2205738745" sldId="260"/>
            <ac:inkMk id="33" creationId="{6C6D43C9-CD40-4062-9038-AB48F885F2EF}"/>
          </ac:inkMkLst>
        </pc:inkChg>
        <pc:inkChg chg="add mod">
          <ac:chgData name="Aniket Chhabra" userId="598e0514-bef3-4e71-b6aa-f2edd6441cff" providerId="ADAL" clId="{36D14C0E-B70E-4281-9AD2-7129A7F7BB3E}" dt="2021-12-10T05:20:30.301" v="278"/>
          <ac:inkMkLst>
            <pc:docMk/>
            <pc:sldMk cId="2205738745" sldId="260"/>
            <ac:inkMk id="34" creationId="{E901DA0B-B5BB-4FCE-9807-E093CA08DE8F}"/>
          </ac:inkMkLst>
        </pc:inkChg>
        <pc:inkChg chg="add mod">
          <ac:chgData name="Aniket Chhabra" userId="598e0514-bef3-4e71-b6aa-f2edd6441cff" providerId="ADAL" clId="{36D14C0E-B70E-4281-9AD2-7129A7F7BB3E}" dt="2021-12-10T05:20:30.301" v="278"/>
          <ac:inkMkLst>
            <pc:docMk/>
            <pc:sldMk cId="2205738745" sldId="260"/>
            <ac:inkMk id="35" creationId="{B06EEFFD-8863-4DAB-A319-FAC3A087DFE4}"/>
          </ac:inkMkLst>
        </pc:inkChg>
        <pc:inkChg chg="add mod">
          <ac:chgData name="Aniket Chhabra" userId="598e0514-bef3-4e71-b6aa-f2edd6441cff" providerId="ADAL" clId="{36D14C0E-B70E-4281-9AD2-7129A7F7BB3E}" dt="2021-12-10T05:20:30.301" v="278"/>
          <ac:inkMkLst>
            <pc:docMk/>
            <pc:sldMk cId="2205738745" sldId="260"/>
            <ac:inkMk id="36" creationId="{B471D947-D15E-4493-94FA-E86B02877FE7}"/>
          </ac:inkMkLst>
        </pc:inkChg>
        <pc:inkChg chg="add mod">
          <ac:chgData name="Aniket Chhabra" userId="598e0514-bef3-4e71-b6aa-f2edd6441cff" providerId="ADAL" clId="{36D14C0E-B70E-4281-9AD2-7129A7F7BB3E}" dt="2021-12-10T05:20:30.301" v="278"/>
          <ac:inkMkLst>
            <pc:docMk/>
            <pc:sldMk cId="2205738745" sldId="260"/>
            <ac:inkMk id="37" creationId="{0C413519-1511-4EFF-BF98-F2A3A68BA25F}"/>
          </ac:inkMkLst>
        </pc:inkChg>
        <pc:inkChg chg="add del">
          <ac:chgData name="Aniket Chhabra" userId="598e0514-bef3-4e71-b6aa-f2edd6441cff" providerId="ADAL" clId="{36D14C0E-B70E-4281-9AD2-7129A7F7BB3E}" dt="2021-12-10T05:20:39.377" v="298"/>
          <ac:inkMkLst>
            <pc:docMk/>
            <pc:sldMk cId="2205738745" sldId="260"/>
            <ac:inkMk id="40" creationId="{53CBC925-4448-4333-A9BE-E8AF186AFE7C}"/>
          </ac:inkMkLst>
        </pc:inkChg>
        <pc:inkChg chg="add del">
          <ac:chgData name="Aniket Chhabra" userId="598e0514-bef3-4e71-b6aa-f2edd6441cff" providerId="ADAL" clId="{36D14C0E-B70E-4281-9AD2-7129A7F7BB3E}" dt="2021-12-10T05:20:39.380" v="302"/>
          <ac:inkMkLst>
            <pc:docMk/>
            <pc:sldMk cId="2205738745" sldId="260"/>
            <ac:inkMk id="41" creationId="{FA1A8369-F871-4321-9653-0C6362829274}"/>
          </ac:inkMkLst>
        </pc:inkChg>
        <pc:inkChg chg="add del">
          <ac:chgData name="Aniket Chhabra" userId="598e0514-bef3-4e71-b6aa-f2edd6441cff" providerId="ADAL" clId="{36D14C0E-B70E-4281-9AD2-7129A7F7BB3E}" dt="2021-12-10T05:20:39.379" v="301"/>
          <ac:inkMkLst>
            <pc:docMk/>
            <pc:sldMk cId="2205738745" sldId="260"/>
            <ac:inkMk id="42" creationId="{BE254F0E-D476-45C4-A86F-075E69221D87}"/>
          </ac:inkMkLst>
        </pc:inkChg>
        <pc:inkChg chg="add del">
          <ac:chgData name="Aniket Chhabra" userId="598e0514-bef3-4e71-b6aa-f2edd6441cff" providerId="ADAL" clId="{36D14C0E-B70E-4281-9AD2-7129A7F7BB3E}" dt="2021-12-10T05:20:39.379" v="300"/>
          <ac:inkMkLst>
            <pc:docMk/>
            <pc:sldMk cId="2205738745" sldId="260"/>
            <ac:inkMk id="43" creationId="{0F5C0FF2-CE87-450A-97C5-D7D92A840115}"/>
          </ac:inkMkLst>
        </pc:inkChg>
        <pc:inkChg chg="add del">
          <ac:chgData name="Aniket Chhabra" userId="598e0514-bef3-4e71-b6aa-f2edd6441cff" providerId="ADAL" clId="{36D14C0E-B70E-4281-9AD2-7129A7F7BB3E}" dt="2021-12-10T05:20:39.376" v="297"/>
          <ac:inkMkLst>
            <pc:docMk/>
            <pc:sldMk cId="2205738745" sldId="260"/>
            <ac:inkMk id="44" creationId="{06DD08BA-0C53-447D-89BF-53C79633EE95}"/>
          </ac:inkMkLst>
        </pc:inkChg>
        <pc:inkChg chg="add del mod">
          <ac:chgData name="Aniket Chhabra" userId="598e0514-bef3-4e71-b6aa-f2edd6441cff" providerId="ADAL" clId="{36D14C0E-B70E-4281-9AD2-7129A7F7BB3E}" dt="2021-12-10T05:21:12.149" v="310"/>
          <ac:inkMkLst>
            <pc:docMk/>
            <pc:sldMk cId="2205738745" sldId="260"/>
            <ac:inkMk id="45" creationId="{E4E7A9BA-C3C5-44C3-BB2C-71E9A33127CE}"/>
          </ac:inkMkLst>
        </pc:inkChg>
        <pc:inkChg chg="add del">
          <ac:chgData name="Aniket Chhabra" userId="598e0514-bef3-4e71-b6aa-f2edd6441cff" providerId="ADAL" clId="{36D14C0E-B70E-4281-9AD2-7129A7F7BB3E}" dt="2021-12-10T05:20:37.973" v="294"/>
          <ac:inkMkLst>
            <pc:docMk/>
            <pc:sldMk cId="2205738745" sldId="260"/>
            <ac:inkMk id="46" creationId="{4C05AF89-74E8-43EA-AC4E-886269F98E88}"/>
          </ac:inkMkLst>
        </pc:inkChg>
        <pc:inkChg chg="add del">
          <ac:chgData name="Aniket Chhabra" userId="598e0514-bef3-4e71-b6aa-f2edd6441cff" providerId="ADAL" clId="{36D14C0E-B70E-4281-9AD2-7129A7F7BB3E}" dt="2021-12-10T05:20:37.975" v="296"/>
          <ac:inkMkLst>
            <pc:docMk/>
            <pc:sldMk cId="2205738745" sldId="260"/>
            <ac:inkMk id="47" creationId="{57323F5A-5E05-4692-A571-F96A3B36C400}"/>
          </ac:inkMkLst>
        </pc:inkChg>
        <pc:inkChg chg="add del">
          <ac:chgData name="Aniket Chhabra" userId="598e0514-bef3-4e71-b6aa-f2edd6441cff" providerId="ADAL" clId="{36D14C0E-B70E-4281-9AD2-7129A7F7BB3E}" dt="2021-12-10T05:20:37.973" v="293"/>
          <ac:inkMkLst>
            <pc:docMk/>
            <pc:sldMk cId="2205738745" sldId="260"/>
            <ac:inkMk id="48" creationId="{FE94C66F-C8B0-4D2E-BEDF-5EDF390B57D4}"/>
          </ac:inkMkLst>
        </pc:inkChg>
        <pc:inkChg chg="add del">
          <ac:chgData name="Aniket Chhabra" userId="598e0514-bef3-4e71-b6aa-f2edd6441cff" providerId="ADAL" clId="{36D14C0E-B70E-4281-9AD2-7129A7F7BB3E}" dt="2021-12-10T05:20:37.972" v="292"/>
          <ac:inkMkLst>
            <pc:docMk/>
            <pc:sldMk cId="2205738745" sldId="260"/>
            <ac:inkMk id="49" creationId="{D8040DD2-4863-42AF-A394-9B1320BFB5C6}"/>
          </ac:inkMkLst>
        </pc:inkChg>
        <pc:inkChg chg="add del">
          <ac:chgData name="Aniket Chhabra" userId="598e0514-bef3-4e71-b6aa-f2edd6441cff" providerId="ADAL" clId="{36D14C0E-B70E-4281-9AD2-7129A7F7BB3E}" dt="2021-12-10T05:20:37.974" v="295"/>
          <ac:inkMkLst>
            <pc:docMk/>
            <pc:sldMk cId="2205738745" sldId="260"/>
            <ac:inkMk id="50" creationId="{CF3C8BAE-7705-4162-B226-7141EB92BE8E}"/>
          </ac:inkMkLst>
        </pc:inkChg>
        <pc:inkChg chg="add del">
          <ac:chgData name="Aniket Chhabra" userId="598e0514-bef3-4e71-b6aa-f2edd6441cff" providerId="ADAL" clId="{36D14C0E-B70E-4281-9AD2-7129A7F7BB3E}" dt="2021-12-10T05:20:37.970" v="291"/>
          <ac:inkMkLst>
            <pc:docMk/>
            <pc:sldMk cId="2205738745" sldId="260"/>
            <ac:inkMk id="51" creationId="{09A59643-89C4-45FF-8E9B-9C0AC93812EA}"/>
          </ac:inkMkLst>
        </pc:inkChg>
        <pc:inkChg chg="add del">
          <ac:chgData name="Aniket Chhabra" userId="598e0514-bef3-4e71-b6aa-f2edd6441cff" providerId="ADAL" clId="{36D14C0E-B70E-4281-9AD2-7129A7F7BB3E}" dt="2021-12-10T05:20:59.610" v="304"/>
          <ac:inkMkLst>
            <pc:docMk/>
            <pc:sldMk cId="2205738745" sldId="260"/>
            <ac:inkMk id="52" creationId="{D3B7B49E-8A75-4494-AA73-9DEBF44ECD4C}"/>
          </ac:inkMkLst>
        </pc:inkChg>
        <pc:inkChg chg="add del">
          <ac:chgData name="Aniket Chhabra" userId="598e0514-bef3-4e71-b6aa-f2edd6441cff" providerId="ADAL" clId="{36D14C0E-B70E-4281-9AD2-7129A7F7BB3E}" dt="2021-12-10T05:21:06.866" v="306"/>
          <ac:inkMkLst>
            <pc:docMk/>
            <pc:sldMk cId="2205738745" sldId="260"/>
            <ac:inkMk id="53" creationId="{CC58548B-2788-4C22-9D38-DFBEBA4C9883}"/>
          </ac:inkMkLst>
        </pc:inkChg>
        <pc:inkChg chg="add del">
          <ac:chgData name="Aniket Chhabra" userId="598e0514-bef3-4e71-b6aa-f2edd6441cff" providerId="ADAL" clId="{36D14C0E-B70E-4281-9AD2-7129A7F7BB3E}" dt="2021-12-10T05:21:08.448" v="308"/>
          <ac:inkMkLst>
            <pc:docMk/>
            <pc:sldMk cId="2205738745" sldId="260"/>
            <ac:inkMk id="54" creationId="{AB326B2D-8A51-4F43-84C8-15EC588828B3}"/>
          </ac:inkMkLst>
        </pc:inkChg>
        <pc:inkChg chg="add del">
          <ac:chgData name="Aniket Chhabra" userId="598e0514-bef3-4e71-b6aa-f2edd6441cff" providerId="ADAL" clId="{36D14C0E-B70E-4281-9AD2-7129A7F7BB3E}" dt="2021-12-10T05:21:45.802" v="358"/>
          <ac:inkMkLst>
            <pc:docMk/>
            <pc:sldMk cId="2205738745" sldId="260"/>
            <ac:inkMk id="55" creationId="{9B3A083A-D3A1-4F66-A7D2-35348D6BEFFD}"/>
          </ac:inkMkLst>
        </pc:inkChg>
        <pc:inkChg chg="add del">
          <ac:chgData name="Aniket Chhabra" userId="598e0514-bef3-4e71-b6aa-f2edd6441cff" providerId="ADAL" clId="{36D14C0E-B70E-4281-9AD2-7129A7F7BB3E}" dt="2021-12-10T05:21:17.332" v="312"/>
          <ac:inkMkLst>
            <pc:docMk/>
            <pc:sldMk cId="2205738745" sldId="260"/>
            <ac:inkMk id="56" creationId="{5C7DC340-79A8-4BD6-8C61-54A4D8F6820D}"/>
          </ac:inkMkLst>
        </pc:inkChg>
        <pc:inkChg chg="add del mod">
          <ac:chgData name="Aniket Chhabra" userId="598e0514-bef3-4e71-b6aa-f2edd6441cff" providerId="ADAL" clId="{36D14C0E-B70E-4281-9AD2-7129A7F7BB3E}" dt="2021-12-10T05:21:20.263" v="321"/>
          <ac:inkMkLst>
            <pc:docMk/>
            <pc:sldMk cId="2205738745" sldId="260"/>
            <ac:inkMk id="57" creationId="{09D28B1E-DE2F-4423-88A0-997252491B64}"/>
          </ac:inkMkLst>
        </pc:inkChg>
        <pc:inkChg chg="add del mod">
          <ac:chgData name="Aniket Chhabra" userId="598e0514-bef3-4e71-b6aa-f2edd6441cff" providerId="ADAL" clId="{36D14C0E-B70E-4281-9AD2-7129A7F7BB3E}" dt="2021-12-10T05:21:20.261" v="319"/>
          <ac:inkMkLst>
            <pc:docMk/>
            <pc:sldMk cId="2205738745" sldId="260"/>
            <ac:inkMk id="58" creationId="{D244B7D6-A2B1-4E51-9C55-CF0D682A45B8}"/>
          </ac:inkMkLst>
        </pc:inkChg>
        <pc:inkChg chg="add del mod">
          <ac:chgData name="Aniket Chhabra" userId="598e0514-bef3-4e71-b6aa-f2edd6441cff" providerId="ADAL" clId="{36D14C0E-B70E-4281-9AD2-7129A7F7BB3E}" dt="2021-12-10T05:21:20.839" v="322"/>
          <ac:inkMkLst>
            <pc:docMk/>
            <pc:sldMk cId="2205738745" sldId="260"/>
            <ac:inkMk id="60" creationId="{76A5F393-5900-4BA9-B1CC-CD319E765515}"/>
          </ac:inkMkLst>
        </pc:inkChg>
        <pc:inkChg chg="add del">
          <ac:chgData name="Aniket Chhabra" userId="598e0514-bef3-4e71-b6aa-f2edd6441cff" providerId="ADAL" clId="{36D14C0E-B70E-4281-9AD2-7129A7F7BB3E}" dt="2021-12-10T05:21:19.793" v="318"/>
          <ac:inkMkLst>
            <pc:docMk/>
            <pc:sldMk cId="2205738745" sldId="260"/>
            <ac:inkMk id="61" creationId="{A4C1DF1D-1A73-47DB-9BA9-6DF5F52AF690}"/>
          </ac:inkMkLst>
        </pc:inkChg>
        <pc:inkChg chg="add del mod">
          <ac:chgData name="Aniket Chhabra" userId="598e0514-bef3-4e71-b6aa-f2edd6441cff" providerId="ADAL" clId="{36D14C0E-B70E-4281-9AD2-7129A7F7BB3E}" dt="2021-12-10T05:21:30.097" v="329"/>
          <ac:inkMkLst>
            <pc:docMk/>
            <pc:sldMk cId="2205738745" sldId="260"/>
            <ac:inkMk id="62" creationId="{6A49C338-13ED-442E-8417-554D027CC2A2}"/>
          </ac:inkMkLst>
        </pc:inkChg>
        <pc:inkChg chg="add del mod">
          <ac:chgData name="Aniket Chhabra" userId="598e0514-bef3-4e71-b6aa-f2edd6441cff" providerId="ADAL" clId="{36D14C0E-B70E-4281-9AD2-7129A7F7BB3E}" dt="2021-12-10T05:21:30.099" v="332"/>
          <ac:inkMkLst>
            <pc:docMk/>
            <pc:sldMk cId="2205738745" sldId="260"/>
            <ac:inkMk id="63" creationId="{5C32AB95-2B53-4890-B89A-4C5682C47849}"/>
          </ac:inkMkLst>
        </pc:inkChg>
        <pc:inkChg chg="add del mod">
          <ac:chgData name="Aniket Chhabra" userId="598e0514-bef3-4e71-b6aa-f2edd6441cff" providerId="ADAL" clId="{36D14C0E-B70E-4281-9AD2-7129A7F7BB3E}" dt="2021-12-10T05:21:30.098" v="330"/>
          <ac:inkMkLst>
            <pc:docMk/>
            <pc:sldMk cId="2205738745" sldId="260"/>
            <ac:inkMk id="65" creationId="{1834B1C9-C7B3-4B58-B6DB-D736BF3DAD51}"/>
          </ac:inkMkLst>
        </pc:inkChg>
        <pc:inkChg chg="add del mod">
          <ac:chgData name="Aniket Chhabra" userId="598e0514-bef3-4e71-b6aa-f2edd6441cff" providerId="ADAL" clId="{36D14C0E-B70E-4281-9AD2-7129A7F7BB3E}" dt="2021-12-10T05:21:30.098" v="331"/>
          <ac:inkMkLst>
            <pc:docMk/>
            <pc:sldMk cId="2205738745" sldId="260"/>
            <ac:inkMk id="66" creationId="{82ED4B83-E4FC-4D10-94A6-A6EF6291CEA8}"/>
          </ac:inkMkLst>
        </pc:inkChg>
        <pc:inkChg chg="add del mod">
          <ac:chgData name="Aniket Chhabra" userId="598e0514-bef3-4e71-b6aa-f2edd6441cff" providerId="ADAL" clId="{36D14C0E-B70E-4281-9AD2-7129A7F7BB3E}" dt="2021-12-10T05:21:41.231" v="350"/>
          <ac:inkMkLst>
            <pc:docMk/>
            <pc:sldMk cId="2205738745" sldId="260"/>
            <ac:inkMk id="68" creationId="{DB8B3534-BB0B-4865-B68E-C197B61967B0}"/>
          </ac:inkMkLst>
        </pc:inkChg>
        <pc:inkChg chg="add del mod">
          <ac:chgData name="Aniket Chhabra" userId="598e0514-bef3-4e71-b6aa-f2edd6441cff" providerId="ADAL" clId="{36D14C0E-B70E-4281-9AD2-7129A7F7BB3E}" dt="2021-12-10T05:21:37.870" v="342"/>
          <ac:inkMkLst>
            <pc:docMk/>
            <pc:sldMk cId="2205738745" sldId="260"/>
            <ac:inkMk id="69" creationId="{1D54B755-FE98-4895-9BCE-9223545E5732}"/>
          </ac:inkMkLst>
        </pc:inkChg>
        <pc:inkChg chg="add del mod">
          <ac:chgData name="Aniket Chhabra" userId="598e0514-bef3-4e71-b6aa-f2edd6441cff" providerId="ADAL" clId="{36D14C0E-B70E-4281-9AD2-7129A7F7BB3E}" dt="2021-12-10T05:21:37.871" v="344"/>
          <ac:inkMkLst>
            <pc:docMk/>
            <pc:sldMk cId="2205738745" sldId="260"/>
            <ac:inkMk id="71" creationId="{9A241B24-7760-48CA-B6A1-D1A9462D3AAC}"/>
          </ac:inkMkLst>
        </pc:inkChg>
        <pc:inkChg chg="add del mod">
          <ac:chgData name="Aniket Chhabra" userId="598e0514-bef3-4e71-b6aa-f2edd6441cff" providerId="ADAL" clId="{36D14C0E-B70E-4281-9AD2-7129A7F7BB3E}" dt="2021-12-10T05:21:37.874" v="347"/>
          <ac:inkMkLst>
            <pc:docMk/>
            <pc:sldMk cId="2205738745" sldId="260"/>
            <ac:inkMk id="72" creationId="{9F36E9BA-00A9-40DB-85A8-E7EEA23CB725}"/>
          </ac:inkMkLst>
        </pc:inkChg>
        <pc:inkChg chg="add del mod">
          <ac:chgData name="Aniket Chhabra" userId="598e0514-bef3-4e71-b6aa-f2edd6441cff" providerId="ADAL" clId="{36D14C0E-B70E-4281-9AD2-7129A7F7BB3E}" dt="2021-12-10T05:21:37.873" v="346"/>
          <ac:inkMkLst>
            <pc:docMk/>
            <pc:sldMk cId="2205738745" sldId="260"/>
            <ac:inkMk id="73" creationId="{CDD2B785-CF30-4D64-9D9C-787F7429730D}"/>
          </ac:inkMkLst>
        </pc:inkChg>
        <pc:inkChg chg="add del mod">
          <ac:chgData name="Aniket Chhabra" userId="598e0514-bef3-4e71-b6aa-f2edd6441cff" providerId="ADAL" clId="{36D14C0E-B70E-4281-9AD2-7129A7F7BB3E}" dt="2021-12-10T05:21:37.872" v="345"/>
          <ac:inkMkLst>
            <pc:docMk/>
            <pc:sldMk cId="2205738745" sldId="260"/>
            <ac:inkMk id="74" creationId="{4E0B7FDC-4F31-4851-ABE5-71BD7E33823F}"/>
          </ac:inkMkLst>
        </pc:inkChg>
        <pc:inkChg chg="add del mod">
          <ac:chgData name="Aniket Chhabra" userId="598e0514-bef3-4e71-b6aa-f2edd6441cff" providerId="ADAL" clId="{36D14C0E-B70E-4281-9AD2-7129A7F7BB3E}" dt="2021-12-10T05:21:37.871" v="343"/>
          <ac:inkMkLst>
            <pc:docMk/>
            <pc:sldMk cId="2205738745" sldId="260"/>
            <ac:inkMk id="75" creationId="{3A7E637C-AE8A-4CF2-A618-3E72E7A892EF}"/>
          </ac:inkMkLst>
        </pc:inkChg>
        <pc:inkChg chg="add del mod">
          <ac:chgData name="Aniket Chhabra" userId="598e0514-bef3-4e71-b6aa-f2edd6441cff" providerId="ADAL" clId="{36D14C0E-B70E-4281-9AD2-7129A7F7BB3E}" dt="2021-12-10T05:21:43.726" v="355"/>
          <ac:inkMkLst>
            <pc:docMk/>
            <pc:sldMk cId="2205738745" sldId="260"/>
            <ac:inkMk id="77" creationId="{D21E736D-4845-4025-AAF6-901E3B47A3AC}"/>
          </ac:inkMkLst>
        </pc:inkChg>
        <pc:inkChg chg="add del mod">
          <ac:chgData name="Aniket Chhabra" userId="598e0514-bef3-4e71-b6aa-f2edd6441cff" providerId="ADAL" clId="{36D14C0E-B70E-4281-9AD2-7129A7F7BB3E}" dt="2021-12-10T05:21:43.725" v="354"/>
          <ac:inkMkLst>
            <pc:docMk/>
            <pc:sldMk cId="2205738745" sldId="260"/>
            <ac:inkMk id="78" creationId="{1B9903C9-83B3-4A65-B886-B92779A3822B}"/>
          </ac:inkMkLst>
        </pc:inkChg>
        <pc:inkChg chg="add del mod">
          <ac:chgData name="Aniket Chhabra" userId="598e0514-bef3-4e71-b6aa-f2edd6441cff" providerId="ADAL" clId="{36D14C0E-B70E-4281-9AD2-7129A7F7BB3E}" dt="2021-12-10T05:21:45.056" v="357"/>
          <ac:inkMkLst>
            <pc:docMk/>
            <pc:sldMk cId="2205738745" sldId="260"/>
            <ac:inkMk id="80" creationId="{9921DA75-770C-453C-A5FA-CB311B8EB5C9}"/>
          </ac:inkMkLst>
        </pc:inkChg>
        <pc:inkChg chg="add del mod">
          <ac:chgData name="Aniket Chhabra" userId="598e0514-bef3-4e71-b6aa-f2edd6441cff" providerId="ADAL" clId="{36D14C0E-B70E-4281-9AD2-7129A7F7BB3E}" dt="2021-12-10T05:21:45.802" v="359"/>
          <ac:inkMkLst>
            <pc:docMk/>
            <pc:sldMk cId="2205738745" sldId="260"/>
            <ac:inkMk id="81" creationId="{4A7F1BD5-5339-4101-98C5-0FB12F3ABD2D}"/>
          </ac:inkMkLst>
        </pc:inkChg>
        <pc:inkChg chg="add del">
          <ac:chgData name="Aniket Chhabra" userId="598e0514-bef3-4e71-b6aa-f2edd6441cff" providerId="ADAL" clId="{36D14C0E-B70E-4281-9AD2-7129A7F7BB3E}" dt="2021-12-10T05:21:48.942" v="362"/>
          <ac:inkMkLst>
            <pc:docMk/>
            <pc:sldMk cId="2205738745" sldId="260"/>
            <ac:inkMk id="83" creationId="{7DC1A69A-B69B-40BC-B3C1-E53078747CCD}"/>
          </ac:inkMkLst>
        </pc:inkChg>
        <pc:inkChg chg="add">
          <ac:chgData name="Aniket Chhabra" userId="598e0514-bef3-4e71-b6aa-f2edd6441cff" providerId="ADAL" clId="{36D14C0E-B70E-4281-9AD2-7129A7F7BB3E}" dt="2021-12-10T05:21:47.984" v="361" actId="9405"/>
          <ac:inkMkLst>
            <pc:docMk/>
            <pc:sldMk cId="2205738745" sldId="260"/>
            <ac:inkMk id="84" creationId="{D4850DAD-A25C-4E2B-8B3D-BAF71C0C89D0}"/>
          </ac:inkMkLst>
        </pc:inkChg>
        <pc:inkChg chg="add mod">
          <ac:chgData name="Aniket Chhabra" userId="598e0514-bef3-4e71-b6aa-f2edd6441cff" providerId="ADAL" clId="{36D14C0E-B70E-4281-9AD2-7129A7F7BB3E}" dt="2021-12-10T05:22:00.895" v="380"/>
          <ac:inkMkLst>
            <pc:docMk/>
            <pc:sldMk cId="2205738745" sldId="260"/>
            <ac:inkMk id="85" creationId="{B4F11A24-A1C2-400B-A965-8A8226256634}"/>
          </ac:inkMkLst>
        </pc:inkChg>
        <pc:inkChg chg="add mod">
          <ac:chgData name="Aniket Chhabra" userId="598e0514-bef3-4e71-b6aa-f2edd6441cff" providerId="ADAL" clId="{36D14C0E-B70E-4281-9AD2-7129A7F7BB3E}" dt="2021-12-10T05:22:00.895" v="380"/>
          <ac:inkMkLst>
            <pc:docMk/>
            <pc:sldMk cId="2205738745" sldId="260"/>
            <ac:inkMk id="86" creationId="{E74FD4D0-41AD-4F10-9D16-9B8AA35E04C2}"/>
          </ac:inkMkLst>
        </pc:inkChg>
        <pc:inkChg chg="add mod">
          <ac:chgData name="Aniket Chhabra" userId="598e0514-bef3-4e71-b6aa-f2edd6441cff" providerId="ADAL" clId="{36D14C0E-B70E-4281-9AD2-7129A7F7BB3E}" dt="2021-12-10T05:22:00.895" v="380"/>
          <ac:inkMkLst>
            <pc:docMk/>
            <pc:sldMk cId="2205738745" sldId="260"/>
            <ac:inkMk id="87" creationId="{206542F5-B19A-4FEE-AB40-539A9EEDE39F}"/>
          </ac:inkMkLst>
        </pc:inkChg>
        <pc:inkChg chg="add del">
          <ac:chgData name="Aniket Chhabra" userId="598e0514-bef3-4e71-b6aa-f2edd6441cff" providerId="ADAL" clId="{36D14C0E-B70E-4281-9AD2-7129A7F7BB3E}" dt="2021-12-10T05:21:57.824" v="375"/>
          <ac:inkMkLst>
            <pc:docMk/>
            <pc:sldMk cId="2205738745" sldId="260"/>
            <ac:inkMk id="89" creationId="{968C22B1-28C2-4A6B-907E-0D865017D4CC}"/>
          </ac:inkMkLst>
        </pc:inkChg>
        <pc:inkChg chg="add mod">
          <ac:chgData name="Aniket Chhabra" userId="598e0514-bef3-4e71-b6aa-f2edd6441cff" providerId="ADAL" clId="{36D14C0E-B70E-4281-9AD2-7129A7F7BB3E}" dt="2021-12-10T05:22:00.895" v="380"/>
          <ac:inkMkLst>
            <pc:docMk/>
            <pc:sldMk cId="2205738745" sldId="260"/>
            <ac:inkMk id="90" creationId="{92ED5A61-8CF5-4C91-927C-F99CAF998EC3}"/>
          </ac:inkMkLst>
        </pc:inkChg>
        <pc:inkChg chg="add mod">
          <ac:chgData name="Aniket Chhabra" userId="598e0514-bef3-4e71-b6aa-f2edd6441cff" providerId="ADAL" clId="{36D14C0E-B70E-4281-9AD2-7129A7F7BB3E}" dt="2021-12-10T05:22:00.895" v="380"/>
          <ac:inkMkLst>
            <pc:docMk/>
            <pc:sldMk cId="2205738745" sldId="260"/>
            <ac:inkMk id="91" creationId="{7BC77778-9E94-4D8F-8B23-095E60B2E5BA}"/>
          </ac:inkMkLst>
        </pc:inkChg>
        <pc:inkChg chg="add mod">
          <ac:chgData name="Aniket Chhabra" userId="598e0514-bef3-4e71-b6aa-f2edd6441cff" providerId="ADAL" clId="{36D14C0E-B70E-4281-9AD2-7129A7F7BB3E}" dt="2021-12-10T05:22:00.895" v="380"/>
          <ac:inkMkLst>
            <pc:docMk/>
            <pc:sldMk cId="2205738745" sldId="260"/>
            <ac:inkMk id="92" creationId="{37D240D8-CB9F-4BA5-A6E5-A5914591F4A2}"/>
          </ac:inkMkLst>
        </pc:inkChg>
        <pc:inkChg chg="add mod">
          <ac:chgData name="Aniket Chhabra" userId="598e0514-bef3-4e71-b6aa-f2edd6441cff" providerId="ADAL" clId="{36D14C0E-B70E-4281-9AD2-7129A7F7BB3E}" dt="2021-12-10T05:22:00.895" v="380"/>
          <ac:inkMkLst>
            <pc:docMk/>
            <pc:sldMk cId="2205738745" sldId="260"/>
            <ac:inkMk id="93" creationId="{243CAAD7-A176-4910-8DD3-AA189AB37D66}"/>
          </ac:inkMkLst>
        </pc:inkChg>
        <pc:inkChg chg="add mod">
          <ac:chgData name="Aniket Chhabra" userId="598e0514-bef3-4e71-b6aa-f2edd6441cff" providerId="ADAL" clId="{36D14C0E-B70E-4281-9AD2-7129A7F7BB3E}" dt="2021-12-10T05:22:00.895" v="380"/>
          <ac:inkMkLst>
            <pc:docMk/>
            <pc:sldMk cId="2205738745" sldId="260"/>
            <ac:inkMk id="94" creationId="{7D851C6C-5C8D-4693-A8CF-E4063AB4AD5D}"/>
          </ac:inkMkLst>
        </pc:inkChg>
        <pc:inkChg chg="add del">
          <ac:chgData name="Aniket Chhabra" userId="598e0514-bef3-4e71-b6aa-f2edd6441cff" providerId="ADAL" clId="{36D14C0E-B70E-4281-9AD2-7129A7F7BB3E}" dt="2021-12-10T05:21:57.823" v="374"/>
          <ac:inkMkLst>
            <pc:docMk/>
            <pc:sldMk cId="2205738745" sldId="260"/>
            <ac:inkMk id="95" creationId="{CF963F30-F417-43F2-B95B-A0A0A3F751A6}"/>
          </ac:inkMkLst>
        </pc:inkChg>
        <pc:inkChg chg="add mod">
          <ac:chgData name="Aniket Chhabra" userId="598e0514-bef3-4e71-b6aa-f2edd6441cff" providerId="ADAL" clId="{36D14C0E-B70E-4281-9AD2-7129A7F7BB3E}" dt="2021-12-10T05:22:00.895" v="380"/>
          <ac:inkMkLst>
            <pc:docMk/>
            <pc:sldMk cId="2205738745" sldId="260"/>
            <ac:inkMk id="97" creationId="{6A989E94-449E-4D37-A15F-97C26C24D1DF}"/>
          </ac:inkMkLst>
        </pc:inkChg>
        <pc:inkChg chg="add mod">
          <ac:chgData name="Aniket Chhabra" userId="598e0514-bef3-4e71-b6aa-f2edd6441cff" providerId="ADAL" clId="{36D14C0E-B70E-4281-9AD2-7129A7F7BB3E}" dt="2021-12-10T05:22:00.895" v="380"/>
          <ac:inkMkLst>
            <pc:docMk/>
            <pc:sldMk cId="2205738745" sldId="260"/>
            <ac:inkMk id="98" creationId="{31039214-344F-4E95-ADF9-77FF1C5989A4}"/>
          </ac:inkMkLst>
        </pc:inkChg>
        <pc:inkChg chg="add mod">
          <ac:chgData name="Aniket Chhabra" userId="598e0514-bef3-4e71-b6aa-f2edd6441cff" providerId="ADAL" clId="{36D14C0E-B70E-4281-9AD2-7129A7F7BB3E}" dt="2021-12-10T05:22:00.895" v="380"/>
          <ac:inkMkLst>
            <pc:docMk/>
            <pc:sldMk cId="2205738745" sldId="260"/>
            <ac:inkMk id="99" creationId="{E92B9CB6-7438-4E09-ADD0-FB28DDE196AD}"/>
          </ac:inkMkLst>
        </pc:inkChg>
        <pc:inkChg chg="add mod">
          <ac:chgData name="Aniket Chhabra" userId="598e0514-bef3-4e71-b6aa-f2edd6441cff" providerId="ADAL" clId="{36D14C0E-B70E-4281-9AD2-7129A7F7BB3E}" dt="2021-12-10T05:22:14.899" v="398"/>
          <ac:inkMkLst>
            <pc:docMk/>
            <pc:sldMk cId="2205738745" sldId="260"/>
            <ac:inkMk id="101" creationId="{7A37913E-5FAD-429E-AAAF-5AAE36D46506}"/>
          </ac:inkMkLst>
        </pc:inkChg>
        <pc:inkChg chg="add mod">
          <ac:chgData name="Aniket Chhabra" userId="598e0514-bef3-4e71-b6aa-f2edd6441cff" providerId="ADAL" clId="{36D14C0E-B70E-4281-9AD2-7129A7F7BB3E}" dt="2021-12-10T05:22:14.899" v="398"/>
          <ac:inkMkLst>
            <pc:docMk/>
            <pc:sldMk cId="2205738745" sldId="260"/>
            <ac:inkMk id="102" creationId="{55E52DDD-397C-4F62-818A-672159122069}"/>
          </ac:inkMkLst>
        </pc:inkChg>
        <pc:inkChg chg="add mod">
          <ac:chgData name="Aniket Chhabra" userId="598e0514-bef3-4e71-b6aa-f2edd6441cff" providerId="ADAL" clId="{36D14C0E-B70E-4281-9AD2-7129A7F7BB3E}" dt="2021-12-10T05:22:14.899" v="398"/>
          <ac:inkMkLst>
            <pc:docMk/>
            <pc:sldMk cId="2205738745" sldId="260"/>
            <ac:inkMk id="103" creationId="{C20DBD3F-ADD6-4D5B-B520-7A2B205CFF32}"/>
          </ac:inkMkLst>
        </pc:inkChg>
        <pc:inkChg chg="add mod">
          <ac:chgData name="Aniket Chhabra" userId="598e0514-bef3-4e71-b6aa-f2edd6441cff" providerId="ADAL" clId="{36D14C0E-B70E-4281-9AD2-7129A7F7BB3E}" dt="2021-12-10T05:22:14.899" v="398"/>
          <ac:inkMkLst>
            <pc:docMk/>
            <pc:sldMk cId="2205738745" sldId="260"/>
            <ac:inkMk id="104" creationId="{AEEADA44-7642-4159-B42D-9329C7CDCC9B}"/>
          </ac:inkMkLst>
        </pc:inkChg>
        <pc:inkChg chg="add mod">
          <ac:chgData name="Aniket Chhabra" userId="598e0514-bef3-4e71-b6aa-f2edd6441cff" providerId="ADAL" clId="{36D14C0E-B70E-4281-9AD2-7129A7F7BB3E}" dt="2021-12-10T05:22:14.899" v="398"/>
          <ac:inkMkLst>
            <pc:docMk/>
            <pc:sldMk cId="2205738745" sldId="260"/>
            <ac:inkMk id="105" creationId="{5B32EBD0-7F15-437D-B8ED-E23134D593EB}"/>
          </ac:inkMkLst>
        </pc:inkChg>
        <pc:inkChg chg="add mod">
          <ac:chgData name="Aniket Chhabra" userId="598e0514-bef3-4e71-b6aa-f2edd6441cff" providerId="ADAL" clId="{36D14C0E-B70E-4281-9AD2-7129A7F7BB3E}" dt="2021-12-10T05:22:14.899" v="398"/>
          <ac:inkMkLst>
            <pc:docMk/>
            <pc:sldMk cId="2205738745" sldId="260"/>
            <ac:inkMk id="106" creationId="{C0840243-3C61-4064-AC0C-B08E7B287510}"/>
          </ac:inkMkLst>
        </pc:inkChg>
        <pc:inkChg chg="add mod">
          <ac:chgData name="Aniket Chhabra" userId="598e0514-bef3-4e71-b6aa-f2edd6441cff" providerId="ADAL" clId="{36D14C0E-B70E-4281-9AD2-7129A7F7BB3E}" dt="2021-12-10T05:22:14.899" v="398"/>
          <ac:inkMkLst>
            <pc:docMk/>
            <pc:sldMk cId="2205738745" sldId="260"/>
            <ac:inkMk id="107" creationId="{25A2594B-5FAB-4868-9D6B-71B666AA6F09}"/>
          </ac:inkMkLst>
        </pc:inkChg>
        <pc:inkChg chg="add mod">
          <ac:chgData name="Aniket Chhabra" userId="598e0514-bef3-4e71-b6aa-f2edd6441cff" providerId="ADAL" clId="{36D14C0E-B70E-4281-9AD2-7129A7F7BB3E}" dt="2021-12-10T05:22:14.899" v="398"/>
          <ac:inkMkLst>
            <pc:docMk/>
            <pc:sldMk cId="2205738745" sldId="260"/>
            <ac:inkMk id="108" creationId="{34B0CD09-6BFC-4FBC-8859-E1F261DE4B85}"/>
          </ac:inkMkLst>
        </pc:inkChg>
        <pc:inkChg chg="add mod">
          <ac:chgData name="Aniket Chhabra" userId="598e0514-bef3-4e71-b6aa-f2edd6441cff" providerId="ADAL" clId="{36D14C0E-B70E-4281-9AD2-7129A7F7BB3E}" dt="2021-12-10T05:22:14.899" v="398"/>
          <ac:inkMkLst>
            <pc:docMk/>
            <pc:sldMk cId="2205738745" sldId="260"/>
            <ac:inkMk id="109" creationId="{5750E3B9-651B-4D34-9B34-A4C5E116EEAE}"/>
          </ac:inkMkLst>
        </pc:inkChg>
        <pc:inkChg chg="add mod">
          <ac:chgData name="Aniket Chhabra" userId="598e0514-bef3-4e71-b6aa-f2edd6441cff" providerId="ADAL" clId="{36D14C0E-B70E-4281-9AD2-7129A7F7BB3E}" dt="2021-12-10T05:22:14.899" v="398"/>
          <ac:inkMkLst>
            <pc:docMk/>
            <pc:sldMk cId="2205738745" sldId="260"/>
            <ac:inkMk id="110" creationId="{7F32C4A4-B7D4-4F23-BF82-0EC268766B54}"/>
          </ac:inkMkLst>
        </pc:inkChg>
        <pc:inkChg chg="add mod">
          <ac:chgData name="Aniket Chhabra" userId="598e0514-bef3-4e71-b6aa-f2edd6441cff" providerId="ADAL" clId="{36D14C0E-B70E-4281-9AD2-7129A7F7BB3E}" dt="2021-12-10T05:22:14.899" v="398"/>
          <ac:inkMkLst>
            <pc:docMk/>
            <pc:sldMk cId="2205738745" sldId="260"/>
            <ac:inkMk id="111" creationId="{1484BFA1-AC93-4740-9308-2C2166573789}"/>
          </ac:inkMkLst>
        </pc:inkChg>
        <pc:inkChg chg="add mod">
          <ac:chgData name="Aniket Chhabra" userId="598e0514-bef3-4e71-b6aa-f2edd6441cff" providerId="ADAL" clId="{36D14C0E-B70E-4281-9AD2-7129A7F7BB3E}" dt="2021-12-10T05:22:14.899" v="398"/>
          <ac:inkMkLst>
            <pc:docMk/>
            <pc:sldMk cId="2205738745" sldId="260"/>
            <ac:inkMk id="112" creationId="{E8DD6A25-00E3-49CD-9383-1CCD508200CA}"/>
          </ac:inkMkLst>
        </pc:inkChg>
        <pc:inkChg chg="add mod">
          <ac:chgData name="Aniket Chhabra" userId="598e0514-bef3-4e71-b6aa-f2edd6441cff" providerId="ADAL" clId="{36D14C0E-B70E-4281-9AD2-7129A7F7BB3E}" dt="2021-12-10T05:22:14.899" v="398"/>
          <ac:inkMkLst>
            <pc:docMk/>
            <pc:sldMk cId="2205738745" sldId="260"/>
            <ac:inkMk id="113" creationId="{47C74B84-F2B2-45B3-9005-738A0F3B8A93}"/>
          </ac:inkMkLst>
        </pc:inkChg>
        <pc:inkChg chg="add mod">
          <ac:chgData name="Aniket Chhabra" userId="598e0514-bef3-4e71-b6aa-f2edd6441cff" providerId="ADAL" clId="{36D14C0E-B70E-4281-9AD2-7129A7F7BB3E}" dt="2021-12-10T05:22:14.899" v="398"/>
          <ac:inkMkLst>
            <pc:docMk/>
            <pc:sldMk cId="2205738745" sldId="260"/>
            <ac:inkMk id="114" creationId="{9112CDC7-6C2F-4F80-A200-7500C422FA38}"/>
          </ac:inkMkLst>
        </pc:inkChg>
        <pc:inkChg chg="add mod">
          <ac:chgData name="Aniket Chhabra" userId="598e0514-bef3-4e71-b6aa-f2edd6441cff" providerId="ADAL" clId="{36D14C0E-B70E-4281-9AD2-7129A7F7BB3E}" dt="2021-12-10T05:22:14.899" v="398"/>
          <ac:inkMkLst>
            <pc:docMk/>
            <pc:sldMk cId="2205738745" sldId="260"/>
            <ac:inkMk id="115" creationId="{9555D1E8-6150-4003-BB49-4C97EAC801CB}"/>
          </ac:inkMkLst>
        </pc:inkChg>
        <pc:inkChg chg="add mod">
          <ac:chgData name="Aniket Chhabra" userId="598e0514-bef3-4e71-b6aa-f2edd6441cff" providerId="ADAL" clId="{36D14C0E-B70E-4281-9AD2-7129A7F7BB3E}" dt="2021-12-10T05:22:14.899" v="398"/>
          <ac:inkMkLst>
            <pc:docMk/>
            <pc:sldMk cId="2205738745" sldId="260"/>
            <ac:inkMk id="116" creationId="{CF35E41C-23A6-45B8-97DD-F0042EC710EF}"/>
          </ac:inkMkLst>
        </pc:inkChg>
        <pc:inkChg chg="add mod">
          <ac:chgData name="Aniket Chhabra" userId="598e0514-bef3-4e71-b6aa-f2edd6441cff" providerId="ADAL" clId="{36D14C0E-B70E-4281-9AD2-7129A7F7BB3E}" dt="2021-12-10T05:22:14.899" v="398"/>
          <ac:inkMkLst>
            <pc:docMk/>
            <pc:sldMk cId="2205738745" sldId="260"/>
            <ac:inkMk id="117" creationId="{C2C24F7B-607F-4BA7-B1E1-D834EDF95AAD}"/>
          </ac:inkMkLst>
        </pc:inkChg>
        <pc:inkChg chg="add">
          <ac:chgData name="Aniket Chhabra" userId="598e0514-bef3-4e71-b6aa-f2edd6441cff" providerId="ADAL" clId="{36D14C0E-B70E-4281-9AD2-7129A7F7BB3E}" dt="2021-12-10T05:23:13.359" v="408" actId="9405"/>
          <ac:inkMkLst>
            <pc:docMk/>
            <pc:sldMk cId="2205738745" sldId="260"/>
            <ac:inkMk id="122" creationId="{E7119809-36A0-4F4A-A884-BC31CEDA8CAC}"/>
          </ac:inkMkLst>
        </pc:inkChg>
        <pc:inkChg chg="add mod">
          <ac:chgData name="Aniket Chhabra" userId="598e0514-bef3-4e71-b6aa-f2edd6441cff" providerId="ADAL" clId="{36D14C0E-B70E-4281-9AD2-7129A7F7BB3E}" dt="2021-12-10T05:23:26.466" v="435"/>
          <ac:inkMkLst>
            <pc:docMk/>
            <pc:sldMk cId="2205738745" sldId="260"/>
            <ac:inkMk id="123" creationId="{3F20DEC0-AF09-41C6-92BF-AEC0C8AC8526}"/>
          </ac:inkMkLst>
        </pc:inkChg>
        <pc:inkChg chg="add mod">
          <ac:chgData name="Aniket Chhabra" userId="598e0514-bef3-4e71-b6aa-f2edd6441cff" providerId="ADAL" clId="{36D14C0E-B70E-4281-9AD2-7129A7F7BB3E}" dt="2021-12-10T05:23:26.466" v="435"/>
          <ac:inkMkLst>
            <pc:docMk/>
            <pc:sldMk cId="2205738745" sldId="260"/>
            <ac:inkMk id="124" creationId="{9614A673-CE5F-4DAC-8DBF-0E577EFC57C9}"/>
          </ac:inkMkLst>
        </pc:inkChg>
        <pc:inkChg chg="add mod">
          <ac:chgData name="Aniket Chhabra" userId="598e0514-bef3-4e71-b6aa-f2edd6441cff" providerId="ADAL" clId="{36D14C0E-B70E-4281-9AD2-7129A7F7BB3E}" dt="2021-12-10T05:23:26.466" v="435"/>
          <ac:inkMkLst>
            <pc:docMk/>
            <pc:sldMk cId="2205738745" sldId="260"/>
            <ac:inkMk id="125" creationId="{92FF0BE6-E37F-472F-A739-209999C2EE56}"/>
          </ac:inkMkLst>
        </pc:inkChg>
        <pc:inkChg chg="add mod">
          <ac:chgData name="Aniket Chhabra" userId="598e0514-bef3-4e71-b6aa-f2edd6441cff" providerId="ADAL" clId="{36D14C0E-B70E-4281-9AD2-7129A7F7BB3E}" dt="2021-12-10T05:23:26.466" v="435"/>
          <ac:inkMkLst>
            <pc:docMk/>
            <pc:sldMk cId="2205738745" sldId="260"/>
            <ac:inkMk id="126" creationId="{A539126A-0591-4103-9EF4-DDADC29EC7A6}"/>
          </ac:inkMkLst>
        </pc:inkChg>
        <pc:inkChg chg="add mod">
          <ac:chgData name="Aniket Chhabra" userId="598e0514-bef3-4e71-b6aa-f2edd6441cff" providerId="ADAL" clId="{36D14C0E-B70E-4281-9AD2-7129A7F7BB3E}" dt="2021-12-10T05:23:26.466" v="435"/>
          <ac:inkMkLst>
            <pc:docMk/>
            <pc:sldMk cId="2205738745" sldId="260"/>
            <ac:inkMk id="127" creationId="{0B27BCE1-2B99-4543-9EFE-7E3ECBABC146}"/>
          </ac:inkMkLst>
        </pc:inkChg>
        <pc:inkChg chg="add mod">
          <ac:chgData name="Aniket Chhabra" userId="598e0514-bef3-4e71-b6aa-f2edd6441cff" providerId="ADAL" clId="{36D14C0E-B70E-4281-9AD2-7129A7F7BB3E}" dt="2021-12-10T05:23:26.466" v="435"/>
          <ac:inkMkLst>
            <pc:docMk/>
            <pc:sldMk cId="2205738745" sldId="260"/>
            <ac:inkMk id="128" creationId="{0A4983CA-E3B1-4F70-8FC6-30226E6BB2CB}"/>
          </ac:inkMkLst>
        </pc:inkChg>
        <pc:inkChg chg="add mod">
          <ac:chgData name="Aniket Chhabra" userId="598e0514-bef3-4e71-b6aa-f2edd6441cff" providerId="ADAL" clId="{36D14C0E-B70E-4281-9AD2-7129A7F7BB3E}" dt="2021-12-10T05:23:26.466" v="435"/>
          <ac:inkMkLst>
            <pc:docMk/>
            <pc:sldMk cId="2205738745" sldId="260"/>
            <ac:inkMk id="129" creationId="{1CDA7E0C-1944-4062-A9DB-F3DBD4995122}"/>
          </ac:inkMkLst>
        </pc:inkChg>
        <pc:inkChg chg="add mod">
          <ac:chgData name="Aniket Chhabra" userId="598e0514-bef3-4e71-b6aa-f2edd6441cff" providerId="ADAL" clId="{36D14C0E-B70E-4281-9AD2-7129A7F7BB3E}" dt="2021-12-10T05:23:26.466" v="435"/>
          <ac:inkMkLst>
            <pc:docMk/>
            <pc:sldMk cId="2205738745" sldId="260"/>
            <ac:inkMk id="130" creationId="{7A03D2AF-0ECF-4211-8C09-3E6B7768920B}"/>
          </ac:inkMkLst>
        </pc:inkChg>
        <pc:inkChg chg="add del mod">
          <ac:chgData name="Aniket Chhabra" userId="598e0514-bef3-4e71-b6aa-f2edd6441cff" providerId="ADAL" clId="{36D14C0E-B70E-4281-9AD2-7129A7F7BB3E}" dt="2021-12-10T05:23:19.186" v="419"/>
          <ac:inkMkLst>
            <pc:docMk/>
            <pc:sldMk cId="2205738745" sldId="260"/>
            <ac:inkMk id="131" creationId="{DDD23C95-3639-4CD3-8A55-474CA75E34A5}"/>
          </ac:inkMkLst>
        </pc:inkChg>
        <pc:inkChg chg="add mod">
          <ac:chgData name="Aniket Chhabra" userId="598e0514-bef3-4e71-b6aa-f2edd6441cff" providerId="ADAL" clId="{36D14C0E-B70E-4281-9AD2-7129A7F7BB3E}" dt="2021-12-10T05:23:26.466" v="435"/>
          <ac:inkMkLst>
            <pc:docMk/>
            <pc:sldMk cId="2205738745" sldId="260"/>
            <ac:inkMk id="133" creationId="{638DA3B6-231C-437B-B53F-5E9C24F9CC02}"/>
          </ac:inkMkLst>
        </pc:inkChg>
        <pc:inkChg chg="add mod">
          <ac:chgData name="Aniket Chhabra" userId="598e0514-bef3-4e71-b6aa-f2edd6441cff" providerId="ADAL" clId="{36D14C0E-B70E-4281-9AD2-7129A7F7BB3E}" dt="2021-12-10T05:23:26.466" v="435"/>
          <ac:inkMkLst>
            <pc:docMk/>
            <pc:sldMk cId="2205738745" sldId="260"/>
            <ac:inkMk id="134" creationId="{8DE75AC1-0AE7-4DCF-B371-7F50E1CB4493}"/>
          </ac:inkMkLst>
        </pc:inkChg>
        <pc:inkChg chg="add mod">
          <ac:chgData name="Aniket Chhabra" userId="598e0514-bef3-4e71-b6aa-f2edd6441cff" providerId="ADAL" clId="{36D14C0E-B70E-4281-9AD2-7129A7F7BB3E}" dt="2021-12-10T05:23:26.466" v="435"/>
          <ac:inkMkLst>
            <pc:docMk/>
            <pc:sldMk cId="2205738745" sldId="260"/>
            <ac:inkMk id="135" creationId="{AED22212-9B01-4DFB-865D-2269C57026FA}"/>
          </ac:inkMkLst>
        </pc:inkChg>
        <pc:inkChg chg="add mod">
          <ac:chgData name="Aniket Chhabra" userId="598e0514-bef3-4e71-b6aa-f2edd6441cff" providerId="ADAL" clId="{36D14C0E-B70E-4281-9AD2-7129A7F7BB3E}" dt="2021-12-10T05:23:26.466" v="435"/>
          <ac:inkMkLst>
            <pc:docMk/>
            <pc:sldMk cId="2205738745" sldId="260"/>
            <ac:inkMk id="136" creationId="{99F1FE9D-673F-4308-8FA5-C2E77172B75A}"/>
          </ac:inkMkLst>
        </pc:inkChg>
        <pc:inkChg chg="add mod">
          <ac:chgData name="Aniket Chhabra" userId="598e0514-bef3-4e71-b6aa-f2edd6441cff" providerId="ADAL" clId="{36D14C0E-B70E-4281-9AD2-7129A7F7BB3E}" dt="2021-12-10T05:23:26.466" v="435"/>
          <ac:inkMkLst>
            <pc:docMk/>
            <pc:sldMk cId="2205738745" sldId="260"/>
            <ac:inkMk id="138" creationId="{0C651BB7-1B09-4BBC-89C3-309CE0AD57B2}"/>
          </ac:inkMkLst>
        </pc:inkChg>
        <pc:inkChg chg="add mod">
          <ac:chgData name="Aniket Chhabra" userId="598e0514-bef3-4e71-b6aa-f2edd6441cff" providerId="ADAL" clId="{36D14C0E-B70E-4281-9AD2-7129A7F7BB3E}" dt="2021-12-10T05:23:26.466" v="435"/>
          <ac:inkMkLst>
            <pc:docMk/>
            <pc:sldMk cId="2205738745" sldId="260"/>
            <ac:inkMk id="139" creationId="{A021CAA9-945D-479E-B743-E716E7D51181}"/>
          </ac:inkMkLst>
        </pc:inkChg>
        <pc:inkChg chg="add mod">
          <ac:chgData name="Aniket Chhabra" userId="598e0514-bef3-4e71-b6aa-f2edd6441cff" providerId="ADAL" clId="{36D14C0E-B70E-4281-9AD2-7129A7F7BB3E}" dt="2021-12-10T05:23:26.466" v="435"/>
          <ac:inkMkLst>
            <pc:docMk/>
            <pc:sldMk cId="2205738745" sldId="260"/>
            <ac:inkMk id="140" creationId="{3EF35FAC-DB8C-4803-A1E5-FB1AC116BC86}"/>
          </ac:inkMkLst>
        </pc:inkChg>
        <pc:inkChg chg="add mod">
          <ac:chgData name="Aniket Chhabra" userId="598e0514-bef3-4e71-b6aa-f2edd6441cff" providerId="ADAL" clId="{36D14C0E-B70E-4281-9AD2-7129A7F7BB3E}" dt="2021-12-10T05:23:26.466" v="435"/>
          <ac:inkMkLst>
            <pc:docMk/>
            <pc:sldMk cId="2205738745" sldId="260"/>
            <ac:inkMk id="141" creationId="{EE25A43D-FBAE-409F-A91C-6CEE7CDFD9DA}"/>
          </ac:inkMkLst>
        </pc:inkChg>
        <pc:inkChg chg="add mod">
          <ac:chgData name="Aniket Chhabra" userId="598e0514-bef3-4e71-b6aa-f2edd6441cff" providerId="ADAL" clId="{36D14C0E-B70E-4281-9AD2-7129A7F7BB3E}" dt="2021-12-10T05:23:26.466" v="435"/>
          <ac:inkMkLst>
            <pc:docMk/>
            <pc:sldMk cId="2205738745" sldId="260"/>
            <ac:inkMk id="142" creationId="{85D833F4-1714-414E-8402-B66DF4114F9F}"/>
          </ac:inkMkLst>
        </pc:inkChg>
        <pc:inkChg chg="add mod">
          <ac:chgData name="Aniket Chhabra" userId="598e0514-bef3-4e71-b6aa-f2edd6441cff" providerId="ADAL" clId="{36D14C0E-B70E-4281-9AD2-7129A7F7BB3E}" dt="2021-12-10T05:23:26.466" v="435"/>
          <ac:inkMkLst>
            <pc:docMk/>
            <pc:sldMk cId="2205738745" sldId="260"/>
            <ac:inkMk id="143" creationId="{48F2BFF3-673B-4725-9D9C-08410830BDF1}"/>
          </ac:inkMkLst>
        </pc:inkChg>
        <pc:inkChg chg="add mod">
          <ac:chgData name="Aniket Chhabra" userId="598e0514-bef3-4e71-b6aa-f2edd6441cff" providerId="ADAL" clId="{36D14C0E-B70E-4281-9AD2-7129A7F7BB3E}" dt="2021-12-10T05:23:26.466" v="435"/>
          <ac:inkMkLst>
            <pc:docMk/>
            <pc:sldMk cId="2205738745" sldId="260"/>
            <ac:inkMk id="144" creationId="{E4AA261E-DC54-4333-AB0E-841E0651C711}"/>
          </ac:inkMkLst>
        </pc:inkChg>
        <pc:inkChg chg="add mod">
          <ac:chgData name="Aniket Chhabra" userId="598e0514-bef3-4e71-b6aa-f2edd6441cff" providerId="ADAL" clId="{36D14C0E-B70E-4281-9AD2-7129A7F7BB3E}" dt="2021-12-10T05:23:26.466" v="435"/>
          <ac:inkMkLst>
            <pc:docMk/>
            <pc:sldMk cId="2205738745" sldId="260"/>
            <ac:inkMk id="145" creationId="{06D50525-87B2-4A66-878D-FABAFCC62A6B}"/>
          </ac:inkMkLst>
        </pc:inkChg>
        <pc:inkChg chg="add mod">
          <ac:chgData name="Aniket Chhabra" userId="598e0514-bef3-4e71-b6aa-f2edd6441cff" providerId="ADAL" clId="{36D14C0E-B70E-4281-9AD2-7129A7F7BB3E}" dt="2021-12-10T05:23:26.466" v="435"/>
          <ac:inkMkLst>
            <pc:docMk/>
            <pc:sldMk cId="2205738745" sldId="260"/>
            <ac:inkMk id="147" creationId="{9674D673-B5A2-4FAD-86B4-F679D2850750}"/>
          </ac:inkMkLst>
        </pc:inkChg>
        <pc:inkChg chg="add">
          <ac:chgData name="Aniket Chhabra" userId="598e0514-bef3-4e71-b6aa-f2edd6441cff" providerId="ADAL" clId="{36D14C0E-B70E-4281-9AD2-7129A7F7BB3E}" dt="2021-12-10T05:24:13.664" v="436" actId="9405"/>
          <ac:inkMkLst>
            <pc:docMk/>
            <pc:sldMk cId="2205738745" sldId="260"/>
            <ac:inkMk id="149" creationId="{D6A48F0D-5297-4751-8D77-95F350D035D4}"/>
          </ac:inkMkLst>
        </pc:inkChg>
        <pc:inkChg chg="add mod">
          <ac:chgData name="Aniket Chhabra" userId="598e0514-bef3-4e71-b6aa-f2edd6441cff" providerId="ADAL" clId="{36D14C0E-B70E-4281-9AD2-7129A7F7BB3E}" dt="2021-12-10T05:24:22.287" v="447"/>
          <ac:inkMkLst>
            <pc:docMk/>
            <pc:sldMk cId="2205738745" sldId="260"/>
            <ac:inkMk id="150" creationId="{D4E52E31-3854-440E-89B7-4DE514C79FA3}"/>
          </ac:inkMkLst>
        </pc:inkChg>
        <pc:inkChg chg="add mod">
          <ac:chgData name="Aniket Chhabra" userId="598e0514-bef3-4e71-b6aa-f2edd6441cff" providerId="ADAL" clId="{36D14C0E-B70E-4281-9AD2-7129A7F7BB3E}" dt="2021-12-10T05:24:22.287" v="447"/>
          <ac:inkMkLst>
            <pc:docMk/>
            <pc:sldMk cId="2205738745" sldId="260"/>
            <ac:inkMk id="151" creationId="{4A761A91-5FB8-4C40-A3A6-33F6C18AC8E7}"/>
          </ac:inkMkLst>
        </pc:inkChg>
        <pc:inkChg chg="add mod">
          <ac:chgData name="Aniket Chhabra" userId="598e0514-bef3-4e71-b6aa-f2edd6441cff" providerId="ADAL" clId="{36D14C0E-B70E-4281-9AD2-7129A7F7BB3E}" dt="2021-12-10T05:24:22.287" v="447"/>
          <ac:inkMkLst>
            <pc:docMk/>
            <pc:sldMk cId="2205738745" sldId="260"/>
            <ac:inkMk id="152" creationId="{211CA505-768A-406E-89E7-2E78C9F957EB}"/>
          </ac:inkMkLst>
        </pc:inkChg>
        <pc:inkChg chg="add mod">
          <ac:chgData name="Aniket Chhabra" userId="598e0514-bef3-4e71-b6aa-f2edd6441cff" providerId="ADAL" clId="{36D14C0E-B70E-4281-9AD2-7129A7F7BB3E}" dt="2021-12-10T05:24:22.287" v="447"/>
          <ac:inkMkLst>
            <pc:docMk/>
            <pc:sldMk cId="2205738745" sldId="260"/>
            <ac:inkMk id="153" creationId="{28E48AAF-BF3C-4485-8404-60A01DB2F51D}"/>
          </ac:inkMkLst>
        </pc:inkChg>
        <pc:inkChg chg="add mod">
          <ac:chgData name="Aniket Chhabra" userId="598e0514-bef3-4e71-b6aa-f2edd6441cff" providerId="ADAL" clId="{36D14C0E-B70E-4281-9AD2-7129A7F7BB3E}" dt="2021-12-10T05:24:22.287" v="447"/>
          <ac:inkMkLst>
            <pc:docMk/>
            <pc:sldMk cId="2205738745" sldId="260"/>
            <ac:inkMk id="154" creationId="{BE62F400-9CF1-434B-A441-D725A4081D63}"/>
          </ac:inkMkLst>
        </pc:inkChg>
        <pc:inkChg chg="add mod">
          <ac:chgData name="Aniket Chhabra" userId="598e0514-bef3-4e71-b6aa-f2edd6441cff" providerId="ADAL" clId="{36D14C0E-B70E-4281-9AD2-7129A7F7BB3E}" dt="2021-12-10T05:24:22.287" v="447"/>
          <ac:inkMkLst>
            <pc:docMk/>
            <pc:sldMk cId="2205738745" sldId="260"/>
            <ac:inkMk id="155" creationId="{BAE4DA0C-8CA8-456B-8063-F584ADC1DCC9}"/>
          </ac:inkMkLst>
        </pc:inkChg>
        <pc:inkChg chg="add mod">
          <ac:chgData name="Aniket Chhabra" userId="598e0514-bef3-4e71-b6aa-f2edd6441cff" providerId="ADAL" clId="{36D14C0E-B70E-4281-9AD2-7129A7F7BB3E}" dt="2021-12-10T05:24:22.287" v="447"/>
          <ac:inkMkLst>
            <pc:docMk/>
            <pc:sldMk cId="2205738745" sldId="260"/>
            <ac:inkMk id="156" creationId="{32421429-AA68-458C-B93F-97AD3A64C362}"/>
          </ac:inkMkLst>
        </pc:inkChg>
        <pc:inkChg chg="add mod">
          <ac:chgData name="Aniket Chhabra" userId="598e0514-bef3-4e71-b6aa-f2edd6441cff" providerId="ADAL" clId="{36D14C0E-B70E-4281-9AD2-7129A7F7BB3E}" dt="2021-12-10T05:24:22.287" v="447"/>
          <ac:inkMkLst>
            <pc:docMk/>
            <pc:sldMk cId="2205738745" sldId="260"/>
            <ac:inkMk id="157" creationId="{B0DC711E-DC27-4C9F-8FC5-D74C5FEBD612}"/>
          </ac:inkMkLst>
        </pc:inkChg>
        <pc:inkChg chg="add mod">
          <ac:chgData name="Aniket Chhabra" userId="598e0514-bef3-4e71-b6aa-f2edd6441cff" providerId="ADAL" clId="{36D14C0E-B70E-4281-9AD2-7129A7F7BB3E}" dt="2021-12-10T05:24:22.287" v="447"/>
          <ac:inkMkLst>
            <pc:docMk/>
            <pc:sldMk cId="2205738745" sldId="260"/>
            <ac:inkMk id="158" creationId="{82B53460-6941-4A14-B7F4-47100867659A}"/>
          </ac:inkMkLst>
        </pc:inkChg>
        <pc:inkChg chg="add mod">
          <ac:chgData name="Aniket Chhabra" userId="598e0514-bef3-4e71-b6aa-f2edd6441cff" providerId="ADAL" clId="{36D14C0E-B70E-4281-9AD2-7129A7F7BB3E}" dt="2021-12-10T05:24:22.287" v="447"/>
          <ac:inkMkLst>
            <pc:docMk/>
            <pc:sldMk cId="2205738745" sldId="260"/>
            <ac:inkMk id="159" creationId="{904C94D7-9FD1-4CA2-A690-12F526508A98}"/>
          </ac:inkMkLst>
        </pc:inkChg>
      </pc:sldChg>
      <pc:sldChg chg="addSp delSp modSp add mod">
        <pc:chgData name="Aniket Chhabra" userId="598e0514-bef3-4e71-b6aa-f2edd6441cff" providerId="ADAL" clId="{36D14C0E-B70E-4281-9AD2-7129A7F7BB3E}" dt="2021-12-11T13:45:06.906" v="1783"/>
        <pc:sldMkLst>
          <pc:docMk/>
          <pc:sldMk cId="1253039354" sldId="261"/>
        </pc:sldMkLst>
        <pc:grpChg chg="mod">
          <ac:chgData name="Aniket Chhabra" userId="598e0514-bef3-4e71-b6aa-f2edd6441cff" providerId="ADAL" clId="{36D14C0E-B70E-4281-9AD2-7129A7F7BB3E}" dt="2021-12-10T05:55:21.481" v="471"/>
          <ac:grpSpMkLst>
            <pc:docMk/>
            <pc:sldMk cId="1253039354" sldId="261"/>
            <ac:grpSpMk id="26" creationId="{15457E9D-B168-4CE3-984C-9404FC4D20FD}"/>
          </ac:grpSpMkLst>
        </pc:grpChg>
        <pc:grpChg chg="del mod">
          <ac:chgData name="Aniket Chhabra" userId="598e0514-bef3-4e71-b6aa-f2edd6441cff" providerId="ADAL" clId="{36D14C0E-B70E-4281-9AD2-7129A7F7BB3E}" dt="2021-12-10T05:55:29.598" v="486"/>
          <ac:grpSpMkLst>
            <pc:docMk/>
            <pc:sldMk cId="1253039354" sldId="261"/>
            <ac:grpSpMk id="39" creationId="{BE512A84-1E3F-4589-AFA7-85A6EE7A256A}"/>
          </ac:grpSpMkLst>
        </pc:grpChg>
        <pc:grpChg chg="mod">
          <ac:chgData name="Aniket Chhabra" userId="598e0514-bef3-4e71-b6aa-f2edd6441cff" providerId="ADAL" clId="{36D14C0E-B70E-4281-9AD2-7129A7F7BB3E}" dt="2021-12-10T05:55:29.598" v="486"/>
          <ac:grpSpMkLst>
            <pc:docMk/>
            <pc:sldMk cId="1253039354" sldId="261"/>
            <ac:grpSpMk id="41" creationId="{B8EBBD68-1694-44A3-8FE4-F9786B77B0A6}"/>
          </ac:grpSpMkLst>
        </pc:grpChg>
        <pc:grpChg chg="mod">
          <ac:chgData name="Aniket Chhabra" userId="598e0514-bef3-4e71-b6aa-f2edd6441cff" providerId="ADAL" clId="{36D14C0E-B70E-4281-9AD2-7129A7F7BB3E}" dt="2021-12-10T05:55:38.400" v="497"/>
          <ac:grpSpMkLst>
            <pc:docMk/>
            <pc:sldMk cId="1253039354" sldId="261"/>
            <ac:grpSpMk id="51" creationId="{55D66558-DCA6-4665-B2A3-273E9B11EA6D}"/>
          </ac:grpSpMkLst>
        </pc:grpChg>
        <pc:grpChg chg="mod">
          <ac:chgData name="Aniket Chhabra" userId="598e0514-bef3-4e71-b6aa-f2edd6441cff" providerId="ADAL" clId="{36D14C0E-B70E-4281-9AD2-7129A7F7BB3E}" dt="2021-12-10T05:55:38.400" v="497"/>
          <ac:grpSpMkLst>
            <pc:docMk/>
            <pc:sldMk cId="1253039354" sldId="261"/>
            <ac:grpSpMk id="52" creationId="{CDC9444D-E24A-49CB-9903-A4C7C14ECC14}"/>
          </ac:grpSpMkLst>
        </pc:grpChg>
        <pc:grpChg chg="mod">
          <ac:chgData name="Aniket Chhabra" userId="598e0514-bef3-4e71-b6aa-f2edd6441cff" providerId="ADAL" clId="{36D14C0E-B70E-4281-9AD2-7129A7F7BB3E}" dt="2021-12-10T05:55:38.400" v="497"/>
          <ac:grpSpMkLst>
            <pc:docMk/>
            <pc:sldMk cId="1253039354" sldId="261"/>
            <ac:grpSpMk id="53" creationId="{89C175AF-F099-4446-AB6B-41942FD3B966}"/>
          </ac:grpSpMkLst>
        </pc:grpChg>
        <pc:grpChg chg="mod">
          <ac:chgData name="Aniket Chhabra" userId="598e0514-bef3-4e71-b6aa-f2edd6441cff" providerId="ADAL" clId="{36D14C0E-B70E-4281-9AD2-7129A7F7BB3E}" dt="2021-12-10T05:55:51.281" v="516"/>
          <ac:grpSpMkLst>
            <pc:docMk/>
            <pc:sldMk cId="1253039354" sldId="261"/>
            <ac:grpSpMk id="72" creationId="{9EAA8E6C-98B3-4EC7-8E2E-FDD3B64B4E43}"/>
          </ac:grpSpMkLst>
        </pc:grpChg>
        <pc:grpChg chg="mod">
          <ac:chgData name="Aniket Chhabra" userId="598e0514-bef3-4e71-b6aa-f2edd6441cff" providerId="ADAL" clId="{36D14C0E-B70E-4281-9AD2-7129A7F7BB3E}" dt="2021-12-10T05:55:51.281" v="516"/>
          <ac:grpSpMkLst>
            <pc:docMk/>
            <pc:sldMk cId="1253039354" sldId="261"/>
            <ac:grpSpMk id="73" creationId="{A9240546-3312-487C-B379-DBFE66E31330}"/>
          </ac:grpSpMkLst>
        </pc:grpChg>
        <pc:grpChg chg="del mod">
          <ac:chgData name="Aniket Chhabra" userId="598e0514-bef3-4e71-b6aa-f2edd6441cff" providerId="ADAL" clId="{36D14C0E-B70E-4281-9AD2-7129A7F7BB3E}" dt="2021-12-10T05:55:58.981" v="530"/>
          <ac:grpSpMkLst>
            <pc:docMk/>
            <pc:sldMk cId="1253039354" sldId="261"/>
            <ac:grpSpMk id="80" creationId="{A831429E-2969-45F2-8683-EDE0B9761716}"/>
          </ac:grpSpMkLst>
        </pc:grpChg>
        <pc:grpChg chg="mod">
          <ac:chgData name="Aniket Chhabra" userId="598e0514-bef3-4e71-b6aa-f2edd6441cff" providerId="ADAL" clId="{36D14C0E-B70E-4281-9AD2-7129A7F7BB3E}" dt="2021-12-10T05:55:58.981" v="530"/>
          <ac:grpSpMkLst>
            <pc:docMk/>
            <pc:sldMk cId="1253039354" sldId="261"/>
            <ac:grpSpMk id="87" creationId="{A7741FC1-FF05-4FD6-894B-EDD49AA966AC}"/>
          </ac:grpSpMkLst>
        </pc:grpChg>
        <pc:grpChg chg="mod">
          <ac:chgData name="Aniket Chhabra" userId="598e0514-bef3-4e71-b6aa-f2edd6441cff" providerId="ADAL" clId="{36D14C0E-B70E-4281-9AD2-7129A7F7BB3E}" dt="2021-12-10T05:55:58.981" v="530"/>
          <ac:grpSpMkLst>
            <pc:docMk/>
            <pc:sldMk cId="1253039354" sldId="261"/>
            <ac:grpSpMk id="88" creationId="{1C219E10-5B9E-4679-8B0C-02755A4D78F4}"/>
          </ac:grpSpMkLst>
        </pc:grpChg>
        <pc:grpChg chg="mod">
          <ac:chgData name="Aniket Chhabra" userId="598e0514-bef3-4e71-b6aa-f2edd6441cff" providerId="ADAL" clId="{36D14C0E-B70E-4281-9AD2-7129A7F7BB3E}" dt="2021-12-10T05:56:09.985" v="546"/>
          <ac:grpSpMkLst>
            <pc:docMk/>
            <pc:sldMk cId="1253039354" sldId="261"/>
            <ac:grpSpMk id="104" creationId="{00EE9ECC-D0AF-414E-93F8-545076C678EE}"/>
          </ac:grpSpMkLst>
        </pc:grpChg>
        <pc:grpChg chg="mod">
          <ac:chgData name="Aniket Chhabra" userId="598e0514-bef3-4e71-b6aa-f2edd6441cff" providerId="ADAL" clId="{36D14C0E-B70E-4281-9AD2-7129A7F7BB3E}" dt="2021-12-10T05:56:19.645" v="556"/>
          <ac:grpSpMkLst>
            <pc:docMk/>
            <pc:sldMk cId="1253039354" sldId="261"/>
            <ac:grpSpMk id="113" creationId="{695346AC-CFC5-4AF9-A34F-74AEFBCADC5C}"/>
          </ac:grpSpMkLst>
        </pc:grpChg>
        <pc:grpChg chg="mod">
          <ac:chgData name="Aniket Chhabra" userId="598e0514-bef3-4e71-b6aa-f2edd6441cff" providerId="ADAL" clId="{36D14C0E-B70E-4281-9AD2-7129A7F7BB3E}" dt="2021-12-10T05:56:35.599" v="568"/>
          <ac:grpSpMkLst>
            <pc:docMk/>
            <pc:sldMk cId="1253039354" sldId="261"/>
            <ac:grpSpMk id="124" creationId="{E9929E7D-0043-42F6-B897-293A7BC5FE90}"/>
          </ac:grpSpMkLst>
        </pc:grpChg>
        <pc:grpChg chg="mod">
          <ac:chgData name="Aniket Chhabra" userId="598e0514-bef3-4e71-b6aa-f2edd6441cff" providerId="ADAL" clId="{36D14C0E-B70E-4281-9AD2-7129A7F7BB3E}" dt="2021-12-10T05:56:35.599" v="568"/>
          <ac:grpSpMkLst>
            <pc:docMk/>
            <pc:sldMk cId="1253039354" sldId="261"/>
            <ac:grpSpMk id="125" creationId="{B383F6B4-10F7-4A5E-AF42-A3B19B6E0B3B}"/>
          </ac:grpSpMkLst>
        </pc:grpChg>
        <pc:grpChg chg="mod">
          <ac:chgData name="Aniket Chhabra" userId="598e0514-bef3-4e71-b6aa-f2edd6441cff" providerId="ADAL" clId="{36D14C0E-B70E-4281-9AD2-7129A7F7BB3E}" dt="2021-12-10T05:56:35.599" v="568"/>
          <ac:grpSpMkLst>
            <pc:docMk/>
            <pc:sldMk cId="1253039354" sldId="261"/>
            <ac:grpSpMk id="126" creationId="{77575419-FB59-4266-B116-B01EFE7A7628}"/>
          </ac:grpSpMkLst>
        </pc:grpChg>
        <pc:picChg chg="del">
          <ac:chgData name="Aniket Chhabra" userId="598e0514-bef3-4e71-b6aa-f2edd6441cff" providerId="ADAL" clId="{36D14C0E-B70E-4281-9AD2-7129A7F7BB3E}" dt="2021-12-10T05:03:49.847" v="19" actId="478"/>
          <ac:picMkLst>
            <pc:docMk/>
            <pc:sldMk cId="1253039354" sldId="261"/>
            <ac:picMk id="3" creationId="{74D5911B-3428-4C79-9D34-2C83482013AF}"/>
          </ac:picMkLst>
        </pc:picChg>
        <pc:picChg chg="add del">
          <ac:chgData name="Aniket Chhabra" userId="598e0514-bef3-4e71-b6aa-f2edd6441cff" providerId="ADAL" clId="{36D14C0E-B70E-4281-9AD2-7129A7F7BB3E}" dt="2021-12-10T05:24:29.332" v="449" actId="478"/>
          <ac:picMkLst>
            <pc:docMk/>
            <pc:sldMk cId="1253039354" sldId="261"/>
            <ac:picMk id="4" creationId="{8CF82DB5-20B8-4E9A-BB34-74E4CDCADC7E}"/>
          </ac:picMkLst>
        </pc:picChg>
        <pc:picChg chg="add del">
          <ac:chgData name="Aniket Chhabra" userId="598e0514-bef3-4e71-b6aa-f2edd6441cff" providerId="ADAL" clId="{36D14C0E-B70E-4281-9AD2-7129A7F7BB3E}" dt="2021-12-10T05:24:28.316" v="448" actId="478"/>
          <ac:picMkLst>
            <pc:docMk/>
            <pc:sldMk cId="1253039354" sldId="261"/>
            <ac:picMk id="7" creationId="{E2516AA3-3D3A-49F7-B68B-8AC41B96AA0B}"/>
          </ac:picMkLst>
        </pc:picChg>
        <pc:picChg chg="add">
          <ac:chgData name="Aniket Chhabra" userId="598e0514-bef3-4e71-b6aa-f2edd6441cff" providerId="ADAL" clId="{36D14C0E-B70E-4281-9AD2-7129A7F7BB3E}" dt="2021-12-10T05:55:03.949" v="451"/>
          <ac:picMkLst>
            <pc:docMk/>
            <pc:sldMk cId="1253039354" sldId="261"/>
            <ac:picMk id="9" creationId="{47B1C750-B1D7-4F20-95EB-EB29D6884C11}"/>
          </ac:picMkLst>
        </pc:picChg>
        <pc:inkChg chg="add">
          <ac:chgData name="Aniket Chhabra" userId="598e0514-bef3-4e71-b6aa-f2edd6441cff" providerId="ADAL" clId="{36D14C0E-B70E-4281-9AD2-7129A7F7BB3E}" dt="2021-12-11T13:45:06.906" v="1783"/>
          <ac:inkMkLst>
            <pc:docMk/>
            <pc:sldMk cId="1253039354" sldId="261"/>
            <ac:inkMk id="2" creationId="{7AEEC599-171B-4A3C-8836-5D9ED67F53D2}"/>
          </ac:inkMkLst>
        </pc:inkChg>
        <pc:inkChg chg="add del">
          <ac:chgData name="Aniket Chhabra" userId="598e0514-bef3-4e71-b6aa-f2edd6441cff" providerId="ADAL" clId="{36D14C0E-B70E-4281-9AD2-7129A7F7BB3E}" dt="2021-12-10T05:55:14.927" v="456"/>
          <ac:inkMkLst>
            <pc:docMk/>
            <pc:sldMk cId="1253039354" sldId="261"/>
            <ac:inkMk id="10" creationId="{85D14462-40CA-4862-9F42-95F670A86C61}"/>
          </ac:inkMkLst>
        </pc:inkChg>
        <pc:inkChg chg="add del">
          <ac:chgData name="Aniket Chhabra" userId="598e0514-bef3-4e71-b6aa-f2edd6441cff" providerId="ADAL" clId="{36D14C0E-B70E-4281-9AD2-7129A7F7BB3E}" dt="2021-12-10T05:55:14.926" v="455"/>
          <ac:inkMkLst>
            <pc:docMk/>
            <pc:sldMk cId="1253039354" sldId="261"/>
            <ac:inkMk id="11" creationId="{FC2489AC-8A31-4E8A-B3A5-23921C7FFF93}"/>
          </ac:inkMkLst>
        </pc:inkChg>
        <pc:inkChg chg="add del">
          <ac:chgData name="Aniket Chhabra" userId="598e0514-bef3-4e71-b6aa-f2edd6441cff" providerId="ADAL" clId="{36D14C0E-B70E-4281-9AD2-7129A7F7BB3E}" dt="2021-12-10T05:55:14.927" v="457"/>
          <ac:inkMkLst>
            <pc:docMk/>
            <pc:sldMk cId="1253039354" sldId="261"/>
            <ac:inkMk id="12" creationId="{8ACDE57D-1B1F-4F98-8A54-9F705BCF7864}"/>
          </ac:inkMkLst>
        </pc:inkChg>
        <pc:inkChg chg="add mod">
          <ac:chgData name="Aniket Chhabra" userId="598e0514-bef3-4e71-b6aa-f2edd6441cff" providerId="ADAL" clId="{36D14C0E-B70E-4281-9AD2-7129A7F7BB3E}" dt="2021-12-10T05:55:21.481" v="471"/>
          <ac:inkMkLst>
            <pc:docMk/>
            <pc:sldMk cId="1253039354" sldId="261"/>
            <ac:inkMk id="13" creationId="{9091DC39-CF16-4042-9D24-03910716CFEF}"/>
          </ac:inkMkLst>
        </pc:inkChg>
        <pc:inkChg chg="add mod">
          <ac:chgData name="Aniket Chhabra" userId="598e0514-bef3-4e71-b6aa-f2edd6441cff" providerId="ADAL" clId="{36D14C0E-B70E-4281-9AD2-7129A7F7BB3E}" dt="2021-12-10T05:55:21.481" v="471"/>
          <ac:inkMkLst>
            <pc:docMk/>
            <pc:sldMk cId="1253039354" sldId="261"/>
            <ac:inkMk id="14" creationId="{97BAF0AC-2C0D-458B-ACBB-CAA8619601A4}"/>
          </ac:inkMkLst>
        </pc:inkChg>
        <pc:inkChg chg="add mod">
          <ac:chgData name="Aniket Chhabra" userId="598e0514-bef3-4e71-b6aa-f2edd6441cff" providerId="ADAL" clId="{36D14C0E-B70E-4281-9AD2-7129A7F7BB3E}" dt="2021-12-10T05:55:21.481" v="471"/>
          <ac:inkMkLst>
            <pc:docMk/>
            <pc:sldMk cId="1253039354" sldId="261"/>
            <ac:inkMk id="15" creationId="{5570CF55-06C6-48E6-8963-E1CEF0D0FC14}"/>
          </ac:inkMkLst>
        </pc:inkChg>
        <pc:inkChg chg="add mod">
          <ac:chgData name="Aniket Chhabra" userId="598e0514-bef3-4e71-b6aa-f2edd6441cff" providerId="ADAL" clId="{36D14C0E-B70E-4281-9AD2-7129A7F7BB3E}" dt="2021-12-10T05:55:21.481" v="471"/>
          <ac:inkMkLst>
            <pc:docMk/>
            <pc:sldMk cId="1253039354" sldId="261"/>
            <ac:inkMk id="16" creationId="{1F3CFFDC-DC24-4236-9EEC-8DC6D3C4ADE6}"/>
          </ac:inkMkLst>
        </pc:inkChg>
        <pc:inkChg chg="add mod">
          <ac:chgData name="Aniket Chhabra" userId="598e0514-bef3-4e71-b6aa-f2edd6441cff" providerId="ADAL" clId="{36D14C0E-B70E-4281-9AD2-7129A7F7BB3E}" dt="2021-12-10T05:55:21.481" v="471"/>
          <ac:inkMkLst>
            <pc:docMk/>
            <pc:sldMk cId="1253039354" sldId="261"/>
            <ac:inkMk id="17" creationId="{BFAE46DE-D355-41E4-BE6C-5EEEE3599D91}"/>
          </ac:inkMkLst>
        </pc:inkChg>
        <pc:inkChg chg="add mod">
          <ac:chgData name="Aniket Chhabra" userId="598e0514-bef3-4e71-b6aa-f2edd6441cff" providerId="ADAL" clId="{36D14C0E-B70E-4281-9AD2-7129A7F7BB3E}" dt="2021-12-10T05:55:21.481" v="471"/>
          <ac:inkMkLst>
            <pc:docMk/>
            <pc:sldMk cId="1253039354" sldId="261"/>
            <ac:inkMk id="18" creationId="{E3AF1CB1-3B83-432F-9515-876EF1DC47A7}"/>
          </ac:inkMkLst>
        </pc:inkChg>
        <pc:inkChg chg="add mod">
          <ac:chgData name="Aniket Chhabra" userId="598e0514-bef3-4e71-b6aa-f2edd6441cff" providerId="ADAL" clId="{36D14C0E-B70E-4281-9AD2-7129A7F7BB3E}" dt="2021-12-10T05:55:21.481" v="471"/>
          <ac:inkMkLst>
            <pc:docMk/>
            <pc:sldMk cId="1253039354" sldId="261"/>
            <ac:inkMk id="19" creationId="{B88CDCAC-A114-4875-942E-59DBFD6AD8CE}"/>
          </ac:inkMkLst>
        </pc:inkChg>
        <pc:inkChg chg="add mod">
          <ac:chgData name="Aniket Chhabra" userId="598e0514-bef3-4e71-b6aa-f2edd6441cff" providerId="ADAL" clId="{36D14C0E-B70E-4281-9AD2-7129A7F7BB3E}" dt="2021-12-10T05:55:21.481" v="471"/>
          <ac:inkMkLst>
            <pc:docMk/>
            <pc:sldMk cId="1253039354" sldId="261"/>
            <ac:inkMk id="20" creationId="{B02A820D-DD08-47DE-B978-D5650727BBD1}"/>
          </ac:inkMkLst>
        </pc:inkChg>
        <pc:inkChg chg="add mod">
          <ac:chgData name="Aniket Chhabra" userId="598e0514-bef3-4e71-b6aa-f2edd6441cff" providerId="ADAL" clId="{36D14C0E-B70E-4281-9AD2-7129A7F7BB3E}" dt="2021-12-10T05:55:21.481" v="471"/>
          <ac:inkMkLst>
            <pc:docMk/>
            <pc:sldMk cId="1253039354" sldId="261"/>
            <ac:inkMk id="21" creationId="{344AC8D6-C5EE-49F6-AA6C-48A0CA47BBBF}"/>
          </ac:inkMkLst>
        </pc:inkChg>
        <pc:inkChg chg="add mod">
          <ac:chgData name="Aniket Chhabra" userId="598e0514-bef3-4e71-b6aa-f2edd6441cff" providerId="ADAL" clId="{36D14C0E-B70E-4281-9AD2-7129A7F7BB3E}" dt="2021-12-10T05:55:21.481" v="471"/>
          <ac:inkMkLst>
            <pc:docMk/>
            <pc:sldMk cId="1253039354" sldId="261"/>
            <ac:inkMk id="22" creationId="{243C58C5-3702-4E9C-B5A9-3C792798D925}"/>
          </ac:inkMkLst>
        </pc:inkChg>
        <pc:inkChg chg="add mod">
          <ac:chgData name="Aniket Chhabra" userId="598e0514-bef3-4e71-b6aa-f2edd6441cff" providerId="ADAL" clId="{36D14C0E-B70E-4281-9AD2-7129A7F7BB3E}" dt="2021-12-10T05:55:21.481" v="471"/>
          <ac:inkMkLst>
            <pc:docMk/>
            <pc:sldMk cId="1253039354" sldId="261"/>
            <ac:inkMk id="23" creationId="{6630406A-C762-477D-881C-F644CDD57339}"/>
          </ac:inkMkLst>
        </pc:inkChg>
        <pc:inkChg chg="add mod">
          <ac:chgData name="Aniket Chhabra" userId="598e0514-bef3-4e71-b6aa-f2edd6441cff" providerId="ADAL" clId="{36D14C0E-B70E-4281-9AD2-7129A7F7BB3E}" dt="2021-12-10T05:55:21.481" v="471"/>
          <ac:inkMkLst>
            <pc:docMk/>
            <pc:sldMk cId="1253039354" sldId="261"/>
            <ac:inkMk id="24" creationId="{F788122C-8604-4F34-B661-E4FC08449710}"/>
          </ac:inkMkLst>
        </pc:inkChg>
        <pc:inkChg chg="add mod">
          <ac:chgData name="Aniket Chhabra" userId="598e0514-bef3-4e71-b6aa-f2edd6441cff" providerId="ADAL" clId="{36D14C0E-B70E-4281-9AD2-7129A7F7BB3E}" dt="2021-12-10T05:55:21.481" v="471"/>
          <ac:inkMkLst>
            <pc:docMk/>
            <pc:sldMk cId="1253039354" sldId="261"/>
            <ac:inkMk id="25" creationId="{27C1BBDD-ACD6-440D-8DE6-97B6897E26F3}"/>
          </ac:inkMkLst>
        </pc:inkChg>
        <pc:inkChg chg="add mod">
          <ac:chgData name="Aniket Chhabra" userId="598e0514-bef3-4e71-b6aa-f2edd6441cff" providerId="ADAL" clId="{36D14C0E-B70E-4281-9AD2-7129A7F7BB3E}" dt="2021-12-10T05:55:29.598" v="486"/>
          <ac:inkMkLst>
            <pc:docMk/>
            <pc:sldMk cId="1253039354" sldId="261"/>
            <ac:inkMk id="27" creationId="{0E25A087-629A-40B0-A363-368018945E8C}"/>
          </ac:inkMkLst>
        </pc:inkChg>
        <pc:inkChg chg="add mod">
          <ac:chgData name="Aniket Chhabra" userId="598e0514-bef3-4e71-b6aa-f2edd6441cff" providerId="ADAL" clId="{36D14C0E-B70E-4281-9AD2-7129A7F7BB3E}" dt="2021-12-10T05:55:29.598" v="486"/>
          <ac:inkMkLst>
            <pc:docMk/>
            <pc:sldMk cId="1253039354" sldId="261"/>
            <ac:inkMk id="28" creationId="{A8FED0CA-2FC7-43CE-BD16-4E3BBE9A0DAB}"/>
          </ac:inkMkLst>
        </pc:inkChg>
        <pc:inkChg chg="add mod">
          <ac:chgData name="Aniket Chhabra" userId="598e0514-bef3-4e71-b6aa-f2edd6441cff" providerId="ADAL" clId="{36D14C0E-B70E-4281-9AD2-7129A7F7BB3E}" dt="2021-12-10T05:55:29.598" v="486"/>
          <ac:inkMkLst>
            <pc:docMk/>
            <pc:sldMk cId="1253039354" sldId="261"/>
            <ac:inkMk id="29" creationId="{F725B4DC-A8B2-415D-B523-B56F5F19DE18}"/>
          </ac:inkMkLst>
        </pc:inkChg>
        <pc:inkChg chg="add mod">
          <ac:chgData name="Aniket Chhabra" userId="598e0514-bef3-4e71-b6aa-f2edd6441cff" providerId="ADAL" clId="{36D14C0E-B70E-4281-9AD2-7129A7F7BB3E}" dt="2021-12-10T05:55:29.598" v="486"/>
          <ac:inkMkLst>
            <pc:docMk/>
            <pc:sldMk cId="1253039354" sldId="261"/>
            <ac:inkMk id="30" creationId="{8BE5AB8D-E184-4F89-A983-CD3A87092CD3}"/>
          </ac:inkMkLst>
        </pc:inkChg>
        <pc:inkChg chg="add mod">
          <ac:chgData name="Aniket Chhabra" userId="598e0514-bef3-4e71-b6aa-f2edd6441cff" providerId="ADAL" clId="{36D14C0E-B70E-4281-9AD2-7129A7F7BB3E}" dt="2021-12-10T05:55:29.598" v="486"/>
          <ac:inkMkLst>
            <pc:docMk/>
            <pc:sldMk cId="1253039354" sldId="261"/>
            <ac:inkMk id="31" creationId="{DE4BA477-4154-42DF-ACD7-8C12D7493BA0}"/>
          </ac:inkMkLst>
        </pc:inkChg>
        <pc:inkChg chg="add mod">
          <ac:chgData name="Aniket Chhabra" userId="598e0514-bef3-4e71-b6aa-f2edd6441cff" providerId="ADAL" clId="{36D14C0E-B70E-4281-9AD2-7129A7F7BB3E}" dt="2021-12-10T05:55:29.598" v="486"/>
          <ac:inkMkLst>
            <pc:docMk/>
            <pc:sldMk cId="1253039354" sldId="261"/>
            <ac:inkMk id="32" creationId="{EB7A4574-DE67-4F74-A017-89A48C14F73A}"/>
          </ac:inkMkLst>
        </pc:inkChg>
        <pc:inkChg chg="add mod">
          <ac:chgData name="Aniket Chhabra" userId="598e0514-bef3-4e71-b6aa-f2edd6441cff" providerId="ADAL" clId="{36D14C0E-B70E-4281-9AD2-7129A7F7BB3E}" dt="2021-12-10T05:55:29.598" v="486"/>
          <ac:inkMkLst>
            <pc:docMk/>
            <pc:sldMk cId="1253039354" sldId="261"/>
            <ac:inkMk id="33" creationId="{B152D5C3-615A-4E13-AEC3-BC6CA19AE84A}"/>
          </ac:inkMkLst>
        </pc:inkChg>
        <pc:inkChg chg="add mod">
          <ac:chgData name="Aniket Chhabra" userId="598e0514-bef3-4e71-b6aa-f2edd6441cff" providerId="ADAL" clId="{36D14C0E-B70E-4281-9AD2-7129A7F7BB3E}" dt="2021-12-10T05:55:29.598" v="486"/>
          <ac:inkMkLst>
            <pc:docMk/>
            <pc:sldMk cId="1253039354" sldId="261"/>
            <ac:inkMk id="34" creationId="{066AE579-C497-4590-909C-1F4C9F7737AE}"/>
          </ac:inkMkLst>
        </pc:inkChg>
        <pc:inkChg chg="add mod">
          <ac:chgData name="Aniket Chhabra" userId="598e0514-bef3-4e71-b6aa-f2edd6441cff" providerId="ADAL" clId="{36D14C0E-B70E-4281-9AD2-7129A7F7BB3E}" dt="2021-12-10T05:55:29.598" v="486"/>
          <ac:inkMkLst>
            <pc:docMk/>
            <pc:sldMk cId="1253039354" sldId="261"/>
            <ac:inkMk id="35" creationId="{5474D61F-0282-427E-9D04-5924577A2AA7}"/>
          </ac:inkMkLst>
        </pc:inkChg>
        <pc:inkChg chg="add mod">
          <ac:chgData name="Aniket Chhabra" userId="598e0514-bef3-4e71-b6aa-f2edd6441cff" providerId="ADAL" clId="{36D14C0E-B70E-4281-9AD2-7129A7F7BB3E}" dt="2021-12-10T05:55:29.598" v="486"/>
          <ac:inkMkLst>
            <pc:docMk/>
            <pc:sldMk cId="1253039354" sldId="261"/>
            <ac:inkMk id="36" creationId="{0CE4889B-54D2-400D-BF3E-D70196BEBD01}"/>
          </ac:inkMkLst>
        </pc:inkChg>
        <pc:inkChg chg="add mod">
          <ac:chgData name="Aniket Chhabra" userId="598e0514-bef3-4e71-b6aa-f2edd6441cff" providerId="ADAL" clId="{36D14C0E-B70E-4281-9AD2-7129A7F7BB3E}" dt="2021-12-10T05:55:29.598" v="486"/>
          <ac:inkMkLst>
            <pc:docMk/>
            <pc:sldMk cId="1253039354" sldId="261"/>
            <ac:inkMk id="37" creationId="{4D0160CD-AF02-4D86-9301-F49FA294FBFD}"/>
          </ac:inkMkLst>
        </pc:inkChg>
        <pc:inkChg chg="add mod">
          <ac:chgData name="Aniket Chhabra" userId="598e0514-bef3-4e71-b6aa-f2edd6441cff" providerId="ADAL" clId="{36D14C0E-B70E-4281-9AD2-7129A7F7BB3E}" dt="2021-12-10T05:55:29.598" v="486"/>
          <ac:inkMkLst>
            <pc:docMk/>
            <pc:sldMk cId="1253039354" sldId="261"/>
            <ac:inkMk id="38" creationId="{35877BCE-8565-45AE-BB9B-8D5287E7D728}"/>
          </ac:inkMkLst>
        </pc:inkChg>
        <pc:inkChg chg="add mod">
          <ac:chgData name="Aniket Chhabra" userId="598e0514-bef3-4e71-b6aa-f2edd6441cff" providerId="ADAL" clId="{36D14C0E-B70E-4281-9AD2-7129A7F7BB3E}" dt="2021-12-10T05:55:29.598" v="486"/>
          <ac:inkMkLst>
            <pc:docMk/>
            <pc:sldMk cId="1253039354" sldId="261"/>
            <ac:inkMk id="40" creationId="{3462C966-5893-47E1-8AD8-4F488245A5D9}"/>
          </ac:inkMkLst>
        </pc:inkChg>
        <pc:inkChg chg="add mod">
          <ac:chgData name="Aniket Chhabra" userId="598e0514-bef3-4e71-b6aa-f2edd6441cff" providerId="ADAL" clId="{36D14C0E-B70E-4281-9AD2-7129A7F7BB3E}" dt="2021-12-10T05:55:38.400" v="497"/>
          <ac:inkMkLst>
            <pc:docMk/>
            <pc:sldMk cId="1253039354" sldId="261"/>
            <ac:inkMk id="42" creationId="{C05DAE57-1F14-4043-BCE5-C60F3DF1C75F}"/>
          </ac:inkMkLst>
        </pc:inkChg>
        <pc:inkChg chg="add mod">
          <ac:chgData name="Aniket Chhabra" userId="598e0514-bef3-4e71-b6aa-f2edd6441cff" providerId="ADAL" clId="{36D14C0E-B70E-4281-9AD2-7129A7F7BB3E}" dt="2021-12-10T05:55:38.400" v="497"/>
          <ac:inkMkLst>
            <pc:docMk/>
            <pc:sldMk cId="1253039354" sldId="261"/>
            <ac:inkMk id="43" creationId="{5C041F3C-6A17-47CB-88A1-FF04ED85EB84}"/>
          </ac:inkMkLst>
        </pc:inkChg>
        <pc:inkChg chg="add mod">
          <ac:chgData name="Aniket Chhabra" userId="598e0514-bef3-4e71-b6aa-f2edd6441cff" providerId="ADAL" clId="{36D14C0E-B70E-4281-9AD2-7129A7F7BB3E}" dt="2021-12-10T05:55:38.400" v="497"/>
          <ac:inkMkLst>
            <pc:docMk/>
            <pc:sldMk cId="1253039354" sldId="261"/>
            <ac:inkMk id="44" creationId="{ED1D8607-ACAF-4D27-B0AF-361E37565994}"/>
          </ac:inkMkLst>
        </pc:inkChg>
        <pc:inkChg chg="add mod">
          <ac:chgData name="Aniket Chhabra" userId="598e0514-bef3-4e71-b6aa-f2edd6441cff" providerId="ADAL" clId="{36D14C0E-B70E-4281-9AD2-7129A7F7BB3E}" dt="2021-12-10T05:55:38.400" v="497"/>
          <ac:inkMkLst>
            <pc:docMk/>
            <pc:sldMk cId="1253039354" sldId="261"/>
            <ac:inkMk id="45" creationId="{DB295A99-78DB-4D38-A84A-08D35E011A94}"/>
          </ac:inkMkLst>
        </pc:inkChg>
        <pc:inkChg chg="add mod">
          <ac:chgData name="Aniket Chhabra" userId="598e0514-bef3-4e71-b6aa-f2edd6441cff" providerId="ADAL" clId="{36D14C0E-B70E-4281-9AD2-7129A7F7BB3E}" dt="2021-12-10T05:55:38.400" v="497"/>
          <ac:inkMkLst>
            <pc:docMk/>
            <pc:sldMk cId="1253039354" sldId="261"/>
            <ac:inkMk id="46" creationId="{054B86A9-EDA8-455C-9B8B-94B6BD4503E6}"/>
          </ac:inkMkLst>
        </pc:inkChg>
        <pc:inkChg chg="add mod">
          <ac:chgData name="Aniket Chhabra" userId="598e0514-bef3-4e71-b6aa-f2edd6441cff" providerId="ADAL" clId="{36D14C0E-B70E-4281-9AD2-7129A7F7BB3E}" dt="2021-12-10T05:55:38.400" v="497"/>
          <ac:inkMkLst>
            <pc:docMk/>
            <pc:sldMk cId="1253039354" sldId="261"/>
            <ac:inkMk id="47" creationId="{DBA4D4C4-E327-4EDB-8F1B-7536CB90F82D}"/>
          </ac:inkMkLst>
        </pc:inkChg>
        <pc:inkChg chg="add del">
          <ac:chgData name="Aniket Chhabra" userId="598e0514-bef3-4e71-b6aa-f2edd6441cff" providerId="ADAL" clId="{36D14C0E-B70E-4281-9AD2-7129A7F7BB3E}" dt="2021-12-10T05:55:34.954" v="494"/>
          <ac:inkMkLst>
            <pc:docMk/>
            <pc:sldMk cId="1253039354" sldId="261"/>
            <ac:inkMk id="48" creationId="{60C35D5E-3F39-4081-A013-1C6CB4AF96EB}"/>
          </ac:inkMkLst>
        </pc:inkChg>
        <pc:inkChg chg="add mod">
          <ac:chgData name="Aniket Chhabra" userId="598e0514-bef3-4e71-b6aa-f2edd6441cff" providerId="ADAL" clId="{36D14C0E-B70E-4281-9AD2-7129A7F7BB3E}" dt="2021-12-10T05:55:38.400" v="497"/>
          <ac:inkMkLst>
            <pc:docMk/>
            <pc:sldMk cId="1253039354" sldId="261"/>
            <ac:inkMk id="49" creationId="{7FE53C43-7DF2-4B51-99C4-035CEA5FF239}"/>
          </ac:inkMkLst>
        </pc:inkChg>
        <pc:inkChg chg="add mod">
          <ac:chgData name="Aniket Chhabra" userId="598e0514-bef3-4e71-b6aa-f2edd6441cff" providerId="ADAL" clId="{36D14C0E-B70E-4281-9AD2-7129A7F7BB3E}" dt="2021-12-10T05:55:38.400" v="497"/>
          <ac:inkMkLst>
            <pc:docMk/>
            <pc:sldMk cId="1253039354" sldId="261"/>
            <ac:inkMk id="50" creationId="{61DFF6EB-2F12-49D5-8CC5-ED1429EDBFB7}"/>
          </ac:inkMkLst>
        </pc:inkChg>
        <pc:inkChg chg="add mod">
          <ac:chgData name="Aniket Chhabra" userId="598e0514-bef3-4e71-b6aa-f2edd6441cff" providerId="ADAL" clId="{36D14C0E-B70E-4281-9AD2-7129A7F7BB3E}" dt="2021-12-10T05:55:51.281" v="516"/>
          <ac:inkMkLst>
            <pc:docMk/>
            <pc:sldMk cId="1253039354" sldId="261"/>
            <ac:inkMk id="54" creationId="{07E4BFE9-957B-4F43-9616-312401665E44}"/>
          </ac:inkMkLst>
        </pc:inkChg>
        <pc:inkChg chg="add mod">
          <ac:chgData name="Aniket Chhabra" userId="598e0514-bef3-4e71-b6aa-f2edd6441cff" providerId="ADAL" clId="{36D14C0E-B70E-4281-9AD2-7129A7F7BB3E}" dt="2021-12-10T05:55:51.281" v="516"/>
          <ac:inkMkLst>
            <pc:docMk/>
            <pc:sldMk cId="1253039354" sldId="261"/>
            <ac:inkMk id="55" creationId="{04930373-A66D-4F8A-B6E6-F12A82DE29AA}"/>
          </ac:inkMkLst>
        </pc:inkChg>
        <pc:inkChg chg="add mod">
          <ac:chgData name="Aniket Chhabra" userId="598e0514-bef3-4e71-b6aa-f2edd6441cff" providerId="ADAL" clId="{36D14C0E-B70E-4281-9AD2-7129A7F7BB3E}" dt="2021-12-10T05:55:51.281" v="516"/>
          <ac:inkMkLst>
            <pc:docMk/>
            <pc:sldMk cId="1253039354" sldId="261"/>
            <ac:inkMk id="56" creationId="{26F80CE3-C2C3-4F73-A81E-E8FC115FE5A4}"/>
          </ac:inkMkLst>
        </pc:inkChg>
        <pc:inkChg chg="add mod">
          <ac:chgData name="Aniket Chhabra" userId="598e0514-bef3-4e71-b6aa-f2edd6441cff" providerId="ADAL" clId="{36D14C0E-B70E-4281-9AD2-7129A7F7BB3E}" dt="2021-12-10T05:55:51.281" v="516"/>
          <ac:inkMkLst>
            <pc:docMk/>
            <pc:sldMk cId="1253039354" sldId="261"/>
            <ac:inkMk id="57" creationId="{3E15CE6C-A8AA-480C-91A3-6470E00F6F31}"/>
          </ac:inkMkLst>
        </pc:inkChg>
        <pc:inkChg chg="add mod">
          <ac:chgData name="Aniket Chhabra" userId="598e0514-bef3-4e71-b6aa-f2edd6441cff" providerId="ADAL" clId="{36D14C0E-B70E-4281-9AD2-7129A7F7BB3E}" dt="2021-12-10T05:55:51.281" v="516"/>
          <ac:inkMkLst>
            <pc:docMk/>
            <pc:sldMk cId="1253039354" sldId="261"/>
            <ac:inkMk id="58" creationId="{799B7A65-3D43-4311-8694-BB936349F8A9}"/>
          </ac:inkMkLst>
        </pc:inkChg>
        <pc:inkChg chg="add mod">
          <ac:chgData name="Aniket Chhabra" userId="598e0514-bef3-4e71-b6aa-f2edd6441cff" providerId="ADAL" clId="{36D14C0E-B70E-4281-9AD2-7129A7F7BB3E}" dt="2021-12-10T05:55:51.281" v="516"/>
          <ac:inkMkLst>
            <pc:docMk/>
            <pc:sldMk cId="1253039354" sldId="261"/>
            <ac:inkMk id="59" creationId="{BEF94A4B-DFBF-4313-81E6-31874EC58228}"/>
          </ac:inkMkLst>
        </pc:inkChg>
        <pc:inkChg chg="add mod">
          <ac:chgData name="Aniket Chhabra" userId="598e0514-bef3-4e71-b6aa-f2edd6441cff" providerId="ADAL" clId="{36D14C0E-B70E-4281-9AD2-7129A7F7BB3E}" dt="2021-12-10T05:55:51.281" v="516"/>
          <ac:inkMkLst>
            <pc:docMk/>
            <pc:sldMk cId="1253039354" sldId="261"/>
            <ac:inkMk id="60" creationId="{479E943F-CE9D-498C-A790-6D8215322261}"/>
          </ac:inkMkLst>
        </pc:inkChg>
        <pc:inkChg chg="add mod">
          <ac:chgData name="Aniket Chhabra" userId="598e0514-bef3-4e71-b6aa-f2edd6441cff" providerId="ADAL" clId="{36D14C0E-B70E-4281-9AD2-7129A7F7BB3E}" dt="2021-12-10T05:55:51.281" v="516"/>
          <ac:inkMkLst>
            <pc:docMk/>
            <pc:sldMk cId="1253039354" sldId="261"/>
            <ac:inkMk id="61" creationId="{96992408-2FD9-4339-A0A7-705AF7399592}"/>
          </ac:inkMkLst>
        </pc:inkChg>
        <pc:inkChg chg="add mod">
          <ac:chgData name="Aniket Chhabra" userId="598e0514-bef3-4e71-b6aa-f2edd6441cff" providerId="ADAL" clId="{36D14C0E-B70E-4281-9AD2-7129A7F7BB3E}" dt="2021-12-10T05:55:51.281" v="516"/>
          <ac:inkMkLst>
            <pc:docMk/>
            <pc:sldMk cId="1253039354" sldId="261"/>
            <ac:inkMk id="62" creationId="{806E3706-0662-44D7-9780-B12AD7032193}"/>
          </ac:inkMkLst>
        </pc:inkChg>
        <pc:inkChg chg="add mod">
          <ac:chgData name="Aniket Chhabra" userId="598e0514-bef3-4e71-b6aa-f2edd6441cff" providerId="ADAL" clId="{36D14C0E-B70E-4281-9AD2-7129A7F7BB3E}" dt="2021-12-10T05:55:51.281" v="516"/>
          <ac:inkMkLst>
            <pc:docMk/>
            <pc:sldMk cId="1253039354" sldId="261"/>
            <ac:inkMk id="63" creationId="{4DBCB15F-88EB-4106-BC1F-3E5577BD78E1}"/>
          </ac:inkMkLst>
        </pc:inkChg>
        <pc:inkChg chg="add mod">
          <ac:chgData name="Aniket Chhabra" userId="598e0514-bef3-4e71-b6aa-f2edd6441cff" providerId="ADAL" clId="{36D14C0E-B70E-4281-9AD2-7129A7F7BB3E}" dt="2021-12-10T05:55:51.281" v="516"/>
          <ac:inkMkLst>
            <pc:docMk/>
            <pc:sldMk cId="1253039354" sldId="261"/>
            <ac:inkMk id="64" creationId="{C3EA1C42-92B9-422D-8D7E-4875B3DBDC6D}"/>
          </ac:inkMkLst>
        </pc:inkChg>
        <pc:inkChg chg="add mod">
          <ac:chgData name="Aniket Chhabra" userId="598e0514-bef3-4e71-b6aa-f2edd6441cff" providerId="ADAL" clId="{36D14C0E-B70E-4281-9AD2-7129A7F7BB3E}" dt="2021-12-10T05:55:51.281" v="516"/>
          <ac:inkMkLst>
            <pc:docMk/>
            <pc:sldMk cId="1253039354" sldId="261"/>
            <ac:inkMk id="65" creationId="{66D57C92-C783-49E0-BE1D-55AC24CDBE5C}"/>
          </ac:inkMkLst>
        </pc:inkChg>
        <pc:inkChg chg="add mod">
          <ac:chgData name="Aniket Chhabra" userId="598e0514-bef3-4e71-b6aa-f2edd6441cff" providerId="ADAL" clId="{36D14C0E-B70E-4281-9AD2-7129A7F7BB3E}" dt="2021-12-10T05:55:51.281" v="516"/>
          <ac:inkMkLst>
            <pc:docMk/>
            <pc:sldMk cId="1253039354" sldId="261"/>
            <ac:inkMk id="66" creationId="{CF26D0FD-6DAF-4998-9BF4-BDDF3EF4DFC4}"/>
          </ac:inkMkLst>
        </pc:inkChg>
        <pc:inkChg chg="add mod">
          <ac:chgData name="Aniket Chhabra" userId="598e0514-bef3-4e71-b6aa-f2edd6441cff" providerId="ADAL" clId="{36D14C0E-B70E-4281-9AD2-7129A7F7BB3E}" dt="2021-12-10T05:55:51.281" v="516"/>
          <ac:inkMkLst>
            <pc:docMk/>
            <pc:sldMk cId="1253039354" sldId="261"/>
            <ac:inkMk id="67" creationId="{ACA56749-55DB-46AF-ACC5-862B8FEC3533}"/>
          </ac:inkMkLst>
        </pc:inkChg>
        <pc:inkChg chg="add mod">
          <ac:chgData name="Aniket Chhabra" userId="598e0514-bef3-4e71-b6aa-f2edd6441cff" providerId="ADAL" clId="{36D14C0E-B70E-4281-9AD2-7129A7F7BB3E}" dt="2021-12-10T05:55:51.281" v="516"/>
          <ac:inkMkLst>
            <pc:docMk/>
            <pc:sldMk cId="1253039354" sldId="261"/>
            <ac:inkMk id="68" creationId="{AB809691-8BF3-4157-BF69-07F0B92A07AA}"/>
          </ac:inkMkLst>
        </pc:inkChg>
        <pc:inkChg chg="add mod">
          <ac:chgData name="Aniket Chhabra" userId="598e0514-bef3-4e71-b6aa-f2edd6441cff" providerId="ADAL" clId="{36D14C0E-B70E-4281-9AD2-7129A7F7BB3E}" dt="2021-12-10T05:55:51.281" v="516"/>
          <ac:inkMkLst>
            <pc:docMk/>
            <pc:sldMk cId="1253039354" sldId="261"/>
            <ac:inkMk id="69" creationId="{B85B8AF2-5417-497F-A32C-8A054108752A}"/>
          </ac:inkMkLst>
        </pc:inkChg>
        <pc:inkChg chg="add mod">
          <ac:chgData name="Aniket Chhabra" userId="598e0514-bef3-4e71-b6aa-f2edd6441cff" providerId="ADAL" clId="{36D14C0E-B70E-4281-9AD2-7129A7F7BB3E}" dt="2021-12-10T05:55:51.281" v="516"/>
          <ac:inkMkLst>
            <pc:docMk/>
            <pc:sldMk cId="1253039354" sldId="261"/>
            <ac:inkMk id="70" creationId="{7E7BACD0-5CDC-48C1-8E0A-5065C6665527}"/>
          </ac:inkMkLst>
        </pc:inkChg>
        <pc:inkChg chg="add mod">
          <ac:chgData name="Aniket Chhabra" userId="598e0514-bef3-4e71-b6aa-f2edd6441cff" providerId="ADAL" clId="{36D14C0E-B70E-4281-9AD2-7129A7F7BB3E}" dt="2021-12-10T05:55:51.281" v="516"/>
          <ac:inkMkLst>
            <pc:docMk/>
            <pc:sldMk cId="1253039354" sldId="261"/>
            <ac:inkMk id="71" creationId="{81D634F0-5943-4B0F-9A69-5B93E67FBFAB}"/>
          </ac:inkMkLst>
        </pc:inkChg>
        <pc:inkChg chg="add mod">
          <ac:chgData name="Aniket Chhabra" userId="598e0514-bef3-4e71-b6aa-f2edd6441cff" providerId="ADAL" clId="{36D14C0E-B70E-4281-9AD2-7129A7F7BB3E}" dt="2021-12-10T05:55:58.981" v="530"/>
          <ac:inkMkLst>
            <pc:docMk/>
            <pc:sldMk cId="1253039354" sldId="261"/>
            <ac:inkMk id="74" creationId="{291CF9A2-4725-4EDD-BD55-C54D9E3BD91C}"/>
          </ac:inkMkLst>
        </pc:inkChg>
        <pc:inkChg chg="add mod">
          <ac:chgData name="Aniket Chhabra" userId="598e0514-bef3-4e71-b6aa-f2edd6441cff" providerId="ADAL" clId="{36D14C0E-B70E-4281-9AD2-7129A7F7BB3E}" dt="2021-12-10T05:55:58.981" v="530"/>
          <ac:inkMkLst>
            <pc:docMk/>
            <pc:sldMk cId="1253039354" sldId="261"/>
            <ac:inkMk id="75" creationId="{749D898D-A992-4A09-B234-C02F2136EC12}"/>
          </ac:inkMkLst>
        </pc:inkChg>
        <pc:inkChg chg="add mod">
          <ac:chgData name="Aniket Chhabra" userId="598e0514-bef3-4e71-b6aa-f2edd6441cff" providerId="ADAL" clId="{36D14C0E-B70E-4281-9AD2-7129A7F7BB3E}" dt="2021-12-10T05:55:58.981" v="530"/>
          <ac:inkMkLst>
            <pc:docMk/>
            <pc:sldMk cId="1253039354" sldId="261"/>
            <ac:inkMk id="76" creationId="{17FA56CF-F4DB-4C20-8085-0DF7FA2E8E15}"/>
          </ac:inkMkLst>
        </pc:inkChg>
        <pc:inkChg chg="add mod">
          <ac:chgData name="Aniket Chhabra" userId="598e0514-bef3-4e71-b6aa-f2edd6441cff" providerId="ADAL" clId="{36D14C0E-B70E-4281-9AD2-7129A7F7BB3E}" dt="2021-12-10T05:55:58.981" v="530"/>
          <ac:inkMkLst>
            <pc:docMk/>
            <pc:sldMk cId="1253039354" sldId="261"/>
            <ac:inkMk id="77" creationId="{B2B5F341-5C55-49C5-8F9A-7A4D2D5F73BC}"/>
          </ac:inkMkLst>
        </pc:inkChg>
        <pc:inkChg chg="add mod">
          <ac:chgData name="Aniket Chhabra" userId="598e0514-bef3-4e71-b6aa-f2edd6441cff" providerId="ADAL" clId="{36D14C0E-B70E-4281-9AD2-7129A7F7BB3E}" dt="2021-12-10T05:55:58.981" v="530"/>
          <ac:inkMkLst>
            <pc:docMk/>
            <pc:sldMk cId="1253039354" sldId="261"/>
            <ac:inkMk id="78" creationId="{563AD74F-92F5-4C77-BA02-875DB9934D98}"/>
          </ac:inkMkLst>
        </pc:inkChg>
        <pc:inkChg chg="add mod">
          <ac:chgData name="Aniket Chhabra" userId="598e0514-bef3-4e71-b6aa-f2edd6441cff" providerId="ADAL" clId="{36D14C0E-B70E-4281-9AD2-7129A7F7BB3E}" dt="2021-12-10T05:55:58.981" v="530"/>
          <ac:inkMkLst>
            <pc:docMk/>
            <pc:sldMk cId="1253039354" sldId="261"/>
            <ac:inkMk id="79" creationId="{B347D9B7-8240-4A0A-84D9-84299B6A35A2}"/>
          </ac:inkMkLst>
        </pc:inkChg>
        <pc:inkChg chg="add mod">
          <ac:chgData name="Aniket Chhabra" userId="598e0514-bef3-4e71-b6aa-f2edd6441cff" providerId="ADAL" clId="{36D14C0E-B70E-4281-9AD2-7129A7F7BB3E}" dt="2021-12-10T05:55:58.981" v="530"/>
          <ac:inkMkLst>
            <pc:docMk/>
            <pc:sldMk cId="1253039354" sldId="261"/>
            <ac:inkMk id="81" creationId="{D7F06A4E-E702-418D-B7F9-A2ADCD533272}"/>
          </ac:inkMkLst>
        </pc:inkChg>
        <pc:inkChg chg="add mod">
          <ac:chgData name="Aniket Chhabra" userId="598e0514-bef3-4e71-b6aa-f2edd6441cff" providerId="ADAL" clId="{36D14C0E-B70E-4281-9AD2-7129A7F7BB3E}" dt="2021-12-10T05:55:58.981" v="530"/>
          <ac:inkMkLst>
            <pc:docMk/>
            <pc:sldMk cId="1253039354" sldId="261"/>
            <ac:inkMk id="82" creationId="{ECD4F202-0153-4C91-B289-2A096C3FEAFA}"/>
          </ac:inkMkLst>
        </pc:inkChg>
        <pc:inkChg chg="add mod">
          <ac:chgData name="Aniket Chhabra" userId="598e0514-bef3-4e71-b6aa-f2edd6441cff" providerId="ADAL" clId="{36D14C0E-B70E-4281-9AD2-7129A7F7BB3E}" dt="2021-12-10T05:55:58.981" v="530"/>
          <ac:inkMkLst>
            <pc:docMk/>
            <pc:sldMk cId="1253039354" sldId="261"/>
            <ac:inkMk id="83" creationId="{7FE966A9-B499-4817-B204-FCE23ACD86BE}"/>
          </ac:inkMkLst>
        </pc:inkChg>
        <pc:inkChg chg="add mod">
          <ac:chgData name="Aniket Chhabra" userId="598e0514-bef3-4e71-b6aa-f2edd6441cff" providerId="ADAL" clId="{36D14C0E-B70E-4281-9AD2-7129A7F7BB3E}" dt="2021-12-10T05:55:58.981" v="530"/>
          <ac:inkMkLst>
            <pc:docMk/>
            <pc:sldMk cId="1253039354" sldId="261"/>
            <ac:inkMk id="84" creationId="{D8F9FE73-EF5A-44D6-A8C6-83021FC90C68}"/>
          </ac:inkMkLst>
        </pc:inkChg>
        <pc:inkChg chg="add mod">
          <ac:chgData name="Aniket Chhabra" userId="598e0514-bef3-4e71-b6aa-f2edd6441cff" providerId="ADAL" clId="{36D14C0E-B70E-4281-9AD2-7129A7F7BB3E}" dt="2021-12-10T05:55:58.981" v="530"/>
          <ac:inkMkLst>
            <pc:docMk/>
            <pc:sldMk cId="1253039354" sldId="261"/>
            <ac:inkMk id="85" creationId="{DB90A160-C7C4-47C2-AB97-4FFA5E9A431C}"/>
          </ac:inkMkLst>
        </pc:inkChg>
        <pc:inkChg chg="add">
          <ac:chgData name="Aniket Chhabra" userId="598e0514-bef3-4e71-b6aa-f2edd6441cff" providerId="ADAL" clId="{36D14C0E-B70E-4281-9AD2-7129A7F7BB3E}" dt="2021-12-10T05:55:58.023" v="529" actId="9405"/>
          <ac:inkMkLst>
            <pc:docMk/>
            <pc:sldMk cId="1253039354" sldId="261"/>
            <ac:inkMk id="86" creationId="{EEBE6482-8898-4244-B427-B6887CDC2D27}"/>
          </ac:inkMkLst>
        </pc:inkChg>
        <pc:inkChg chg="add mod">
          <ac:chgData name="Aniket Chhabra" userId="598e0514-bef3-4e71-b6aa-f2edd6441cff" providerId="ADAL" clId="{36D14C0E-B70E-4281-9AD2-7129A7F7BB3E}" dt="2021-12-10T05:56:09.985" v="546"/>
          <ac:inkMkLst>
            <pc:docMk/>
            <pc:sldMk cId="1253039354" sldId="261"/>
            <ac:inkMk id="89" creationId="{89A7E884-7957-4DB7-A94B-4980A4D2DD9E}"/>
          </ac:inkMkLst>
        </pc:inkChg>
        <pc:inkChg chg="add mod">
          <ac:chgData name="Aniket Chhabra" userId="598e0514-bef3-4e71-b6aa-f2edd6441cff" providerId="ADAL" clId="{36D14C0E-B70E-4281-9AD2-7129A7F7BB3E}" dt="2021-12-10T05:56:09.985" v="546"/>
          <ac:inkMkLst>
            <pc:docMk/>
            <pc:sldMk cId="1253039354" sldId="261"/>
            <ac:inkMk id="90" creationId="{941C88C5-DEB5-477B-AAF3-FB536CC6DDD1}"/>
          </ac:inkMkLst>
        </pc:inkChg>
        <pc:inkChg chg="add mod">
          <ac:chgData name="Aniket Chhabra" userId="598e0514-bef3-4e71-b6aa-f2edd6441cff" providerId="ADAL" clId="{36D14C0E-B70E-4281-9AD2-7129A7F7BB3E}" dt="2021-12-10T05:56:09.985" v="546"/>
          <ac:inkMkLst>
            <pc:docMk/>
            <pc:sldMk cId="1253039354" sldId="261"/>
            <ac:inkMk id="91" creationId="{77BA050A-F94A-4D3A-9A19-1E73AB7A74D0}"/>
          </ac:inkMkLst>
        </pc:inkChg>
        <pc:inkChg chg="add mod">
          <ac:chgData name="Aniket Chhabra" userId="598e0514-bef3-4e71-b6aa-f2edd6441cff" providerId="ADAL" clId="{36D14C0E-B70E-4281-9AD2-7129A7F7BB3E}" dt="2021-12-10T05:56:09.985" v="546"/>
          <ac:inkMkLst>
            <pc:docMk/>
            <pc:sldMk cId="1253039354" sldId="261"/>
            <ac:inkMk id="92" creationId="{EB006F58-411F-449E-9039-1D43B5492D6F}"/>
          </ac:inkMkLst>
        </pc:inkChg>
        <pc:inkChg chg="add mod">
          <ac:chgData name="Aniket Chhabra" userId="598e0514-bef3-4e71-b6aa-f2edd6441cff" providerId="ADAL" clId="{36D14C0E-B70E-4281-9AD2-7129A7F7BB3E}" dt="2021-12-10T05:56:09.985" v="546"/>
          <ac:inkMkLst>
            <pc:docMk/>
            <pc:sldMk cId="1253039354" sldId="261"/>
            <ac:inkMk id="93" creationId="{DD52F863-D25B-44AD-B5E8-98B60891C11F}"/>
          </ac:inkMkLst>
        </pc:inkChg>
        <pc:inkChg chg="add mod">
          <ac:chgData name="Aniket Chhabra" userId="598e0514-bef3-4e71-b6aa-f2edd6441cff" providerId="ADAL" clId="{36D14C0E-B70E-4281-9AD2-7129A7F7BB3E}" dt="2021-12-10T05:56:09.985" v="546"/>
          <ac:inkMkLst>
            <pc:docMk/>
            <pc:sldMk cId="1253039354" sldId="261"/>
            <ac:inkMk id="94" creationId="{1371A464-5561-414A-9CF1-5E74C8E31BCB}"/>
          </ac:inkMkLst>
        </pc:inkChg>
        <pc:inkChg chg="add mod">
          <ac:chgData name="Aniket Chhabra" userId="598e0514-bef3-4e71-b6aa-f2edd6441cff" providerId="ADAL" clId="{36D14C0E-B70E-4281-9AD2-7129A7F7BB3E}" dt="2021-12-10T05:56:09.985" v="546"/>
          <ac:inkMkLst>
            <pc:docMk/>
            <pc:sldMk cId="1253039354" sldId="261"/>
            <ac:inkMk id="95" creationId="{BDB6FC48-B788-4EDB-88AE-8418793AA6C4}"/>
          </ac:inkMkLst>
        </pc:inkChg>
        <pc:inkChg chg="add mod">
          <ac:chgData name="Aniket Chhabra" userId="598e0514-bef3-4e71-b6aa-f2edd6441cff" providerId="ADAL" clId="{36D14C0E-B70E-4281-9AD2-7129A7F7BB3E}" dt="2021-12-10T05:56:09.985" v="546"/>
          <ac:inkMkLst>
            <pc:docMk/>
            <pc:sldMk cId="1253039354" sldId="261"/>
            <ac:inkMk id="96" creationId="{93CA17D8-30E3-4FC0-A628-F3B82D886165}"/>
          </ac:inkMkLst>
        </pc:inkChg>
        <pc:inkChg chg="add mod">
          <ac:chgData name="Aniket Chhabra" userId="598e0514-bef3-4e71-b6aa-f2edd6441cff" providerId="ADAL" clId="{36D14C0E-B70E-4281-9AD2-7129A7F7BB3E}" dt="2021-12-10T05:56:09.985" v="546"/>
          <ac:inkMkLst>
            <pc:docMk/>
            <pc:sldMk cId="1253039354" sldId="261"/>
            <ac:inkMk id="97" creationId="{C373B24E-77EE-4D2A-A138-2798E37C0BAB}"/>
          </ac:inkMkLst>
        </pc:inkChg>
        <pc:inkChg chg="add mod">
          <ac:chgData name="Aniket Chhabra" userId="598e0514-bef3-4e71-b6aa-f2edd6441cff" providerId="ADAL" clId="{36D14C0E-B70E-4281-9AD2-7129A7F7BB3E}" dt="2021-12-10T05:56:09.985" v="546"/>
          <ac:inkMkLst>
            <pc:docMk/>
            <pc:sldMk cId="1253039354" sldId="261"/>
            <ac:inkMk id="98" creationId="{180F6C85-52E7-45B8-AEE0-07367D41CC59}"/>
          </ac:inkMkLst>
        </pc:inkChg>
        <pc:inkChg chg="add mod">
          <ac:chgData name="Aniket Chhabra" userId="598e0514-bef3-4e71-b6aa-f2edd6441cff" providerId="ADAL" clId="{36D14C0E-B70E-4281-9AD2-7129A7F7BB3E}" dt="2021-12-10T05:56:09.985" v="546"/>
          <ac:inkMkLst>
            <pc:docMk/>
            <pc:sldMk cId="1253039354" sldId="261"/>
            <ac:inkMk id="99" creationId="{B3CCCCFF-44C0-4E56-AD5C-39A5B8B7F9D6}"/>
          </ac:inkMkLst>
        </pc:inkChg>
        <pc:inkChg chg="add mod">
          <ac:chgData name="Aniket Chhabra" userId="598e0514-bef3-4e71-b6aa-f2edd6441cff" providerId="ADAL" clId="{36D14C0E-B70E-4281-9AD2-7129A7F7BB3E}" dt="2021-12-10T05:56:09.985" v="546"/>
          <ac:inkMkLst>
            <pc:docMk/>
            <pc:sldMk cId="1253039354" sldId="261"/>
            <ac:inkMk id="100" creationId="{7E4D1DB2-0420-423C-99A1-46B0A7919256}"/>
          </ac:inkMkLst>
        </pc:inkChg>
        <pc:inkChg chg="add mod">
          <ac:chgData name="Aniket Chhabra" userId="598e0514-bef3-4e71-b6aa-f2edd6441cff" providerId="ADAL" clId="{36D14C0E-B70E-4281-9AD2-7129A7F7BB3E}" dt="2021-12-10T05:56:09.985" v="546"/>
          <ac:inkMkLst>
            <pc:docMk/>
            <pc:sldMk cId="1253039354" sldId="261"/>
            <ac:inkMk id="101" creationId="{E41D0E3C-7E78-409F-BA36-1E1770875F6C}"/>
          </ac:inkMkLst>
        </pc:inkChg>
        <pc:inkChg chg="add mod">
          <ac:chgData name="Aniket Chhabra" userId="598e0514-bef3-4e71-b6aa-f2edd6441cff" providerId="ADAL" clId="{36D14C0E-B70E-4281-9AD2-7129A7F7BB3E}" dt="2021-12-10T05:56:09.985" v="546"/>
          <ac:inkMkLst>
            <pc:docMk/>
            <pc:sldMk cId="1253039354" sldId="261"/>
            <ac:inkMk id="102" creationId="{6FF45391-6E91-48F4-B0FF-DFAAA621F73D}"/>
          </ac:inkMkLst>
        </pc:inkChg>
        <pc:inkChg chg="add mod">
          <ac:chgData name="Aniket Chhabra" userId="598e0514-bef3-4e71-b6aa-f2edd6441cff" providerId="ADAL" clId="{36D14C0E-B70E-4281-9AD2-7129A7F7BB3E}" dt="2021-12-10T05:56:09.985" v="546"/>
          <ac:inkMkLst>
            <pc:docMk/>
            <pc:sldMk cId="1253039354" sldId="261"/>
            <ac:inkMk id="103" creationId="{359CA3FB-19C6-4D48-BFC5-2F2F5D2BD972}"/>
          </ac:inkMkLst>
        </pc:inkChg>
        <pc:inkChg chg="add del">
          <ac:chgData name="Aniket Chhabra" userId="598e0514-bef3-4e71-b6aa-f2edd6441cff" providerId="ADAL" clId="{36D14C0E-B70E-4281-9AD2-7129A7F7BB3E}" dt="2021-12-10T05:56:15.762" v="548"/>
          <ac:inkMkLst>
            <pc:docMk/>
            <pc:sldMk cId="1253039354" sldId="261"/>
            <ac:inkMk id="105" creationId="{987D60E5-F38B-4B61-8609-3DE1BDD07DBF}"/>
          </ac:inkMkLst>
        </pc:inkChg>
        <pc:inkChg chg="add mod">
          <ac:chgData name="Aniket Chhabra" userId="598e0514-bef3-4e71-b6aa-f2edd6441cff" providerId="ADAL" clId="{36D14C0E-B70E-4281-9AD2-7129A7F7BB3E}" dt="2021-12-10T05:56:19.645" v="556"/>
          <ac:inkMkLst>
            <pc:docMk/>
            <pc:sldMk cId="1253039354" sldId="261"/>
            <ac:inkMk id="106" creationId="{9F6F38AD-F9C4-4002-A89C-511518D4DFF5}"/>
          </ac:inkMkLst>
        </pc:inkChg>
        <pc:inkChg chg="add mod">
          <ac:chgData name="Aniket Chhabra" userId="598e0514-bef3-4e71-b6aa-f2edd6441cff" providerId="ADAL" clId="{36D14C0E-B70E-4281-9AD2-7129A7F7BB3E}" dt="2021-12-10T05:56:19.645" v="556"/>
          <ac:inkMkLst>
            <pc:docMk/>
            <pc:sldMk cId="1253039354" sldId="261"/>
            <ac:inkMk id="107" creationId="{D3777477-6C00-497E-A6F1-67BBB536BC67}"/>
          </ac:inkMkLst>
        </pc:inkChg>
        <pc:inkChg chg="add mod">
          <ac:chgData name="Aniket Chhabra" userId="598e0514-bef3-4e71-b6aa-f2edd6441cff" providerId="ADAL" clId="{36D14C0E-B70E-4281-9AD2-7129A7F7BB3E}" dt="2021-12-10T05:56:19.645" v="556"/>
          <ac:inkMkLst>
            <pc:docMk/>
            <pc:sldMk cId="1253039354" sldId="261"/>
            <ac:inkMk id="108" creationId="{7E695B44-A364-488A-B119-B491F39D2578}"/>
          </ac:inkMkLst>
        </pc:inkChg>
        <pc:inkChg chg="add mod">
          <ac:chgData name="Aniket Chhabra" userId="598e0514-bef3-4e71-b6aa-f2edd6441cff" providerId="ADAL" clId="{36D14C0E-B70E-4281-9AD2-7129A7F7BB3E}" dt="2021-12-10T05:56:19.645" v="556"/>
          <ac:inkMkLst>
            <pc:docMk/>
            <pc:sldMk cId="1253039354" sldId="261"/>
            <ac:inkMk id="109" creationId="{5C082616-AF72-42F1-8B28-F5439BF11781}"/>
          </ac:inkMkLst>
        </pc:inkChg>
        <pc:inkChg chg="add mod">
          <ac:chgData name="Aniket Chhabra" userId="598e0514-bef3-4e71-b6aa-f2edd6441cff" providerId="ADAL" clId="{36D14C0E-B70E-4281-9AD2-7129A7F7BB3E}" dt="2021-12-10T05:56:19.645" v="556"/>
          <ac:inkMkLst>
            <pc:docMk/>
            <pc:sldMk cId="1253039354" sldId="261"/>
            <ac:inkMk id="110" creationId="{726EE6F5-42DD-45B9-A2A5-F412B7C31D6A}"/>
          </ac:inkMkLst>
        </pc:inkChg>
        <pc:inkChg chg="add mod">
          <ac:chgData name="Aniket Chhabra" userId="598e0514-bef3-4e71-b6aa-f2edd6441cff" providerId="ADAL" clId="{36D14C0E-B70E-4281-9AD2-7129A7F7BB3E}" dt="2021-12-10T05:56:19.645" v="556"/>
          <ac:inkMkLst>
            <pc:docMk/>
            <pc:sldMk cId="1253039354" sldId="261"/>
            <ac:inkMk id="111" creationId="{4D5F63A7-54FB-4D57-8BBA-21FBB837C5D6}"/>
          </ac:inkMkLst>
        </pc:inkChg>
        <pc:inkChg chg="add mod">
          <ac:chgData name="Aniket Chhabra" userId="598e0514-bef3-4e71-b6aa-f2edd6441cff" providerId="ADAL" clId="{36D14C0E-B70E-4281-9AD2-7129A7F7BB3E}" dt="2021-12-10T05:56:19.645" v="556"/>
          <ac:inkMkLst>
            <pc:docMk/>
            <pc:sldMk cId="1253039354" sldId="261"/>
            <ac:inkMk id="112" creationId="{27EDFEDB-C4F1-4FD0-A930-638EF06F3E44}"/>
          </ac:inkMkLst>
        </pc:inkChg>
        <pc:inkChg chg="add del">
          <ac:chgData name="Aniket Chhabra" userId="598e0514-bef3-4e71-b6aa-f2edd6441cff" providerId="ADAL" clId="{36D14C0E-B70E-4281-9AD2-7129A7F7BB3E}" dt="2021-12-10T05:56:28.549" v="558"/>
          <ac:inkMkLst>
            <pc:docMk/>
            <pc:sldMk cId="1253039354" sldId="261"/>
            <ac:inkMk id="114" creationId="{4E7C8C65-E3FC-4AD9-8B64-BB2A6E3CA3C9}"/>
          </ac:inkMkLst>
        </pc:inkChg>
        <pc:inkChg chg="add mod">
          <ac:chgData name="Aniket Chhabra" userId="598e0514-bef3-4e71-b6aa-f2edd6441cff" providerId="ADAL" clId="{36D14C0E-B70E-4281-9AD2-7129A7F7BB3E}" dt="2021-12-10T05:56:35.599" v="568"/>
          <ac:inkMkLst>
            <pc:docMk/>
            <pc:sldMk cId="1253039354" sldId="261"/>
            <ac:inkMk id="115" creationId="{AA304B87-5CB6-49FC-AA18-4B15906865EE}"/>
          </ac:inkMkLst>
        </pc:inkChg>
        <pc:inkChg chg="add mod">
          <ac:chgData name="Aniket Chhabra" userId="598e0514-bef3-4e71-b6aa-f2edd6441cff" providerId="ADAL" clId="{36D14C0E-B70E-4281-9AD2-7129A7F7BB3E}" dt="2021-12-10T05:56:35.599" v="568"/>
          <ac:inkMkLst>
            <pc:docMk/>
            <pc:sldMk cId="1253039354" sldId="261"/>
            <ac:inkMk id="116" creationId="{0E9BF4C4-27A3-402C-98CC-1219CF416A42}"/>
          </ac:inkMkLst>
        </pc:inkChg>
        <pc:inkChg chg="add mod">
          <ac:chgData name="Aniket Chhabra" userId="598e0514-bef3-4e71-b6aa-f2edd6441cff" providerId="ADAL" clId="{36D14C0E-B70E-4281-9AD2-7129A7F7BB3E}" dt="2021-12-10T05:56:35.599" v="568"/>
          <ac:inkMkLst>
            <pc:docMk/>
            <pc:sldMk cId="1253039354" sldId="261"/>
            <ac:inkMk id="117" creationId="{DE14AB66-226D-4B52-9156-1ED0B130395D}"/>
          </ac:inkMkLst>
        </pc:inkChg>
        <pc:inkChg chg="add mod">
          <ac:chgData name="Aniket Chhabra" userId="598e0514-bef3-4e71-b6aa-f2edd6441cff" providerId="ADAL" clId="{36D14C0E-B70E-4281-9AD2-7129A7F7BB3E}" dt="2021-12-10T05:56:35.599" v="568"/>
          <ac:inkMkLst>
            <pc:docMk/>
            <pc:sldMk cId="1253039354" sldId="261"/>
            <ac:inkMk id="118" creationId="{D671A58B-68C4-49BD-A4DE-1FF7A13103FC}"/>
          </ac:inkMkLst>
        </pc:inkChg>
        <pc:inkChg chg="add mod">
          <ac:chgData name="Aniket Chhabra" userId="598e0514-bef3-4e71-b6aa-f2edd6441cff" providerId="ADAL" clId="{36D14C0E-B70E-4281-9AD2-7129A7F7BB3E}" dt="2021-12-10T05:56:35.599" v="568"/>
          <ac:inkMkLst>
            <pc:docMk/>
            <pc:sldMk cId="1253039354" sldId="261"/>
            <ac:inkMk id="119" creationId="{5899493C-9F75-4CF8-B96B-BD95C464292B}"/>
          </ac:inkMkLst>
        </pc:inkChg>
        <pc:inkChg chg="add mod">
          <ac:chgData name="Aniket Chhabra" userId="598e0514-bef3-4e71-b6aa-f2edd6441cff" providerId="ADAL" clId="{36D14C0E-B70E-4281-9AD2-7129A7F7BB3E}" dt="2021-12-10T05:56:35.599" v="568"/>
          <ac:inkMkLst>
            <pc:docMk/>
            <pc:sldMk cId="1253039354" sldId="261"/>
            <ac:inkMk id="120" creationId="{C2F82138-8984-4593-B8B6-E392419281C5}"/>
          </ac:inkMkLst>
        </pc:inkChg>
        <pc:inkChg chg="add mod">
          <ac:chgData name="Aniket Chhabra" userId="598e0514-bef3-4e71-b6aa-f2edd6441cff" providerId="ADAL" clId="{36D14C0E-B70E-4281-9AD2-7129A7F7BB3E}" dt="2021-12-10T05:56:35.599" v="568"/>
          <ac:inkMkLst>
            <pc:docMk/>
            <pc:sldMk cId="1253039354" sldId="261"/>
            <ac:inkMk id="121" creationId="{ED997A7C-EF27-4835-ADEE-C17F28663FFA}"/>
          </ac:inkMkLst>
        </pc:inkChg>
        <pc:inkChg chg="add mod">
          <ac:chgData name="Aniket Chhabra" userId="598e0514-bef3-4e71-b6aa-f2edd6441cff" providerId="ADAL" clId="{36D14C0E-B70E-4281-9AD2-7129A7F7BB3E}" dt="2021-12-10T05:56:35.599" v="568"/>
          <ac:inkMkLst>
            <pc:docMk/>
            <pc:sldMk cId="1253039354" sldId="261"/>
            <ac:inkMk id="122" creationId="{423FA30A-D818-4B63-95D4-AAFFF5B1A6FB}"/>
          </ac:inkMkLst>
        </pc:inkChg>
        <pc:inkChg chg="add mod">
          <ac:chgData name="Aniket Chhabra" userId="598e0514-bef3-4e71-b6aa-f2edd6441cff" providerId="ADAL" clId="{36D14C0E-B70E-4281-9AD2-7129A7F7BB3E}" dt="2021-12-10T05:56:35.599" v="568"/>
          <ac:inkMkLst>
            <pc:docMk/>
            <pc:sldMk cId="1253039354" sldId="261"/>
            <ac:inkMk id="123" creationId="{6597AC6B-99B4-4410-8992-2247E10B0A4D}"/>
          </ac:inkMkLst>
        </pc:inkChg>
      </pc:sldChg>
      <pc:sldChg chg="addSp delSp modSp add mod">
        <pc:chgData name="Aniket Chhabra" userId="598e0514-bef3-4e71-b6aa-f2edd6441cff" providerId="ADAL" clId="{36D14C0E-B70E-4281-9AD2-7129A7F7BB3E}" dt="2021-12-11T13:45:06.906" v="1783"/>
        <pc:sldMkLst>
          <pc:docMk/>
          <pc:sldMk cId="1008925704" sldId="262"/>
        </pc:sldMkLst>
        <pc:grpChg chg="mod">
          <ac:chgData name="Aniket Chhabra" userId="598e0514-bef3-4e71-b6aa-f2edd6441cff" providerId="ADAL" clId="{36D14C0E-B70E-4281-9AD2-7129A7F7BB3E}" dt="2021-12-10T05:58:02.906" v="579"/>
          <ac:grpSpMkLst>
            <pc:docMk/>
            <pc:sldMk cId="1008925704" sldId="262"/>
            <ac:grpSpMk id="10" creationId="{1FA659E5-C7CF-4B96-855A-9124B65DF12E}"/>
          </ac:grpSpMkLst>
        </pc:grpChg>
        <pc:grpChg chg="mod">
          <ac:chgData name="Aniket Chhabra" userId="598e0514-bef3-4e71-b6aa-f2edd6441cff" providerId="ADAL" clId="{36D14C0E-B70E-4281-9AD2-7129A7F7BB3E}" dt="2021-12-10T05:58:10.159" v="592"/>
          <ac:grpSpMkLst>
            <pc:docMk/>
            <pc:sldMk cId="1008925704" sldId="262"/>
            <ac:grpSpMk id="19" creationId="{3697CAF6-8B79-44A6-8B4D-68FCDC7B0BE9}"/>
          </ac:grpSpMkLst>
        </pc:grpChg>
        <pc:grpChg chg="mod">
          <ac:chgData name="Aniket Chhabra" userId="598e0514-bef3-4e71-b6aa-f2edd6441cff" providerId="ADAL" clId="{36D14C0E-B70E-4281-9AD2-7129A7F7BB3E}" dt="2021-12-10T05:58:17.318" v="601"/>
          <ac:grpSpMkLst>
            <pc:docMk/>
            <pc:sldMk cId="1008925704" sldId="262"/>
            <ac:grpSpMk id="27" creationId="{9B03C391-ABBB-43C3-949F-12A8694254E9}"/>
          </ac:grpSpMkLst>
        </pc:grpChg>
        <pc:grpChg chg="del mod">
          <ac:chgData name="Aniket Chhabra" userId="598e0514-bef3-4e71-b6aa-f2edd6441cff" providerId="ADAL" clId="{36D14C0E-B70E-4281-9AD2-7129A7F7BB3E}" dt="2021-12-10T05:58:31.476" v="626"/>
          <ac:grpSpMkLst>
            <pc:docMk/>
            <pc:sldMk cId="1008925704" sldId="262"/>
            <ac:grpSpMk id="31" creationId="{E83D9D65-E63B-47DF-876E-12FB0EF74E3B}"/>
          </ac:grpSpMkLst>
        </pc:grpChg>
        <pc:grpChg chg="del mod">
          <ac:chgData name="Aniket Chhabra" userId="598e0514-bef3-4e71-b6aa-f2edd6441cff" providerId="ADAL" clId="{36D14C0E-B70E-4281-9AD2-7129A7F7BB3E}" dt="2021-12-10T05:58:26.823" v="616"/>
          <ac:grpSpMkLst>
            <pc:docMk/>
            <pc:sldMk cId="1008925704" sldId="262"/>
            <ac:grpSpMk id="37" creationId="{4464D222-FAC0-40E6-8034-3EB58E9597F5}"/>
          </ac:grpSpMkLst>
        </pc:grpChg>
        <pc:grpChg chg="del mod">
          <ac:chgData name="Aniket Chhabra" userId="598e0514-bef3-4e71-b6aa-f2edd6441cff" providerId="ADAL" clId="{36D14C0E-B70E-4281-9AD2-7129A7F7BB3E}" dt="2021-12-10T05:58:31.476" v="626"/>
          <ac:grpSpMkLst>
            <pc:docMk/>
            <pc:sldMk cId="1008925704" sldId="262"/>
            <ac:grpSpMk id="42" creationId="{1BD6A351-3D26-47B2-A127-1EC3283822CA}"/>
          </ac:grpSpMkLst>
        </pc:grpChg>
        <pc:grpChg chg="del mod">
          <ac:chgData name="Aniket Chhabra" userId="598e0514-bef3-4e71-b6aa-f2edd6441cff" providerId="ADAL" clId="{36D14C0E-B70E-4281-9AD2-7129A7F7BB3E}" dt="2021-12-10T05:58:33.939" v="629"/>
          <ac:grpSpMkLst>
            <pc:docMk/>
            <pc:sldMk cId="1008925704" sldId="262"/>
            <ac:grpSpMk id="51" creationId="{94DDD47E-ADA7-497C-978B-1C76459D16BE}"/>
          </ac:grpSpMkLst>
        </pc:grpChg>
        <pc:grpChg chg="del mod">
          <ac:chgData name="Aniket Chhabra" userId="598e0514-bef3-4e71-b6aa-f2edd6441cff" providerId="ADAL" clId="{36D14C0E-B70E-4281-9AD2-7129A7F7BB3E}" dt="2021-12-10T05:58:42.046" v="638"/>
          <ac:grpSpMkLst>
            <pc:docMk/>
            <pc:sldMk cId="1008925704" sldId="262"/>
            <ac:grpSpMk id="54" creationId="{806356F8-3368-4FEE-AE0E-AFB85A8E686D}"/>
          </ac:grpSpMkLst>
        </pc:grpChg>
        <pc:grpChg chg="del mod">
          <ac:chgData name="Aniket Chhabra" userId="598e0514-bef3-4e71-b6aa-f2edd6441cff" providerId="ADAL" clId="{36D14C0E-B70E-4281-9AD2-7129A7F7BB3E}" dt="2021-12-10T05:58:45.158" v="645"/>
          <ac:grpSpMkLst>
            <pc:docMk/>
            <pc:sldMk cId="1008925704" sldId="262"/>
            <ac:grpSpMk id="61" creationId="{3423DDFB-2D28-46FD-B0F6-6FFA9D560AB6}"/>
          </ac:grpSpMkLst>
        </pc:grpChg>
        <pc:grpChg chg="del mod">
          <ac:chgData name="Aniket Chhabra" userId="598e0514-bef3-4e71-b6aa-f2edd6441cff" providerId="ADAL" clId="{36D14C0E-B70E-4281-9AD2-7129A7F7BB3E}" dt="2021-12-10T05:58:48.056" v="650"/>
          <ac:grpSpMkLst>
            <pc:docMk/>
            <pc:sldMk cId="1008925704" sldId="262"/>
            <ac:grpSpMk id="66" creationId="{1E02B730-B03B-43E8-8CD6-DDF497CAE7DD}"/>
          </ac:grpSpMkLst>
        </pc:grpChg>
        <pc:grpChg chg="mod">
          <ac:chgData name="Aniket Chhabra" userId="598e0514-bef3-4e71-b6aa-f2edd6441cff" providerId="ADAL" clId="{36D14C0E-B70E-4281-9AD2-7129A7F7BB3E}" dt="2021-12-10T05:58:48.056" v="650"/>
          <ac:grpSpMkLst>
            <pc:docMk/>
            <pc:sldMk cId="1008925704" sldId="262"/>
            <ac:grpSpMk id="71" creationId="{A9587140-E3FE-4665-B9AF-AA5433F5767F}"/>
          </ac:grpSpMkLst>
        </pc:grpChg>
        <pc:grpChg chg="mod">
          <ac:chgData name="Aniket Chhabra" userId="598e0514-bef3-4e71-b6aa-f2edd6441cff" providerId="ADAL" clId="{36D14C0E-B70E-4281-9AD2-7129A7F7BB3E}" dt="2021-12-10T05:59:04.804" v="658"/>
          <ac:grpSpMkLst>
            <pc:docMk/>
            <pc:sldMk cId="1008925704" sldId="262"/>
            <ac:grpSpMk id="79" creationId="{2FC1C42E-D102-4266-9120-C90668225B88}"/>
          </ac:grpSpMkLst>
        </pc:grpChg>
        <pc:picChg chg="del">
          <ac:chgData name="Aniket Chhabra" userId="598e0514-bef3-4e71-b6aa-f2edd6441cff" providerId="ADAL" clId="{36D14C0E-B70E-4281-9AD2-7129A7F7BB3E}" dt="2021-12-10T05:03:52.192" v="20" actId="478"/>
          <ac:picMkLst>
            <pc:docMk/>
            <pc:sldMk cId="1008925704" sldId="262"/>
            <ac:picMk id="3" creationId="{74D5911B-3428-4C79-9D34-2C83482013AF}"/>
          </ac:picMkLst>
        </pc:picChg>
        <pc:picChg chg="add del">
          <ac:chgData name="Aniket Chhabra" userId="598e0514-bef3-4e71-b6aa-f2edd6441cff" providerId="ADAL" clId="{36D14C0E-B70E-4281-9AD2-7129A7F7BB3E}" dt="2021-12-10T05:57:48.319" v="571" actId="478"/>
          <ac:picMkLst>
            <pc:docMk/>
            <pc:sldMk cId="1008925704" sldId="262"/>
            <ac:picMk id="4" creationId="{6B00E0DC-B4E7-44C0-B0A6-105711508C68}"/>
          </ac:picMkLst>
        </pc:picChg>
        <pc:picChg chg="add mod">
          <ac:chgData name="Aniket Chhabra" userId="598e0514-bef3-4e71-b6aa-f2edd6441cff" providerId="ADAL" clId="{36D14C0E-B70E-4281-9AD2-7129A7F7BB3E}" dt="2021-12-10T05:57:54.198" v="576" actId="1076"/>
          <ac:picMkLst>
            <pc:docMk/>
            <pc:sldMk cId="1008925704" sldId="262"/>
            <ac:picMk id="7" creationId="{70DF75B6-9B00-4F04-9D5D-D259FD3BEC39}"/>
          </ac:picMkLst>
        </pc:picChg>
        <pc:inkChg chg="add">
          <ac:chgData name="Aniket Chhabra" userId="598e0514-bef3-4e71-b6aa-f2edd6441cff" providerId="ADAL" clId="{36D14C0E-B70E-4281-9AD2-7129A7F7BB3E}" dt="2021-12-11T13:45:06.906" v="1783"/>
          <ac:inkMkLst>
            <pc:docMk/>
            <pc:sldMk cId="1008925704" sldId="262"/>
            <ac:inkMk id="2" creationId="{33C4A1BC-D91B-4824-B16B-166F644BDA8A}"/>
          </ac:inkMkLst>
        </pc:inkChg>
        <pc:inkChg chg="add mod">
          <ac:chgData name="Aniket Chhabra" userId="598e0514-bef3-4e71-b6aa-f2edd6441cff" providerId="ADAL" clId="{36D14C0E-B70E-4281-9AD2-7129A7F7BB3E}" dt="2021-12-10T05:58:02.906" v="579"/>
          <ac:inkMkLst>
            <pc:docMk/>
            <pc:sldMk cId="1008925704" sldId="262"/>
            <ac:inkMk id="8" creationId="{6715BA5A-9382-4DE6-9A54-70DB38FAF2D9}"/>
          </ac:inkMkLst>
        </pc:inkChg>
        <pc:inkChg chg="add mod">
          <ac:chgData name="Aniket Chhabra" userId="598e0514-bef3-4e71-b6aa-f2edd6441cff" providerId="ADAL" clId="{36D14C0E-B70E-4281-9AD2-7129A7F7BB3E}" dt="2021-12-10T05:58:02.906" v="579"/>
          <ac:inkMkLst>
            <pc:docMk/>
            <pc:sldMk cId="1008925704" sldId="262"/>
            <ac:inkMk id="9" creationId="{72055A63-4378-4714-ABD0-DC69D2BA15EE}"/>
          </ac:inkMkLst>
        </pc:inkChg>
        <pc:inkChg chg="add mod">
          <ac:chgData name="Aniket Chhabra" userId="598e0514-bef3-4e71-b6aa-f2edd6441cff" providerId="ADAL" clId="{36D14C0E-B70E-4281-9AD2-7129A7F7BB3E}" dt="2021-12-10T05:58:10.159" v="592"/>
          <ac:inkMkLst>
            <pc:docMk/>
            <pc:sldMk cId="1008925704" sldId="262"/>
            <ac:inkMk id="11" creationId="{855EF77D-46EC-46D8-BFF4-DF44AABBBF8E}"/>
          </ac:inkMkLst>
        </pc:inkChg>
        <pc:inkChg chg="add mod">
          <ac:chgData name="Aniket Chhabra" userId="598e0514-bef3-4e71-b6aa-f2edd6441cff" providerId="ADAL" clId="{36D14C0E-B70E-4281-9AD2-7129A7F7BB3E}" dt="2021-12-10T05:58:10.159" v="592"/>
          <ac:inkMkLst>
            <pc:docMk/>
            <pc:sldMk cId="1008925704" sldId="262"/>
            <ac:inkMk id="12" creationId="{DEF98E69-8A7A-4EA9-9DD1-B50020B8761A}"/>
          </ac:inkMkLst>
        </pc:inkChg>
        <pc:inkChg chg="add mod">
          <ac:chgData name="Aniket Chhabra" userId="598e0514-bef3-4e71-b6aa-f2edd6441cff" providerId="ADAL" clId="{36D14C0E-B70E-4281-9AD2-7129A7F7BB3E}" dt="2021-12-10T05:58:10.159" v="592"/>
          <ac:inkMkLst>
            <pc:docMk/>
            <pc:sldMk cId="1008925704" sldId="262"/>
            <ac:inkMk id="13" creationId="{CAF51DD2-A994-4F94-94F9-35C0A9765A7E}"/>
          </ac:inkMkLst>
        </pc:inkChg>
        <pc:inkChg chg="add del">
          <ac:chgData name="Aniket Chhabra" userId="598e0514-bef3-4e71-b6aa-f2edd6441cff" providerId="ADAL" clId="{36D14C0E-B70E-4281-9AD2-7129A7F7BB3E}" dt="2021-12-10T05:58:09.901" v="590"/>
          <ac:inkMkLst>
            <pc:docMk/>
            <pc:sldMk cId="1008925704" sldId="262"/>
            <ac:inkMk id="14" creationId="{F087B524-982C-48D9-B786-E7968E9EEB72}"/>
          </ac:inkMkLst>
        </pc:inkChg>
        <pc:inkChg chg="add del">
          <ac:chgData name="Aniket Chhabra" userId="598e0514-bef3-4e71-b6aa-f2edd6441cff" providerId="ADAL" clId="{36D14C0E-B70E-4281-9AD2-7129A7F7BB3E}" dt="2021-12-10T05:58:09.902" v="591"/>
          <ac:inkMkLst>
            <pc:docMk/>
            <pc:sldMk cId="1008925704" sldId="262"/>
            <ac:inkMk id="15" creationId="{C203E33B-9807-40B1-9770-0967082B1383}"/>
          </ac:inkMkLst>
        </pc:inkChg>
        <pc:inkChg chg="add del mod">
          <ac:chgData name="Aniket Chhabra" userId="598e0514-bef3-4e71-b6aa-f2edd6441cff" providerId="ADAL" clId="{36D14C0E-B70E-4281-9AD2-7129A7F7BB3E}" dt="2021-12-10T05:58:11.237" v="593"/>
          <ac:inkMkLst>
            <pc:docMk/>
            <pc:sldMk cId="1008925704" sldId="262"/>
            <ac:inkMk id="16" creationId="{F0CDAA65-8147-42EB-8AB7-C48F771729A7}"/>
          </ac:inkMkLst>
        </pc:inkChg>
        <pc:inkChg chg="add del">
          <ac:chgData name="Aniket Chhabra" userId="598e0514-bef3-4e71-b6aa-f2edd6441cff" providerId="ADAL" clId="{36D14C0E-B70E-4281-9AD2-7129A7F7BB3E}" dt="2021-12-10T05:58:09.900" v="589"/>
          <ac:inkMkLst>
            <pc:docMk/>
            <pc:sldMk cId="1008925704" sldId="262"/>
            <ac:inkMk id="17" creationId="{B15EFAC8-A582-4BF2-8525-A4A1EB5A89CE}"/>
          </ac:inkMkLst>
        </pc:inkChg>
        <pc:inkChg chg="add">
          <ac:chgData name="Aniket Chhabra" userId="598e0514-bef3-4e71-b6aa-f2edd6441cff" providerId="ADAL" clId="{36D14C0E-B70E-4281-9AD2-7129A7F7BB3E}" dt="2021-12-10T05:58:08.641" v="587" actId="9405"/>
          <ac:inkMkLst>
            <pc:docMk/>
            <pc:sldMk cId="1008925704" sldId="262"/>
            <ac:inkMk id="18" creationId="{05EF76F0-1317-4353-B8E5-FDFA876B26A0}"/>
          </ac:inkMkLst>
        </pc:inkChg>
        <pc:inkChg chg="add mod">
          <ac:chgData name="Aniket Chhabra" userId="598e0514-bef3-4e71-b6aa-f2edd6441cff" providerId="ADAL" clId="{36D14C0E-B70E-4281-9AD2-7129A7F7BB3E}" dt="2021-12-10T05:58:17.318" v="601"/>
          <ac:inkMkLst>
            <pc:docMk/>
            <pc:sldMk cId="1008925704" sldId="262"/>
            <ac:inkMk id="20" creationId="{19FD5BEC-4BBD-4910-BCAE-04E842691F6E}"/>
          </ac:inkMkLst>
        </pc:inkChg>
        <pc:inkChg chg="add mod">
          <ac:chgData name="Aniket Chhabra" userId="598e0514-bef3-4e71-b6aa-f2edd6441cff" providerId="ADAL" clId="{36D14C0E-B70E-4281-9AD2-7129A7F7BB3E}" dt="2021-12-10T05:58:17.318" v="601"/>
          <ac:inkMkLst>
            <pc:docMk/>
            <pc:sldMk cId="1008925704" sldId="262"/>
            <ac:inkMk id="21" creationId="{E6CE9372-93A8-47F4-BCA4-C2E2AC05D70D}"/>
          </ac:inkMkLst>
        </pc:inkChg>
        <pc:inkChg chg="add mod">
          <ac:chgData name="Aniket Chhabra" userId="598e0514-bef3-4e71-b6aa-f2edd6441cff" providerId="ADAL" clId="{36D14C0E-B70E-4281-9AD2-7129A7F7BB3E}" dt="2021-12-10T05:58:17.318" v="601"/>
          <ac:inkMkLst>
            <pc:docMk/>
            <pc:sldMk cId="1008925704" sldId="262"/>
            <ac:inkMk id="22" creationId="{99961820-2050-415A-804B-6CC0FC3F7B8E}"/>
          </ac:inkMkLst>
        </pc:inkChg>
        <pc:inkChg chg="add mod">
          <ac:chgData name="Aniket Chhabra" userId="598e0514-bef3-4e71-b6aa-f2edd6441cff" providerId="ADAL" clId="{36D14C0E-B70E-4281-9AD2-7129A7F7BB3E}" dt="2021-12-10T05:58:17.318" v="601"/>
          <ac:inkMkLst>
            <pc:docMk/>
            <pc:sldMk cId="1008925704" sldId="262"/>
            <ac:inkMk id="23" creationId="{27310EEC-F218-4C31-8571-75D22E27BBBE}"/>
          </ac:inkMkLst>
        </pc:inkChg>
        <pc:inkChg chg="add mod">
          <ac:chgData name="Aniket Chhabra" userId="598e0514-bef3-4e71-b6aa-f2edd6441cff" providerId="ADAL" clId="{36D14C0E-B70E-4281-9AD2-7129A7F7BB3E}" dt="2021-12-10T05:58:17.318" v="601"/>
          <ac:inkMkLst>
            <pc:docMk/>
            <pc:sldMk cId="1008925704" sldId="262"/>
            <ac:inkMk id="24" creationId="{D56E6070-CC1F-4BB1-810C-762016FDAC8C}"/>
          </ac:inkMkLst>
        </pc:inkChg>
        <pc:inkChg chg="add mod">
          <ac:chgData name="Aniket Chhabra" userId="598e0514-bef3-4e71-b6aa-f2edd6441cff" providerId="ADAL" clId="{36D14C0E-B70E-4281-9AD2-7129A7F7BB3E}" dt="2021-12-10T05:58:17.318" v="601"/>
          <ac:inkMkLst>
            <pc:docMk/>
            <pc:sldMk cId="1008925704" sldId="262"/>
            <ac:inkMk id="25" creationId="{D23908CF-8C71-4119-A401-5DBDF6FFA5A8}"/>
          </ac:inkMkLst>
        </pc:inkChg>
        <pc:inkChg chg="add mod">
          <ac:chgData name="Aniket Chhabra" userId="598e0514-bef3-4e71-b6aa-f2edd6441cff" providerId="ADAL" clId="{36D14C0E-B70E-4281-9AD2-7129A7F7BB3E}" dt="2021-12-10T05:58:17.318" v="601"/>
          <ac:inkMkLst>
            <pc:docMk/>
            <pc:sldMk cId="1008925704" sldId="262"/>
            <ac:inkMk id="26" creationId="{F1E32468-BA52-46C3-9385-5C74984EBB04}"/>
          </ac:inkMkLst>
        </pc:inkChg>
        <pc:inkChg chg="add mod">
          <ac:chgData name="Aniket Chhabra" userId="598e0514-bef3-4e71-b6aa-f2edd6441cff" providerId="ADAL" clId="{36D14C0E-B70E-4281-9AD2-7129A7F7BB3E}" dt="2021-12-10T05:58:48.056" v="650"/>
          <ac:inkMkLst>
            <pc:docMk/>
            <pc:sldMk cId="1008925704" sldId="262"/>
            <ac:inkMk id="28" creationId="{649AF58C-DDCB-4068-A250-74856FC64E2E}"/>
          </ac:inkMkLst>
        </pc:inkChg>
        <pc:inkChg chg="add mod">
          <ac:chgData name="Aniket Chhabra" userId="598e0514-bef3-4e71-b6aa-f2edd6441cff" providerId="ADAL" clId="{36D14C0E-B70E-4281-9AD2-7129A7F7BB3E}" dt="2021-12-10T05:58:48.056" v="650"/>
          <ac:inkMkLst>
            <pc:docMk/>
            <pc:sldMk cId="1008925704" sldId="262"/>
            <ac:inkMk id="29" creationId="{6D0EBF84-A84C-426E-A582-F1C94D0E21B8}"/>
          </ac:inkMkLst>
        </pc:inkChg>
        <pc:inkChg chg="add mod">
          <ac:chgData name="Aniket Chhabra" userId="598e0514-bef3-4e71-b6aa-f2edd6441cff" providerId="ADAL" clId="{36D14C0E-B70E-4281-9AD2-7129A7F7BB3E}" dt="2021-12-10T05:58:48.056" v="650"/>
          <ac:inkMkLst>
            <pc:docMk/>
            <pc:sldMk cId="1008925704" sldId="262"/>
            <ac:inkMk id="30" creationId="{0DBAD2EC-67D6-4891-B906-57DCEB5E06CD}"/>
          </ac:inkMkLst>
        </pc:inkChg>
        <pc:inkChg chg="add mod">
          <ac:chgData name="Aniket Chhabra" userId="598e0514-bef3-4e71-b6aa-f2edd6441cff" providerId="ADAL" clId="{36D14C0E-B70E-4281-9AD2-7129A7F7BB3E}" dt="2021-12-10T05:58:48.056" v="650"/>
          <ac:inkMkLst>
            <pc:docMk/>
            <pc:sldMk cId="1008925704" sldId="262"/>
            <ac:inkMk id="32" creationId="{9254828E-5F4C-4667-9AB9-A1AA7C327F4D}"/>
          </ac:inkMkLst>
        </pc:inkChg>
        <pc:inkChg chg="add mod">
          <ac:chgData name="Aniket Chhabra" userId="598e0514-bef3-4e71-b6aa-f2edd6441cff" providerId="ADAL" clId="{36D14C0E-B70E-4281-9AD2-7129A7F7BB3E}" dt="2021-12-10T05:58:48.056" v="650"/>
          <ac:inkMkLst>
            <pc:docMk/>
            <pc:sldMk cId="1008925704" sldId="262"/>
            <ac:inkMk id="33" creationId="{344C6D92-16F4-4F93-983B-4DCB273BA72E}"/>
          </ac:inkMkLst>
        </pc:inkChg>
        <pc:inkChg chg="add mod">
          <ac:chgData name="Aniket Chhabra" userId="598e0514-bef3-4e71-b6aa-f2edd6441cff" providerId="ADAL" clId="{36D14C0E-B70E-4281-9AD2-7129A7F7BB3E}" dt="2021-12-10T05:58:48.056" v="650"/>
          <ac:inkMkLst>
            <pc:docMk/>
            <pc:sldMk cId="1008925704" sldId="262"/>
            <ac:inkMk id="34" creationId="{6673FF7A-B725-45F7-8E9A-DAE308273BBA}"/>
          </ac:inkMkLst>
        </pc:inkChg>
        <pc:inkChg chg="add mod">
          <ac:chgData name="Aniket Chhabra" userId="598e0514-bef3-4e71-b6aa-f2edd6441cff" providerId="ADAL" clId="{36D14C0E-B70E-4281-9AD2-7129A7F7BB3E}" dt="2021-12-10T05:58:48.056" v="650"/>
          <ac:inkMkLst>
            <pc:docMk/>
            <pc:sldMk cId="1008925704" sldId="262"/>
            <ac:inkMk id="35" creationId="{A9823244-8419-44FD-B70E-AE82A19D636D}"/>
          </ac:inkMkLst>
        </pc:inkChg>
        <pc:inkChg chg="add mod">
          <ac:chgData name="Aniket Chhabra" userId="598e0514-bef3-4e71-b6aa-f2edd6441cff" providerId="ADAL" clId="{36D14C0E-B70E-4281-9AD2-7129A7F7BB3E}" dt="2021-12-10T05:58:48.056" v="650"/>
          <ac:inkMkLst>
            <pc:docMk/>
            <pc:sldMk cId="1008925704" sldId="262"/>
            <ac:inkMk id="36" creationId="{2EFA355E-79D3-4FCE-8536-3FF7F01F8917}"/>
          </ac:inkMkLst>
        </pc:inkChg>
        <pc:inkChg chg="add mod">
          <ac:chgData name="Aniket Chhabra" userId="598e0514-bef3-4e71-b6aa-f2edd6441cff" providerId="ADAL" clId="{36D14C0E-B70E-4281-9AD2-7129A7F7BB3E}" dt="2021-12-10T05:58:48.056" v="650"/>
          <ac:inkMkLst>
            <pc:docMk/>
            <pc:sldMk cId="1008925704" sldId="262"/>
            <ac:inkMk id="38" creationId="{6484A987-02A4-4E1A-BDAA-1DA96A905E7A}"/>
          </ac:inkMkLst>
        </pc:inkChg>
        <pc:inkChg chg="add mod">
          <ac:chgData name="Aniket Chhabra" userId="598e0514-bef3-4e71-b6aa-f2edd6441cff" providerId="ADAL" clId="{36D14C0E-B70E-4281-9AD2-7129A7F7BB3E}" dt="2021-12-10T05:58:48.056" v="650"/>
          <ac:inkMkLst>
            <pc:docMk/>
            <pc:sldMk cId="1008925704" sldId="262"/>
            <ac:inkMk id="39" creationId="{D07B8491-CE7A-4311-AAD8-1B0141458B76}"/>
          </ac:inkMkLst>
        </pc:inkChg>
        <pc:inkChg chg="add mod">
          <ac:chgData name="Aniket Chhabra" userId="598e0514-bef3-4e71-b6aa-f2edd6441cff" providerId="ADAL" clId="{36D14C0E-B70E-4281-9AD2-7129A7F7BB3E}" dt="2021-12-10T05:58:48.056" v="650"/>
          <ac:inkMkLst>
            <pc:docMk/>
            <pc:sldMk cId="1008925704" sldId="262"/>
            <ac:inkMk id="40" creationId="{D402C2D6-F949-43DE-A586-C88F489FB364}"/>
          </ac:inkMkLst>
        </pc:inkChg>
        <pc:inkChg chg="add mod">
          <ac:chgData name="Aniket Chhabra" userId="598e0514-bef3-4e71-b6aa-f2edd6441cff" providerId="ADAL" clId="{36D14C0E-B70E-4281-9AD2-7129A7F7BB3E}" dt="2021-12-10T05:58:48.056" v="650"/>
          <ac:inkMkLst>
            <pc:docMk/>
            <pc:sldMk cId="1008925704" sldId="262"/>
            <ac:inkMk id="41" creationId="{B5D336B0-6047-47F9-8060-55E0AA840B97}"/>
          </ac:inkMkLst>
        </pc:inkChg>
        <pc:inkChg chg="add mod">
          <ac:chgData name="Aniket Chhabra" userId="598e0514-bef3-4e71-b6aa-f2edd6441cff" providerId="ADAL" clId="{36D14C0E-B70E-4281-9AD2-7129A7F7BB3E}" dt="2021-12-10T05:58:48.056" v="650"/>
          <ac:inkMkLst>
            <pc:docMk/>
            <pc:sldMk cId="1008925704" sldId="262"/>
            <ac:inkMk id="43" creationId="{230A6693-F907-4678-B99B-55E7D8055D7B}"/>
          </ac:inkMkLst>
        </pc:inkChg>
        <pc:inkChg chg="add mod">
          <ac:chgData name="Aniket Chhabra" userId="598e0514-bef3-4e71-b6aa-f2edd6441cff" providerId="ADAL" clId="{36D14C0E-B70E-4281-9AD2-7129A7F7BB3E}" dt="2021-12-10T05:58:48.056" v="650"/>
          <ac:inkMkLst>
            <pc:docMk/>
            <pc:sldMk cId="1008925704" sldId="262"/>
            <ac:inkMk id="44" creationId="{B549DA31-2E93-48F4-80AB-BC9191EA7EE1}"/>
          </ac:inkMkLst>
        </pc:inkChg>
        <pc:inkChg chg="add mod">
          <ac:chgData name="Aniket Chhabra" userId="598e0514-bef3-4e71-b6aa-f2edd6441cff" providerId="ADAL" clId="{36D14C0E-B70E-4281-9AD2-7129A7F7BB3E}" dt="2021-12-10T05:58:48.056" v="650"/>
          <ac:inkMkLst>
            <pc:docMk/>
            <pc:sldMk cId="1008925704" sldId="262"/>
            <ac:inkMk id="45" creationId="{5D856ECA-DE0F-4F87-8CD4-402C594502BB}"/>
          </ac:inkMkLst>
        </pc:inkChg>
        <pc:inkChg chg="add mod">
          <ac:chgData name="Aniket Chhabra" userId="598e0514-bef3-4e71-b6aa-f2edd6441cff" providerId="ADAL" clId="{36D14C0E-B70E-4281-9AD2-7129A7F7BB3E}" dt="2021-12-10T05:58:48.056" v="650"/>
          <ac:inkMkLst>
            <pc:docMk/>
            <pc:sldMk cId="1008925704" sldId="262"/>
            <ac:inkMk id="46" creationId="{6ADA537E-0EF4-4904-8FC9-C1FD3C1B8310}"/>
          </ac:inkMkLst>
        </pc:inkChg>
        <pc:inkChg chg="add mod">
          <ac:chgData name="Aniket Chhabra" userId="598e0514-bef3-4e71-b6aa-f2edd6441cff" providerId="ADAL" clId="{36D14C0E-B70E-4281-9AD2-7129A7F7BB3E}" dt="2021-12-10T05:58:48.056" v="650"/>
          <ac:inkMkLst>
            <pc:docMk/>
            <pc:sldMk cId="1008925704" sldId="262"/>
            <ac:inkMk id="47" creationId="{E6125E71-7E22-4A20-B912-D54FFDFCD72C}"/>
          </ac:inkMkLst>
        </pc:inkChg>
        <pc:inkChg chg="add mod">
          <ac:chgData name="Aniket Chhabra" userId="598e0514-bef3-4e71-b6aa-f2edd6441cff" providerId="ADAL" clId="{36D14C0E-B70E-4281-9AD2-7129A7F7BB3E}" dt="2021-12-10T05:58:48.056" v="650"/>
          <ac:inkMkLst>
            <pc:docMk/>
            <pc:sldMk cId="1008925704" sldId="262"/>
            <ac:inkMk id="48" creationId="{F32476B6-65F0-4E14-8057-99CBBFE57114}"/>
          </ac:inkMkLst>
        </pc:inkChg>
        <pc:inkChg chg="add mod">
          <ac:chgData name="Aniket Chhabra" userId="598e0514-bef3-4e71-b6aa-f2edd6441cff" providerId="ADAL" clId="{36D14C0E-B70E-4281-9AD2-7129A7F7BB3E}" dt="2021-12-10T05:58:48.056" v="650"/>
          <ac:inkMkLst>
            <pc:docMk/>
            <pc:sldMk cId="1008925704" sldId="262"/>
            <ac:inkMk id="49" creationId="{F4C0EEB4-C029-48D5-8477-4A9AA8E3B7F1}"/>
          </ac:inkMkLst>
        </pc:inkChg>
        <pc:inkChg chg="add del">
          <ac:chgData name="Aniket Chhabra" userId="598e0514-bef3-4e71-b6aa-f2edd6441cff" providerId="ADAL" clId="{36D14C0E-B70E-4281-9AD2-7129A7F7BB3E}" dt="2021-12-10T05:58:31.234" v="625"/>
          <ac:inkMkLst>
            <pc:docMk/>
            <pc:sldMk cId="1008925704" sldId="262"/>
            <ac:inkMk id="50" creationId="{6CC11021-4C9D-4EF2-82EF-DC5800CE6623}"/>
          </ac:inkMkLst>
        </pc:inkChg>
        <pc:inkChg chg="add del mod">
          <ac:chgData name="Aniket Chhabra" userId="598e0514-bef3-4e71-b6aa-f2edd6441cff" providerId="ADAL" clId="{36D14C0E-B70E-4281-9AD2-7129A7F7BB3E}" dt="2021-12-10T05:58:37.027" v="630"/>
          <ac:inkMkLst>
            <pc:docMk/>
            <pc:sldMk cId="1008925704" sldId="262"/>
            <ac:inkMk id="52" creationId="{465E0019-C224-46F8-9F4B-2C4F3ED71104}"/>
          </ac:inkMkLst>
        </pc:inkChg>
        <pc:inkChg chg="add mod">
          <ac:chgData name="Aniket Chhabra" userId="598e0514-bef3-4e71-b6aa-f2edd6441cff" providerId="ADAL" clId="{36D14C0E-B70E-4281-9AD2-7129A7F7BB3E}" dt="2021-12-10T05:58:42.046" v="638"/>
          <ac:inkMkLst>
            <pc:docMk/>
            <pc:sldMk cId="1008925704" sldId="262"/>
            <ac:inkMk id="53" creationId="{72E5D9C4-EF71-43D3-9B07-A0C4808BD498}"/>
          </ac:inkMkLst>
        </pc:inkChg>
        <pc:inkChg chg="add mod">
          <ac:chgData name="Aniket Chhabra" userId="598e0514-bef3-4e71-b6aa-f2edd6441cff" providerId="ADAL" clId="{36D14C0E-B70E-4281-9AD2-7129A7F7BB3E}" dt="2021-12-10T05:58:48.056" v="650"/>
          <ac:inkMkLst>
            <pc:docMk/>
            <pc:sldMk cId="1008925704" sldId="262"/>
            <ac:inkMk id="55" creationId="{7F0F5FA0-802A-4322-86AC-A991DD668F7A}"/>
          </ac:inkMkLst>
        </pc:inkChg>
        <pc:inkChg chg="add mod">
          <ac:chgData name="Aniket Chhabra" userId="598e0514-bef3-4e71-b6aa-f2edd6441cff" providerId="ADAL" clId="{36D14C0E-B70E-4281-9AD2-7129A7F7BB3E}" dt="2021-12-10T05:58:48.056" v="650"/>
          <ac:inkMkLst>
            <pc:docMk/>
            <pc:sldMk cId="1008925704" sldId="262"/>
            <ac:inkMk id="56" creationId="{032A16B2-A7EF-40CF-9067-5BB482E2C05C}"/>
          </ac:inkMkLst>
        </pc:inkChg>
        <pc:inkChg chg="add mod">
          <ac:chgData name="Aniket Chhabra" userId="598e0514-bef3-4e71-b6aa-f2edd6441cff" providerId="ADAL" clId="{36D14C0E-B70E-4281-9AD2-7129A7F7BB3E}" dt="2021-12-10T05:58:48.056" v="650"/>
          <ac:inkMkLst>
            <pc:docMk/>
            <pc:sldMk cId="1008925704" sldId="262"/>
            <ac:inkMk id="57" creationId="{54A33C7B-AFAF-4E79-A4E5-F199656AC9FA}"/>
          </ac:inkMkLst>
        </pc:inkChg>
        <pc:inkChg chg="add mod">
          <ac:chgData name="Aniket Chhabra" userId="598e0514-bef3-4e71-b6aa-f2edd6441cff" providerId="ADAL" clId="{36D14C0E-B70E-4281-9AD2-7129A7F7BB3E}" dt="2021-12-10T05:58:48.056" v="650"/>
          <ac:inkMkLst>
            <pc:docMk/>
            <pc:sldMk cId="1008925704" sldId="262"/>
            <ac:inkMk id="58" creationId="{2AAD5517-4987-41F5-937E-C442E82E6748}"/>
          </ac:inkMkLst>
        </pc:inkChg>
        <pc:inkChg chg="add mod">
          <ac:chgData name="Aniket Chhabra" userId="598e0514-bef3-4e71-b6aa-f2edd6441cff" providerId="ADAL" clId="{36D14C0E-B70E-4281-9AD2-7129A7F7BB3E}" dt="2021-12-10T05:58:48.056" v="650"/>
          <ac:inkMkLst>
            <pc:docMk/>
            <pc:sldMk cId="1008925704" sldId="262"/>
            <ac:inkMk id="59" creationId="{8EEEFA18-1D1D-4013-9AD0-BF20C8512972}"/>
          </ac:inkMkLst>
        </pc:inkChg>
        <pc:inkChg chg="add del">
          <ac:chgData name="Aniket Chhabra" userId="598e0514-bef3-4e71-b6aa-f2edd6441cff" providerId="ADAL" clId="{36D14C0E-B70E-4281-9AD2-7129A7F7BB3E}" dt="2021-12-10T05:58:41.771" v="637"/>
          <ac:inkMkLst>
            <pc:docMk/>
            <pc:sldMk cId="1008925704" sldId="262"/>
            <ac:inkMk id="60" creationId="{09A39147-083D-41DB-A68B-793B36FE3A52}"/>
          </ac:inkMkLst>
        </pc:inkChg>
        <pc:inkChg chg="add mod">
          <ac:chgData name="Aniket Chhabra" userId="598e0514-bef3-4e71-b6aa-f2edd6441cff" providerId="ADAL" clId="{36D14C0E-B70E-4281-9AD2-7129A7F7BB3E}" dt="2021-12-10T05:58:48.056" v="650"/>
          <ac:inkMkLst>
            <pc:docMk/>
            <pc:sldMk cId="1008925704" sldId="262"/>
            <ac:inkMk id="62" creationId="{64A0C1B4-DE2D-475D-8C58-1A6D679D7BA5}"/>
          </ac:inkMkLst>
        </pc:inkChg>
        <pc:inkChg chg="add mod">
          <ac:chgData name="Aniket Chhabra" userId="598e0514-bef3-4e71-b6aa-f2edd6441cff" providerId="ADAL" clId="{36D14C0E-B70E-4281-9AD2-7129A7F7BB3E}" dt="2021-12-10T05:58:48.056" v="650"/>
          <ac:inkMkLst>
            <pc:docMk/>
            <pc:sldMk cId="1008925704" sldId="262"/>
            <ac:inkMk id="63" creationId="{EC58A091-971A-4501-93EA-21DB0C0F159F}"/>
          </ac:inkMkLst>
        </pc:inkChg>
        <pc:inkChg chg="add del">
          <ac:chgData name="Aniket Chhabra" userId="598e0514-bef3-4e71-b6aa-f2edd6441cff" providerId="ADAL" clId="{36D14C0E-B70E-4281-9AD2-7129A7F7BB3E}" dt="2021-12-10T05:58:44.691" v="644"/>
          <ac:inkMkLst>
            <pc:docMk/>
            <pc:sldMk cId="1008925704" sldId="262"/>
            <ac:inkMk id="64" creationId="{9DEBA488-3821-4FD5-837A-1E86DA9FCA03}"/>
          </ac:inkMkLst>
        </pc:inkChg>
        <pc:inkChg chg="add del">
          <ac:chgData name="Aniket Chhabra" userId="598e0514-bef3-4e71-b6aa-f2edd6441cff" providerId="ADAL" clId="{36D14C0E-B70E-4281-9AD2-7129A7F7BB3E}" dt="2021-12-10T05:58:44.689" v="643"/>
          <ac:inkMkLst>
            <pc:docMk/>
            <pc:sldMk cId="1008925704" sldId="262"/>
            <ac:inkMk id="65" creationId="{692979D1-659C-4D11-B47F-3B675B87567F}"/>
          </ac:inkMkLst>
        </pc:inkChg>
        <pc:inkChg chg="add mod">
          <ac:chgData name="Aniket Chhabra" userId="598e0514-bef3-4e71-b6aa-f2edd6441cff" providerId="ADAL" clId="{36D14C0E-B70E-4281-9AD2-7129A7F7BB3E}" dt="2021-12-10T05:58:48.056" v="650"/>
          <ac:inkMkLst>
            <pc:docMk/>
            <pc:sldMk cId="1008925704" sldId="262"/>
            <ac:inkMk id="67" creationId="{50017E53-0251-436E-A131-8073CCDD39D9}"/>
          </ac:inkMkLst>
        </pc:inkChg>
        <pc:inkChg chg="add mod">
          <ac:chgData name="Aniket Chhabra" userId="598e0514-bef3-4e71-b6aa-f2edd6441cff" providerId="ADAL" clId="{36D14C0E-B70E-4281-9AD2-7129A7F7BB3E}" dt="2021-12-10T05:58:48.056" v="650"/>
          <ac:inkMkLst>
            <pc:docMk/>
            <pc:sldMk cId="1008925704" sldId="262"/>
            <ac:inkMk id="68" creationId="{9D79F789-1E46-46B2-8380-BFACDC90D6A4}"/>
          </ac:inkMkLst>
        </pc:inkChg>
        <pc:inkChg chg="add mod">
          <ac:chgData name="Aniket Chhabra" userId="598e0514-bef3-4e71-b6aa-f2edd6441cff" providerId="ADAL" clId="{36D14C0E-B70E-4281-9AD2-7129A7F7BB3E}" dt="2021-12-10T05:58:48.056" v="650"/>
          <ac:inkMkLst>
            <pc:docMk/>
            <pc:sldMk cId="1008925704" sldId="262"/>
            <ac:inkMk id="69" creationId="{6DF045F6-F31D-49FD-AEDF-4931FC8C5CF8}"/>
          </ac:inkMkLst>
        </pc:inkChg>
        <pc:inkChg chg="add mod">
          <ac:chgData name="Aniket Chhabra" userId="598e0514-bef3-4e71-b6aa-f2edd6441cff" providerId="ADAL" clId="{36D14C0E-B70E-4281-9AD2-7129A7F7BB3E}" dt="2021-12-10T05:58:48.056" v="650"/>
          <ac:inkMkLst>
            <pc:docMk/>
            <pc:sldMk cId="1008925704" sldId="262"/>
            <ac:inkMk id="70" creationId="{7852BD38-2C40-4B71-AE71-15CBD64DDBF9}"/>
          </ac:inkMkLst>
        </pc:inkChg>
        <pc:inkChg chg="add mod">
          <ac:chgData name="Aniket Chhabra" userId="598e0514-bef3-4e71-b6aa-f2edd6441cff" providerId="ADAL" clId="{36D14C0E-B70E-4281-9AD2-7129A7F7BB3E}" dt="2021-12-10T05:59:04.804" v="658"/>
          <ac:inkMkLst>
            <pc:docMk/>
            <pc:sldMk cId="1008925704" sldId="262"/>
            <ac:inkMk id="72" creationId="{959EB9B9-0DAA-47B0-8F73-2C020D9FBE28}"/>
          </ac:inkMkLst>
        </pc:inkChg>
        <pc:inkChg chg="add mod">
          <ac:chgData name="Aniket Chhabra" userId="598e0514-bef3-4e71-b6aa-f2edd6441cff" providerId="ADAL" clId="{36D14C0E-B70E-4281-9AD2-7129A7F7BB3E}" dt="2021-12-10T05:59:04.804" v="658"/>
          <ac:inkMkLst>
            <pc:docMk/>
            <pc:sldMk cId="1008925704" sldId="262"/>
            <ac:inkMk id="73" creationId="{248BB56B-329B-43CB-9770-69C03867A711}"/>
          </ac:inkMkLst>
        </pc:inkChg>
        <pc:inkChg chg="add mod">
          <ac:chgData name="Aniket Chhabra" userId="598e0514-bef3-4e71-b6aa-f2edd6441cff" providerId="ADAL" clId="{36D14C0E-B70E-4281-9AD2-7129A7F7BB3E}" dt="2021-12-10T05:59:04.804" v="658"/>
          <ac:inkMkLst>
            <pc:docMk/>
            <pc:sldMk cId="1008925704" sldId="262"/>
            <ac:inkMk id="74" creationId="{B5F60F68-F129-4100-8061-D54E8852DFA6}"/>
          </ac:inkMkLst>
        </pc:inkChg>
        <pc:inkChg chg="add mod">
          <ac:chgData name="Aniket Chhabra" userId="598e0514-bef3-4e71-b6aa-f2edd6441cff" providerId="ADAL" clId="{36D14C0E-B70E-4281-9AD2-7129A7F7BB3E}" dt="2021-12-10T05:59:04.804" v="658"/>
          <ac:inkMkLst>
            <pc:docMk/>
            <pc:sldMk cId="1008925704" sldId="262"/>
            <ac:inkMk id="75" creationId="{9AF80F5E-7241-4AA3-8409-61925926A91A}"/>
          </ac:inkMkLst>
        </pc:inkChg>
        <pc:inkChg chg="add mod">
          <ac:chgData name="Aniket Chhabra" userId="598e0514-bef3-4e71-b6aa-f2edd6441cff" providerId="ADAL" clId="{36D14C0E-B70E-4281-9AD2-7129A7F7BB3E}" dt="2021-12-10T05:59:04.804" v="658"/>
          <ac:inkMkLst>
            <pc:docMk/>
            <pc:sldMk cId="1008925704" sldId="262"/>
            <ac:inkMk id="76" creationId="{B23BE032-4D3D-4DB0-AF7B-173E00F0C7F7}"/>
          </ac:inkMkLst>
        </pc:inkChg>
        <pc:inkChg chg="add mod">
          <ac:chgData name="Aniket Chhabra" userId="598e0514-bef3-4e71-b6aa-f2edd6441cff" providerId="ADAL" clId="{36D14C0E-B70E-4281-9AD2-7129A7F7BB3E}" dt="2021-12-10T05:59:04.804" v="658"/>
          <ac:inkMkLst>
            <pc:docMk/>
            <pc:sldMk cId="1008925704" sldId="262"/>
            <ac:inkMk id="77" creationId="{CE948D93-7A61-4D29-AFA2-5C22311A96AB}"/>
          </ac:inkMkLst>
        </pc:inkChg>
        <pc:inkChg chg="add mod">
          <ac:chgData name="Aniket Chhabra" userId="598e0514-bef3-4e71-b6aa-f2edd6441cff" providerId="ADAL" clId="{36D14C0E-B70E-4281-9AD2-7129A7F7BB3E}" dt="2021-12-10T05:59:04.804" v="658"/>
          <ac:inkMkLst>
            <pc:docMk/>
            <pc:sldMk cId="1008925704" sldId="262"/>
            <ac:inkMk id="78" creationId="{CF87B32D-166E-4FC1-8E03-DD95384A87E3}"/>
          </ac:inkMkLst>
        </pc:inkChg>
      </pc:sldChg>
      <pc:sldChg chg="addSp delSp modSp add mod">
        <pc:chgData name="Aniket Chhabra" userId="598e0514-bef3-4e71-b6aa-f2edd6441cff" providerId="ADAL" clId="{36D14C0E-B70E-4281-9AD2-7129A7F7BB3E}" dt="2021-12-11T13:45:06.906" v="1783"/>
        <pc:sldMkLst>
          <pc:docMk/>
          <pc:sldMk cId="4219638125" sldId="263"/>
        </pc:sldMkLst>
        <pc:grpChg chg="del mod">
          <ac:chgData name="Aniket Chhabra" userId="598e0514-bef3-4e71-b6aa-f2edd6441cff" providerId="ADAL" clId="{36D14C0E-B70E-4281-9AD2-7129A7F7BB3E}" dt="2021-12-10T06:09:07.747" v="718"/>
          <ac:grpSpMkLst>
            <pc:docMk/>
            <pc:sldMk cId="4219638125" sldId="263"/>
            <ac:grpSpMk id="16" creationId="{5960AE48-E47C-4DC5-B264-1243E3E7F8E8}"/>
          </ac:grpSpMkLst>
        </pc:grpChg>
        <pc:grpChg chg="del mod">
          <ac:chgData name="Aniket Chhabra" userId="598e0514-bef3-4e71-b6aa-f2edd6441cff" providerId="ADAL" clId="{36D14C0E-B70E-4281-9AD2-7129A7F7BB3E}" dt="2021-12-10T06:09:07.747" v="718"/>
          <ac:grpSpMkLst>
            <pc:docMk/>
            <pc:sldMk cId="4219638125" sldId="263"/>
            <ac:grpSpMk id="28" creationId="{39AEABF3-71F2-4D9F-A0A3-488642FBF45E}"/>
          </ac:grpSpMkLst>
        </pc:grpChg>
        <pc:grpChg chg="del mod">
          <ac:chgData name="Aniket Chhabra" userId="598e0514-bef3-4e71-b6aa-f2edd6441cff" providerId="ADAL" clId="{36D14C0E-B70E-4281-9AD2-7129A7F7BB3E}" dt="2021-12-10T06:09:07.747" v="718"/>
          <ac:grpSpMkLst>
            <pc:docMk/>
            <pc:sldMk cId="4219638125" sldId="263"/>
            <ac:grpSpMk id="34" creationId="{416B2CFB-587A-460E-9C36-A9CD6BF78692}"/>
          </ac:grpSpMkLst>
        </pc:grpChg>
        <pc:grpChg chg="del mod">
          <ac:chgData name="Aniket Chhabra" userId="598e0514-bef3-4e71-b6aa-f2edd6441cff" providerId="ADAL" clId="{36D14C0E-B70E-4281-9AD2-7129A7F7BB3E}" dt="2021-12-10T06:09:13.011" v="727"/>
          <ac:grpSpMkLst>
            <pc:docMk/>
            <pc:sldMk cId="4219638125" sldId="263"/>
            <ac:grpSpMk id="56" creationId="{128CA68C-665C-4A74-9A5B-B281F44D4323}"/>
          </ac:grpSpMkLst>
        </pc:grpChg>
        <pc:grpChg chg="mod">
          <ac:chgData name="Aniket Chhabra" userId="598e0514-bef3-4e71-b6aa-f2edd6441cff" providerId="ADAL" clId="{36D14C0E-B70E-4281-9AD2-7129A7F7BB3E}" dt="2021-12-10T06:09:23.474" v="745"/>
          <ac:grpSpMkLst>
            <pc:docMk/>
            <pc:sldMk cId="4219638125" sldId="263"/>
            <ac:grpSpMk id="65" creationId="{B2D71B4D-7918-48BC-BA4F-696B32DA3EEC}"/>
          </ac:grpSpMkLst>
        </pc:grpChg>
        <pc:grpChg chg="mod">
          <ac:chgData name="Aniket Chhabra" userId="598e0514-bef3-4e71-b6aa-f2edd6441cff" providerId="ADAL" clId="{36D14C0E-B70E-4281-9AD2-7129A7F7BB3E}" dt="2021-12-10T06:09:17.673" v="736"/>
          <ac:grpSpMkLst>
            <pc:docMk/>
            <pc:sldMk cId="4219638125" sldId="263"/>
            <ac:grpSpMk id="72" creationId="{2E54C92B-BA5F-402D-8E0E-3A98C6695BB3}"/>
          </ac:grpSpMkLst>
        </pc:grpChg>
        <pc:grpChg chg="del mod">
          <ac:chgData name="Aniket Chhabra" userId="598e0514-bef3-4e71-b6aa-f2edd6441cff" providerId="ADAL" clId="{36D14C0E-B70E-4281-9AD2-7129A7F7BB3E}" dt="2021-12-10T06:09:29.570" v="756"/>
          <ac:grpSpMkLst>
            <pc:docMk/>
            <pc:sldMk cId="4219638125" sldId="263"/>
            <ac:grpSpMk id="78" creationId="{BEADDE51-B03A-46F9-90E2-D9E69F20C508}"/>
          </ac:grpSpMkLst>
        </pc:grpChg>
        <pc:grpChg chg="mod">
          <ac:chgData name="Aniket Chhabra" userId="598e0514-bef3-4e71-b6aa-f2edd6441cff" providerId="ADAL" clId="{36D14C0E-B70E-4281-9AD2-7129A7F7BB3E}" dt="2021-12-10T06:09:29.570" v="756"/>
          <ac:grpSpMkLst>
            <pc:docMk/>
            <pc:sldMk cId="4219638125" sldId="263"/>
            <ac:grpSpMk id="84" creationId="{126AA54F-2E3B-4E83-AEA3-99B27033EFB6}"/>
          </ac:grpSpMkLst>
        </pc:grpChg>
        <pc:grpChg chg="mod">
          <ac:chgData name="Aniket Chhabra" userId="598e0514-bef3-4e71-b6aa-f2edd6441cff" providerId="ADAL" clId="{36D14C0E-B70E-4281-9AD2-7129A7F7BB3E}" dt="2021-12-10T06:09:29.570" v="756"/>
          <ac:grpSpMkLst>
            <pc:docMk/>
            <pc:sldMk cId="4219638125" sldId="263"/>
            <ac:grpSpMk id="85" creationId="{FA04A91D-0B24-4689-8A02-1A93A8AEFD05}"/>
          </ac:grpSpMkLst>
        </pc:grpChg>
        <pc:grpChg chg="mod">
          <ac:chgData name="Aniket Chhabra" userId="598e0514-bef3-4e71-b6aa-f2edd6441cff" providerId="ADAL" clId="{36D14C0E-B70E-4281-9AD2-7129A7F7BB3E}" dt="2021-12-10T06:09:54.406" v="768"/>
          <ac:grpSpMkLst>
            <pc:docMk/>
            <pc:sldMk cId="4219638125" sldId="263"/>
            <ac:grpSpMk id="93" creationId="{D7D6AD95-3CA0-4F72-A738-74A0E63C5EB8}"/>
          </ac:grpSpMkLst>
        </pc:grpChg>
        <pc:grpChg chg="del mod">
          <ac:chgData name="Aniket Chhabra" userId="598e0514-bef3-4e71-b6aa-f2edd6441cff" providerId="ADAL" clId="{36D14C0E-B70E-4281-9AD2-7129A7F7BB3E}" dt="2021-12-10T06:10:04.884" v="787"/>
          <ac:grpSpMkLst>
            <pc:docMk/>
            <pc:sldMk cId="4219638125" sldId="263"/>
            <ac:grpSpMk id="101" creationId="{81C8A949-CA4A-4A52-93C5-079B83F89383}"/>
          </ac:grpSpMkLst>
        </pc:grpChg>
        <pc:grpChg chg="mod">
          <ac:chgData name="Aniket Chhabra" userId="598e0514-bef3-4e71-b6aa-f2edd6441cff" providerId="ADAL" clId="{36D14C0E-B70E-4281-9AD2-7129A7F7BB3E}" dt="2021-12-10T06:10:02.575" v="784"/>
          <ac:grpSpMkLst>
            <pc:docMk/>
            <pc:sldMk cId="4219638125" sldId="263"/>
            <ac:grpSpMk id="105" creationId="{3B5EE76C-DBBC-40EC-A7D9-75E8C71BEF80}"/>
          </ac:grpSpMkLst>
        </pc:grpChg>
        <pc:grpChg chg="mod">
          <ac:chgData name="Aniket Chhabra" userId="598e0514-bef3-4e71-b6aa-f2edd6441cff" providerId="ADAL" clId="{36D14C0E-B70E-4281-9AD2-7129A7F7BB3E}" dt="2021-12-10T06:10:09.714" v="796"/>
          <ac:grpSpMkLst>
            <pc:docMk/>
            <pc:sldMk cId="4219638125" sldId="263"/>
            <ac:grpSpMk id="114" creationId="{1C911DF5-254A-4D5E-A29A-F2702FD1C976}"/>
          </ac:grpSpMkLst>
        </pc:grpChg>
        <pc:grpChg chg="mod">
          <ac:chgData name="Aniket Chhabra" userId="598e0514-bef3-4e71-b6aa-f2edd6441cff" providerId="ADAL" clId="{36D14C0E-B70E-4281-9AD2-7129A7F7BB3E}" dt="2021-12-10T06:11:52.523" v="829"/>
          <ac:grpSpMkLst>
            <pc:docMk/>
            <pc:sldMk cId="4219638125" sldId="263"/>
            <ac:grpSpMk id="130" creationId="{DB6E7A9B-3846-431A-998E-03FBA35213EE}"/>
          </ac:grpSpMkLst>
        </pc:grpChg>
        <pc:grpChg chg="mod">
          <ac:chgData name="Aniket Chhabra" userId="598e0514-bef3-4e71-b6aa-f2edd6441cff" providerId="ADAL" clId="{36D14C0E-B70E-4281-9AD2-7129A7F7BB3E}" dt="2021-12-10T06:11:52.523" v="829"/>
          <ac:grpSpMkLst>
            <pc:docMk/>
            <pc:sldMk cId="4219638125" sldId="263"/>
            <ac:grpSpMk id="131" creationId="{B11E8CFE-9610-4D98-B24A-1D3F02E0422C}"/>
          </ac:grpSpMkLst>
        </pc:grpChg>
        <pc:picChg chg="del">
          <ac:chgData name="Aniket Chhabra" userId="598e0514-bef3-4e71-b6aa-f2edd6441cff" providerId="ADAL" clId="{36D14C0E-B70E-4281-9AD2-7129A7F7BB3E}" dt="2021-12-10T05:03:55.458" v="21" actId="478"/>
          <ac:picMkLst>
            <pc:docMk/>
            <pc:sldMk cId="4219638125" sldId="263"/>
            <ac:picMk id="3" creationId="{74D5911B-3428-4C79-9D34-2C83482013AF}"/>
          </ac:picMkLst>
        </pc:picChg>
        <pc:picChg chg="add mod">
          <ac:chgData name="Aniket Chhabra" userId="598e0514-bef3-4e71-b6aa-f2edd6441cff" providerId="ADAL" clId="{36D14C0E-B70E-4281-9AD2-7129A7F7BB3E}" dt="2021-12-10T06:11:40.129" v="816" actId="1076"/>
          <ac:picMkLst>
            <pc:docMk/>
            <pc:sldMk cId="4219638125" sldId="263"/>
            <ac:picMk id="4" creationId="{B6D7C925-CB6F-4FDB-BA9B-52DF551723D8}"/>
          </ac:picMkLst>
        </pc:picChg>
        <pc:picChg chg="add mod">
          <ac:chgData name="Aniket Chhabra" userId="598e0514-bef3-4e71-b6aa-f2edd6441cff" providerId="ADAL" clId="{36D14C0E-B70E-4281-9AD2-7129A7F7BB3E}" dt="2021-12-10T06:11:42.533" v="817" actId="1076"/>
          <ac:picMkLst>
            <pc:docMk/>
            <pc:sldMk cId="4219638125" sldId="263"/>
            <ac:picMk id="116" creationId="{CF771103-997C-4659-B391-99909C89C86D}"/>
          </ac:picMkLst>
        </pc:picChg>
        <pc:picChg chg="add mod">
          <ac:chgData name="Aniket Chhabra" userId="598e0514-bef3-4e71-b6aa-f2edd6441cff" providerId="ADAL" clId="{36D14C0E-B70E-4281-9AD2-7129A7F7BB3E}" dt="2021-12-10T06:11:37.905" v="814" actId="1076"/>
          <ac:picMkLst>
            <pc:docMk/>
            <pc:sldMk cId="4219638125" sldId="263"/>
            <ac:picMk id="118" creationId="{A882E028-95C1-4171-A81E-3C010D5E6500}"/>
          </ac:picMkLst>
        </pc:picChg>
        <pc:inkChg chg="add">
          <ac:chgData name="Aniket Chhabra" userId="598e0514-bef3-4e71-b6aa-f2edd6441cff" providerId="ADAL" clId="{36D14C0E-B70E-4281-9AD2-7129A7F7BB3E}" dt="2021-12-11T13:45:06.906" v="1783"/>
          <ac:inkMkLst>
            <pc:docMk/>
            <pc:sldMk cId="4219638125" sldId="263"/>
            <ac:inkMk id="2" creationId="{4A296D13-A0C7-4995-A70E-73A51E038346}"/>
          </ac:inkMkLst>
        </pc:inkChg>
        <pc:inkChg chg="add del">
          <ac:chgData name="Aniket Chhabra" userId="598e0514-bef3-4e71-b6aa-f2edd6441cff" providerId="ADAL" clId="{36D14C0E-B70E-4281-9AD2-7129A7F7BB3E}" dt="2021-12-10T06:08:41.174" v="667"/>
          <ac:inkMkLst>
            <pc:docMk/>
            <pc:sldMk cId="4219638125" sldId="263"/>
            <ac:inkMk id="5" creationId="{85AF8C6F-61B5-4EA0-835E-A00C32828DF0}"/>
          </ac:inkMkLst>
        </pc:inkChg>
        <pc:inkChg chg="add del">
          <ac:chgData name="Aniket Chhabra" userId="598e0514-bef3-4e71-b6aa-f2edd6441cff" providerId="ADAL" clId="{36D14C0E-B70E-4281-9AD2-7129A7F7BB3E}" dt="2021-12-10T06:08:41.171" v="665"/>
          <ac:inkMkLst>
            <pc:docMk/>
            <pc:sldMk cId="4219638125" sldId="263"/>
            <ac:inkMk id="7" creationId="{E32905BA-8355-40E8-96FA-846EBE79AE25}"/>
          </ac:inkMkLst>
        </pc:inkChg>
        <pc:inkChg chg="add del">
          <ac:chgData name="Aniket Chhabra" userId="598e0514-bef3-4e71-b6aa-f2edd6441cff" providerId="ADAL" clId="{36D14C0E-B70E-4281-9AD2-7129A7F7BB3E}" dt="2021-12-10T06:08:41.173" v="666"/>
          <ac:inkMkLst>
            <pc:docMk/>
            <pc:sldMk cId="4219638125" sldId="263"/>
            <ac:inkMk id="8" creationId="{CBB43574-90F3-45A6-B518-DAF2A08882A2}"/>
          </ac:inkMkLst>
        </pc:inkChg>
        <pc:inkChg chg="add del">
          <ac:chgData name="Aniket Chhabra" userId="598e0514-bef3-4e71-b6aa-f2edd6441cff" providerId="ADAL" clId="{36D14C0E-B70E-4281-9AD2-7129A7F7BB3E}" dt="2021-12-10T06:08:41.174" v="668"/>
          <ac:inkMkLst>
            <pc:docMk/>
            <pc:sldMk cId="4219638125" sldId="263"/>
            <ac:inkMk id="9" creationId="{667FF8FB-7B7E-4197-8207-C03903930480}"/>
          </ac:inkMkLst>
        </pc:inkChg>
        <pc:inkChg chg="add mod">
          <ac:chgData name="Aniket Chhabra" userId="598e0514-bef3-4e71-b6aa-f2edd6441cff" providerId="ADAL" clId="{36D14C0E-B70E-4281-9AD2-7129A7F7BB3E}" dt="2021-12-10T06:09:23.474" v="745"/>
          <ac:inkMkLst>
            <pc:docMk/>
            <pc:sldMk cId="4219638125" sldId="263"/>
            <ac:inkMk id="10" creationId="{A194E98B-8E18-43D3-8438-2080222795D1}"/>
          </ac:inkMkLst>
        </pc:inkChg>
        <pc:inkChg chg="add mod">
          <ac:chgData name="Aniket Chhabra" userId="598e0514-bef3-4e71-b6aa-f2edd6441cff" providerId="ADAL" clId="{36D14C0E-B70E-4281-9AD2-7129A7F7BB3E}" dt="2021-12-10T06:09:23.474" v="745"/>
          <ac:inkMkLst>
            <pc:docMk/>
            <pc:sldMk cId="4219638125" sldId="263"/>
            <ac:inkMk id="11" creationId="{B7DA3A62-AAB5-46FE-B197-C509459B480B}"/>
          </ac:inkMkLst>
        </pc:inkChg>
        <pc:inkChg chg="add mod">
          <ac:chgData name="Aniket Chhabra" userId="598e0514-bef3-4e71-b6aa-f2edd6441cff" providerId="ADAL" clId="{36D14C0E-B70E-4281-9AD2-7129A7F7BB3E}" dt="2021-12-10T06:09:23.474" v="745"/>
          <ac:inkMkLst>
            <pc:docMk/>
            <pc:sldMk cId="4219638125" sldId="263"/>
            <ac:inkMk id="12" creationId="{E3BFF265-7D53-4CBE-98E3-36E2D395297D}"/>
          </ac:inkMkLst>
        </pc:inkChg>
        <pc:inkChg chg="add del mod">
          <ac:chgData name="Aniket Chhabra" userId="598e0514-bef3-4e71-b6aa-f2edd6441cff" providerId="ADAL" clId="{36D14C0E-B70E-4281-9AD2-7129A7F7BB3E}" dt="2021-12-10T06:08:46.149" v="676"/>
          <ac:inkMkLst>
            <pc:docMk/>
            <pc:sldMk cId="4219638125" sldId="263"/>
            <ac:inkMk id="13" creationId="{E28DFAFA-47DE-4A6B-9A15-B174B4A8B217}"/>
          </ac:inkMkLst>
        </pc:inkChg>
        <pc:inkChg chg="add del mod">
          <ac:chgData name="Aniket Chhabra" userId="598e0514-bef3-4e71-b6aa-f2edd6441cff" providerId="ADAL" clId="{36D14C0E-B70E-4281-9AD2-7129A7F7BB3E}" dt="2021-12-10T06:08:46.151" v="678"/>
          <ac:inkMkLst>
            <pc:docMk/>
            <pc:sldMk cId="4219638125" sldId="263"/>
            <ac:inkMk id="14" creationId="{1C82D505-06AA-46DB-9E79-1408EF78927A}"/>
          </ac:inkMkLst>
        </pc:inkChg>
        <pc:inkChg chg="add del mod">
          <ac:chgData name="Aniket Chhabra" userId="598e0514-bef3-4e71-b6aa-f2edd6441cff" providerId="ADAL" clId="{36D14C0E-B70E-4281-9AD2-7129A7F7BB3E}" dt="2021-12-10T06:08:46.150" v="677"/>
          <ac:inkMkLst>
            <pc:docMk/>
            <pc:sldMk cId="4219638125" sldId="263"/>
            <ac:inkMk id="15" creationId="{E0419096-99BC-494B-974D-2E7A33FDA646}"/>
          </ac:inkMkLst>
        </pc:inkChg>
        <pc:inkChg chg="add mod">
          <ac:chgData name="Aniket Chhabra" userId="598e0514-bef3-4e71-b6aa-f2edd6441cff" providerId="ADAL" clId="{36D14C0E-B70E-4281-9AD2-7129A7F7BB3E}" dt="2021-12-10T06:09:23.474" v="745"/>
          <ac:inkMkLst>
            <pc:docMk/>
            <pc:sldMk cId="4219638125" sldId="263"/>
            <ac:inkMk id="17" creationId="{827436B5-AB4B-4468-A34C-638190D53D86}"/>
          </ac:inkMkLst>
        </pc:inkChg>
        <pc:inkChg chg="add mod">
          <ac:chgData name="Aniket Chhabra" userId="598e0514-bef3-4e71-b6aa-f2edd6441cff" providerId="ADAL" clId="{36D14C0E-B70E-4281-9AD2-7129A7F7BB3E}" dt="2021-12-10T06:09:23.474" v="745"/>
          <ac:inkMkLst>
            <pc:docMk/>
            <pc:sldMk cId="4219638125" sldId="263"/>
            <ac:inkMk id="18" creationId="{ED4D2E56-A318-4788-B8A6-B0D47EBD5287}"/>
          </ac:inkMkLst>
        </pc:inkChg>
        <pc:inkChg chg="add mod">
          <ac:chgData name="Aniket Chhabra" userId="598e0514-bef3-4e71-b6aa-f2edd6441cff" providerId="ADAL" clId="{36D14C0E-B70E-4281-9AD2-7129A7F7BB3E}" dt="2021-12-10T06:09:23.474" v="745"/>
          <ac:inkMkLst>
            <pc:docMk/>
            <pc:sldMk cId="4219638125" sldId="263"/>
            <ac:inkMk id="19" creationId="{24930F1E-D0EF-4C7C-B133-D4CEDE33A5E5}"/>
          </ac:inkMkLst>
        </pc:inkChg>
        <pc:inkChg chg="add mod">
          <ac:chgData name="Aniket Chhabra" userId="598e0514-bef3-4e71-b6aa-f2edd6441cff" providerId="ADAL" clId="{36D14C0E-B70E-4281-9AD2-7129A7F7BB3E}" dt="2021-12-10T06:09:23.474" v="745"/>
          <ac:inkMkLst>
            <pc:docMk/>
            <pc:sldMk cId="4219638125" sldId="263"/>
            <ac:inkMk id="20" creationId="{5665CB25-AA41-4ABC-8A24-C1D694679930}"/>
          </ac:inkMkLst>
        </pc:inkChg>
        <pc:inkChg chg="add mod">
          <ac:chgData name="Aniket Chhabra" userId="598e0514-bef3-4e71-b6aa-f2edd6441cff" providerId="ADAL" clId="{36D14C0E-B70E-4281-9AD2-7129A7F7BB3E}" dt="2021-12-10T06:09:23.474" v="745"/>
          <ac:inkMkLst>
            <pc:docMk/>
            <pc:sldMk cId="4219638125" sldId="263"/>
            <ac:inkMk id="21" creationId="{C8752DDC-598B-4AE1-A830-B3AD2562A998}"/>
          </ac:inkMkLst>
        </pc:inkChg>
        <pc:inkChg chg="add mod">
          <ac:chgData name="Aniket Chhabra" userId="598e0514-bef3-4e71-b6aa-f2edd6441cff" providerId="ADAL" clId="{36D14C0E-B70E-4281-9AD2-7129A7F7BB3E}" dt="2021-12-10T06:09:23.474" v="745"/>
          <ac:inkMkLst>
            <pc:docMk/>
            <pc:sldMk cId="4219638125" sldId="263"/>
            <ac:inkMk id="22" creationId="{E024ED3C-6122-4F89-BBEE-52C16D7DE52A}"/>
          </ac:inkMkLst>
        </pc:inkChg>
        <pc:inkChg chg="add mod">
          <ac:chgData name="Aniket Chhabra" userId="598e0514-bef3-4e71-b6aa-f2edd6441cff" providerId="ADAL" clId="{36D14C0E-B70E-4281-9AD2-7129A7F7BB3E}" dt="2021-12-10T06:09:23.474" v="745"/>
          <ac:inkMkLst>
            <pc:docMk/>
            <pc:sldMk cId="4219638125" sldId="263"/>
            <ac:inkMk id="23" creationId="{204CC35C-8F10-40C2-92C8-9A2F4D5D10BB}"/>
          </ac:inkMkLst>
        </pc:inkChg>
        <pc:inkChg chg="add mod">
          <ac:chgData name="Aniket Chhabra" userId="598e0514-bef3-4e71-b6aa-f2edd6441cff" providerId="ADAL" clId="{36D14C0E-B70E-4281-9AD2-7129A7F7BB3E}" dt="2021-12-10T06:09:23.474" v="745"/>
          <ac:inkMkLst>
            <pc:docMk/>
            <pc:sldMk cId="4219638125" sldId="263"/>
            <ac:inkMk id="24" creationId="{6AED0C78-548E-4DE6-BD58-B6E0607C7735}"/>
          </ac:inkMkLst>
        </pc:inkChg>
        <pc:inkChg chg="add mod">
          <ac:chgData name="Aniket Chhabra" userId="598e0514-bef3-4e71-b6aa-f2edd6441cff" providerId="ADAL" clId="{36D14C0E-B70E-4281-9AD2-7129A7F7BB3E}" dt="2021-12-10T06:09:23.474" v="745"/>
          <ac:inkMkLst>
            <pc:docMk/>
            <pc:sldMk cId="4219638125" sldId="263"/>
            <ac:inkMk id="25" creationId="{E32195CE-0E45-4065-8618-31EF7D69B5EA}"/>
          </ac:inkMkLst>
        </pc:inkChg>
        <pc:inkChg chg="add mod">
          <ac:chgData name="Aniket Chhabra" userId="598e0514-bef3-4e71-b6aa-f2edd6441cff" providerId="ADAL" clId="{36D14C0E-B70E-4281-9AD2-7129A7F7BB3E}" dt="2021-12-10T06:09:23.474" v="745"/>
          <ac:inkMkLst>
            <pc:docMk/>
            <pc:sldMk cId="4219638125" sldId="263"/>
            <ac:inkMk id="26" creationId="{A264B67A-C32F-47AC-8885-6C08DA70A396}"/>
          </ac:inkMkLst>
        </pc:inkChg>
        <pc:inkChg chg="add mod">
          <ac:chgData name="Aniket Chhabra" userId="598e0514-bef3-4e71-b6aa-f2edd6441cff" providerId="ADAL" clId="{36D14C0E-B70E-4281-9AD2-7129A7F7BB3E}" dt="2021-12-10T06:09:23.474" v="745"/>
          <ac:inkMkLst>
            <pc:docMk/>
            <pc:sldMk cId="4219638125" sldId="263"/>
            <ac:inkMk id="27" creationId="{DC21C667-63DB-483A-8AA7-45057A9F4FB3}"/>
          </ac:inkMkLst>
        </pc:inkChg>
        <pc:inkChg chg="add mod">
          <ac:chgData name="Aniket Chhabra" userId="598e0514-bef3-4e71-b6aa-f2edd6441cff" providerId="ADAL" clId="{36D14C0E-B70E-4281-9AD2-7129A7F7BB3E}" dt="2021-12-10T06:09:23.474" v="745"/>
          <ac:inkMkLst>
            <pc:docMk/>
            <pc:sldMk cId="4219638125" sldId="263"/>
            <ac:inkMk id="29" creationId="{71EF699D-CFEA-4094-A652-87EE6EC2432F}"/>
          </ac:inkMkLst>
        </pc:inkChg>
        <pc:inkChg chg="add mod">
          <ac:chgData name="Aniket Chhabra" userId="598e0514-bef3-4e71-b6aa-f2edd6441cff" providerId="ADAL" clId="{36D14C0E-B70E-4281-9AD2-7129A7F7BB3E}" dt="2021-12-10T06:09:23.474" v="745"/>
          <ac:inkMkLst>
            <pc:docMk/>
            <pc:sldMk cId="4219638125" sldId="263"/>
            <ac:inkMk id="30" creationId="{07CC6CAA-A0F4-4D1A-AE0A-ED7D40F21114}"/>
          </ac:inkMkLst>
        </pc:inkChg>
        <pc:inkChg chg="add mod">
          <ac:chgData name="Aniket Chhabra" userId="598e0514-bef3-4e71-b6aa-f2edd6441cff" providerId="ADAL" clId="{36D14C0E-B70E-4281-9AD2-7129A7F7BB3E}" dt="2021-12-10T06:09:23.474" v="745"/>
          <ac:inkMkLst>
            <pc:docMk/>
            <pc:sldMk cId="4219638125" sldId="263"/>
            <ac:inkMk id="31" creationId="{1510D52A-64F3-4179-A8D3-913689E411AF}"/>
          </ac:inkMkLst>
        </pc:inkChg>
        <pc:inkChg chg="add mod">
          <ac:chgData name="Aniket Chhabra" userId="598e0514-bef3-4e71-b6aa-f2edd6441cff" providerId="ADAL" clId="{36D14C0E-B70E-4281-9AD2-7129A7F7BB3E}" dt="2021-12-10T06:09:23.474" v="745"/>
          <ac:inkMkLst>
            <pc:docMk/>
            <pc:sldMk cId="4219638125" sldId="263"/>
            <ac:inkMk id="32" creationId="{7041084D-FC65-4E28-95E7-4D98E797716C}"/>
          </ac:inkMkLst>
        </pc:inkChg>
        <pc:inkChg chg="add mod">
          <ac:chgData name="Aniket Chhabra" userId="598e0514-bef3-4e71-b6aa-f2edd6441cff" providerId="ADAL" clId="{36D14C0E-B70E-4281-9AD2-7129A7F7BB3E}" dt="2021-12-10T06:09:23.474" v="745"/>
          <ac:inkMkLst>
            <pc:docMk/>
            <pc:sldMk cId="4219638125" sldId="263"/>
            <ac:inkMk id="33" creationId="{B8C9AE40-5B95-4695-B3AA-C551E2B1F889}"/>
          </ac:inkMkLst>
        </pc:inkChg>
        <pc:inkChg chg="add mod">
          <ac:chgData name="Aniket Chhabra" userId="598e0514-bef3-4e71-b6aa-f2edd6441cff" providerId="ADAL" clId="{36D14C0E-B70E-4281-9AD2-7129A7F7BB3E}" dt="2021-12-10T06:09:23.474" v="745"/>
          <ac:inkMkLst>
            <pc:docMk/>
            <pc:sldMk cId="4219638125" sldId="263"/>
            <ac:inkMk id="35" creationId="{CAD7EC96-6B04-4F15-B04A-5E799E8B83FA}"/>
          </ac:inkMkLst>
        </pc:inkChg>
        <pc:inkChg chg="add mod">
          <ac:chgData name="Aniket Chhabra" userId="598e0514-bef3-4e71-b6aa-f2edd6441cff" providerId="ADAL" clId="{36D14C0E-B70E-4281-9AD2-7129A7F7BB3E}" dt="2021-12-10T06:09:23.474" v="745"/>
          <ac:inkMkLst>
            <pc:docMk/>
            <pc:sldMk cId="4219638125" sldId="263"/>
            <ac:inkMk id="36" creationId="{921C5DEF-71F2-4BE8-BEA5-1134C3FD5192}"/>
          </ac:inkMkLst>
        </pc:inkChg>
        <pc:inkChg chg="add mod">
          <ac:chgData name="Aniket Chhabra" userId="598e0514-bef3-4e71-b6aa-f2edd6441cff" providerId="ADAL" clId="{36D14C0E-B70E-4281-9AD2-7129A7F7BB3E}" dt="2021-12-10T06:09:23.474" v="745"/>
          <ac:inkMkLst>
            <pc:docMk/>
            <pc:sldMk cId="4219638125" sldId="263"/>
            <ac:inkMk id="37" creationId="{60C90287-52F6-414F-9AEA-D07EE5CAAAB1}"/>
          </ac:inkMkLst>
        </pc:inkChg>
        <pc:inkChg chg="add mod">
          <ac:chgData name="Aniket Chhabra" userId="598e0514-bef3-4e71-b6aa-f2edd6441cff" providerId="ADAL" clId="{36D14C0E-B70E-4281-9AD2-7129A7F7BB3E}" dt="2021-12-10T06:09:23.474" v="745"/>
          <ac:inkMkLst>
            <pc:docMk/>
            <pc:sldMk cId="4219638125" sldId="263"/>
            <ac:inkMk id="38" creationId="{4E873426-26A1-4892-9096-6B486515DEB6}"/>
          </ac:inkMkLst>
        </pc:inkChg>
        <pc:inkChg chg="add mod">
          <ac:chgData name="Aniket Chhabra" userId="598e0514-bef3-4e71-b6aa-f2edd6441cff" providerId="ADAL" clId="{36D14C0E-B70E-4281-9AD2-7129A7F7BB3E}" dt="2021-12-10T06:09:23.474" v="745"/>
          <ac:inkMkLst>
            <pc:docMk/>
            <pc:sldMk cId="4219638125" sldId="263"/>
            <ac:inkMk id="39" creationId="{158087A6-3E32-46C7-9824-9BC338B80886}"/>
          </ac:inkMkLst>
        </pc:inkChg>
        <pc:inkChg chg="add mod">
          <ac:chgData name="Aniket Chhabra" userId="598e0514-bef3-4e71-b6aa-f2edd6441cff" providerId="ADAL" clId="{36D14C0E-B70E-4281-9AD2-7129A7F7BB3E}" dt="2021-12-10T06:09:23.474" v="745"/>
          <ac:inkMkLst>
            <pc:docMk/>
            <pc:sldMk cId="4219638125" sldId="263"/>
            <ac:inkMk id="40" creationId="{0A7D0F7B-82E9-4E7E-98F9-A412EC5D31C6}"/>
          </ac:inkMkLst>
        </pc:inkChg>
        <pc:inkChg chg="add mod">
          <ac:chgData name="Aniket Chhabra" userId="598e0514-bef3-4e71-b6aa-f2edd6441cff" providerId="ADAL" clId="{36D14C0E-B70E-4281-9AD2-7129A7F7BB3E}" dt="2021-12-10T06:09:23.474" v="745"/>
          <ac:inkMkLst>
            <pc:docMk/>
            <pc:sldMk cId="4219638125" sldId="263"/>
            <ac:inkMk id="41" creationId="{B1BFA5D8-E996-4AEA-B0D6-19A4490565E5}"/>
          </ac:inkMkLst>
        </pc:inkChg>
        <pc:inkChg chg="add mod">
          <ac:chgData name="Aniket Chhabra" userId="598e0514-bef3-4e71-b6aa-f2edd6441cff" providerId="ADAL" clId="{36D14C0E-B70E-4281-9AD2-7129A7F7BB3E}" dt="2021-12-10T06:09:23.474" v="745"/>
          <ac:inkMkLst>
            <pc:docMk/>
            <pc:sldMk cId="4219638125" sldId="263"/>
            <ac:inkMk id="42" creationId="{35ADEA8F-5760-4563-8BC1-83FE72DBD8EC}"/>
          </ac:inkMkLst>
        </pc:inkChg>
        <pc:inkChg chg="add mod">
          <ac:chgData name="Aniket Chhabra" userId="598e0514-bef3-4e71-b6aa-f2edd6441cff" providerId="ADAL" clId="{36D14C0E-B70E-4281-9AD2-7129A7F7BB3E}" dt="2021-12-10T06:09:23.474" v="745"/>
          <ac:inkMkLst>
            <pc:docMk/>
            <pc:sldMk cId="4219638125" sldId="263"/>
            <ac:inkMk id="43" creationId="{0A8B8CE6-9A0C-4C1D-AE3B-E9EC83123FDF}"/>
          </ac:inkMkLst>
        </pc:inkChg>
        <pc:inkChg chg="add mod">
          <ac:chgData name="Aniket Chhabra" userId="598e0514-bef3-4e71-b6aa-f2edd6441cff" providerId="ADAL" clId="{36D14C0E-B70E-4281-9AD2-7129A7F7BB3E}" dt="2021-12-10T06:09:23.474" v="745"/>
          <ac:inkMkLst>
            <pc:docMk/>
            <pc:sldMk cId="4219638125" sldId="263"/>
            <ac:inkMk id="44" creationId="{D7B2FF42-309F-4327-9FC1-E558A9DBF22A}"/>
          </ac:inkMkLst>
        </pc:inkChg>
        <pc:inkChg chg="add mod">
          <ac:chgData name="Aniket Chhabra" userId="598e0514-bef3-4e71-b6aa-f2edd6441cff" providerId="ADAL" clId="{36D14C0E-B70E-4281-9AD2-7129A7F7BB3E}" dt="2021-12-10T06:09:23.474" v="745"/>
          <ac:inkMkLst>
            <pc:docMk/>
            <pc:sldMk cId="4219638125" sldId="263"/>
            <ac:inkMk id="45" creationId="{B828A95C-AE02-4993-8097-BAFFE9544941}"/>
          </ac:inkMkLst>
        </pc:inkChg>
        <pc:inkChg chg="add mod">
          <ac:chgData name="Aniket Chhabra" userId="598e0514-bef3-4e71-b6aa-f2edd6441cff" providerId="ADAL" clId="{36D14C0E-B70E-4281-9AD2-7129A7F7BB3E}" dt="2021-12-10T06:09:23.474" v="745"/>
          <ac:inkMkLst>
            <pc:docMk/>
            <pc:sldMk cId="4219638125" sldId="263"/>
            <ac:inkMk id="46" creationId="{EDF2F4EE-0614-4651-8D7F-F7056AA436F9}"/>
          </ac:inkMkLst>
        </pc:inkChg>
        <pc:inkChg chg="add mod">
          <ac:chgData name="Aniket Chhabra" userId="598e0514-bef3-4e71-b6aa-f2edd6441cff" providerId="ADAL" clId="{36D14C0E-B70E-4281-9AD2-7129A7F7BB3E}" dt="2021-12-10T06:09:23.474" v="745"/>
          <ac:inkMkLst>
            <pc:docMk/>
            <pc:sldMk cId="4219638125" sldId="263"/>
            <ac:inkMk id="47" creationId="{5A1DC7AF-32F3-4C3C-9A79-386E82AE55B1}"/>
          </ac:inkMkLst>
        </pc:inkChg>
        <pc:inkChg chg="add mod">
          <ac:chgData name="Aniket Chhabra" userId="598e0514-bef3-4e71-b6aa-f2edd6441cff" providerId="ADAL" clId="{36D14C0E-B70E-4281-9AD2-7129A7F7BB3E}" dt="2021-12-10T06:09:23.474" v="745"/>
          <ac:inkMkLst>
            <pc:docMk/>
            <pc:sldMk cId="4219638125" sldId="263"/>
            <ac:inkMk id="48" creationId="{179339B7-4F15-49F2-9AF4-CCC9B46AB41A}"/>
          </ac:inkMkLst>
        </pc:inkChg>
        <pc:inkChg chg="add mod">
          <ac:chgData name="Aniket Chhabra" userId="598e0514-bef3-4e71-b6aa-f2edd6441cff" providerId="ADAL" clId="{36D14C0E-B70E-4281-9AD2-7129A7F7BB3E}" dt="2021-12-10T06:09:23.474" v="745"/>
          <ac:inkMkLst>
            <pc:docMk/>
            <pc:sldMk cId="4219638125" sldId="263"/>
            <ac:inkMk id="49" creationId="{DC05390C-AC67-4366-9F4B-F73E47BF1201}"/>
          </ac:inkMkLst>
        </pc:inkChg>
        <pc:inkChg chg="add mod">
          <ac:chgData name="Aniket Chhabra" userId="598e0514-bef3-4e71-b6aa-f2edd6441cff" providerId="ADAL" clId="{36D14C0E-B70E-4281-9AD2-7129A7F7BB3E}" dt="2021-12-10T06:09:23.474" v="745"/>
          <ac:inkMkLst>
            <pc:docMk/>
            <pc:sldMk cId="4219638125" sldId="263"/>
            <ac:inkMk id="50" creationId="{83911708-22AA-4821-803A-7F60944DC3A0}"/>
          </ac:inkMkLst>
        </pc:inkChg>
        <pc:inkChg chg="add mod">
          <ac:chgData name="Aniket Chhabra" userId="598e0514-bef3-4e71-b6aa-f2edd6441cff" providerId="ADAL" clId="{36D14C0E-B70E-4281-9AD2-7129A7F7BB3E}" dt="2021-12-10T06:09:23.474" v="745"/>
          <ac:inkMkLst>
            <pc:docMk/>
            <pc:sldMk cId="4219638125" sldId="263"/>
            <ac:inkMk id="51" creationId="{1660F598-DE37-4D92-A7BA-85E87AE1B239}"/>
          </ac:inkMkLst>
        </pc:inkChg>
        <pc:inkChg chg="add mod">
          <ac:chgData name="Aniket Chhabra" userId="598e0514-bef3-4e71-b6aa-f2edd6441cff" providerId="ADAL" clId="{36D14C0E-B70E-4281-9AD2-7129A7F7BB3E}" dt="2021-12-10T06:09:23.474" v="745"/>
          <ac:inkMkLst>
            <pc:docMk/>
            <pc:sldMk cId="4219638125" sldId="263"/>
            <ac:inkMk id="52" creationId="{0EA5336F-CC15-4A49-9974-7C57293E185F}"/>
          </ac:inkMkLst>
        </pc:inkChg>
        <pc:inkChg chg="add mod">
          <ac:chgData name="Aniket Chhabra" userId="598e0514-bef3-4e71-b6aa-f2edd6441cff" providerId="ADAL" clId="{36D14C0E-B70E-4281-9AD2-7129A7F7BB3E}" dt="2021-12-10T06:09:23.474" v="745"/>
          <ac:inkMkLst>
            <pc:docMk/>
            <pc:sldMk cId="4219638125" sldId="263"/>
            <ac:inkMk id="53" creationId="{4525B8DC-4A4B-46D2-A83C-755E581BCC22}"/>
          </ac:inkMkLst>
        </pc:inkChg>
        <pc:inkChg chg="add mod">
          <ac:chgData name="Aniket Chhabra" userId="598e0514-bef3-4e71-b6aa-f2edd6441cff" providerId="ADAL" clId="{36D14C0E-B70E-4281-9AD2-7129A7F7BB3E}" dt="2021-12-10T06:09:23.474" v="745"/>
          <ac:inkMkLst>
            <pc:docMk/>
            <pc:sldMk cId="4219638125" sldId="263"/>
            <ac:inkMk id="54" creationId="{72286FC9-1C0B-468D-9C40-477FA6968A2D}"/>
          </ac:inkMkLst>
        </pc:inkChg>
        <pc:inkChg chg="add mod">
          <ac:chgData name="Aniket Chhabra" userId="598e0514-bef3-4e71-b6aa-f2edd6441cff" providerId="ADAL" clId="{36D14C0E-B70E-4281-9AD2-7129A7F7BB3E}" dt="2021-12-10T06:09:23.474" v="745"/>
          <ac:inkMkLst>
            <pc:docMk/>
            <pc:sldMk cId="4219638125" sldId="263"/>
            <ac:inkMk id="55" creationId="{BE4F1136-1306-4459-9469-0819A15C3C1C}"/>
          </ac:inkMkLst>
        </pc:inkChg>
        <pc:inkChg chg="add del mod">
          <ac:chgData name="Aniket Chhabra" userId="598e0514-bef3-4e71-b6aa-f2edd6441cff" providerId="ADAL" clId="{36D14C0E-B70E-4281-9AD2-7129A7F7BB3E}" dt="2021-12-10T06:09:22.024" v="738"/>
          <ac:inkMkLst>
            <pc:docMk/>
            <pc:sldMk cId="4219638125" sldId="263"/>
            <ac:inkMk id="57" creationId="{932F8BD0-1A8C-4A44-831D-01917CF8CED8}"/>
          </ac:inkMkLst>
        </pc:inkChg>
        <pc:inkChg chg="add del mod">
          <ac:chgData name="Aniket Chhabra" userId="598e0514-bef3-4e71-b6aa-f2edd6441cff" providerId="ADAL" clId="{36D14C0E-B70E-4281-9AD2-7129A7F7BB3E}" dt="2021-12-10T06:09:22.026" v="739"/>
          <ac:inkMkLst>
            <pc:docMk/>
            <pc:sldMk cId="4219638125" sldId="263"/>
            <ac:inkMk id="58" creationId="{425F2559-07B4-429A-AEBA-2AD1C6CEEC3B}"/>
          </ac:inkMkLst>
        </pc:inkChg>
        <pc:inkChg chg="add del mod">
          <ac:chgData name="Aniket Chhabra" userId="598e0514-bef3-4e71-b6aa-f2edd6441cff" providerId="ADAL" clId="{36D14C0E-B70E-4281-9AD2-7129A7F7BB3E}" dt="2021-12-10T06:09:23.472" v="742"/>
          <ac:inkMkLst>
            <pc:docMk/>
            <pc:sldMk cId="4219638125" sldId="263"/>
            <ac:inkMk id="59" creationId="{94284532-50DA-4DED-8A99-914080200BF9}"/>
          </ac:inkMkLst>
        </pc:inkChg>
        <pc:inkChg chg="add del mod">
          <ac:chgData name="Aniket Chhabra" userId="598e0514-bef3-4e71-b6aa-f2edd6441cff" providerId="ADAL" clId="{36D14C0E-B70E-4281-9AD2-7129A7F7BB3E}" dt="2021-12-10T06:09:23.474" v="745"/>
          <ac:inkMkLst>
            <pc:docMk/>
            <pc:sldMk cId="4219638125" sldId="263"/>
            <ac:inkMk id="60" creationId="{45754715-F30B-4D74-85C5-F20D5DB3382D}"/>
          </ac:inkMkLst>
        </pc:inkChg>
        <pc:inkChg chg="add del mod">
          <ac:chgData name="Aniket Chhabra" userId="598e0514-bef3-4e71-b6aa-f2edd6441cff" providerId="ADAL" clId="{36D14C0E-B70E-4281-9AD2-7129A7F7BB3E}" dt="2021-12-10T06:09:23.474" v="744"/>
          <ac:inkMkLst>
            <pc:docMk/>
            <pc:sldMk cId="4219638125" sldId="263"/>
            <ac:inkMk id="61" creationId="{01A67830-7243-47F8-A1E8-7C4E0303314D}"/>
          </ac:inkMkLst>
        </pc:inkChg>
        <pc:inkChg chg="add del mod">
          <ac:chgData name="Aniket Chhabra" userId="598e0514-bef3-4e71-b6aa-f2edd6441cff" providerId="ADAL" clId="{36D14C0E-B70E-4281-9AD2-7129A7F7BB3E}" dt="2021-12-10T06:09:23.473" v="743"/>
          <ac:inkMkLst>
            <pc:docMk/>
            <pc:sldMk cId="4219638125" sldId="263"/>
            <ac:inkMk id="62" creationId="{86FA4084-BE67-4B1F-87A1-EB20A08A0B08}"/>
          </ac:inkMkLst>
        </pc:inkChg>
        <pc:inkChg chg="add del mod">
          <ac:chgData name="Aniket Chhabra" userId="598e0514-bef3-4e71-b6aa-f2edd6441cff" providerId="ADAL" clId="{36D14C0E-B70E-4281-9AD2-7129A7F7BB3E}" dt="2021-12-10T06:09:23.471" v="741"/>
          <ac:inkMkLst>
            <pc:docMk/>
            <pc:sldMk cId="4219638125" sldId="263"/>
            <ac:inkMk id="63" creationId="{0DBC206B-F4C5-44D1-85ED-E8060147451E}"/>
          </ac:inkMkLst>
        </pc:inkChg>
        <pc:inkChg chg="add del mod">
          <ac:chgData name="Aniket Chhabra" userId="598e0514-bef3-4e71-b6aa-f2edd6441cff" providerId="ADAL" clId="{36D14C0E-B70E-4281-9AD2-7129A7F7BB3E}" dt="2021-12-10T06:09:23.470" v="740"/>
          <ac:inkMkLst>
            <pc:docMk/>
            <pc:sldMk cId="4219638125" sldId="263"/>
            <ac:inkMk id="64" creationId="{17F0DF09-0E41-4B6D-882F-17ED5F1A1AED}"/>
          </ac:inkMkLst>
        </pc:inkChg>
        <pc:inkChg chg="add mod">
          <ac:chgData name="Aniket Chhabra" userId="598e0514-bef3-4e71-b6aa-f2edd6441cff" providerId="ADAL" clId="{36D14C0E-B70E-4281-9AD2-7129A7F7BB3E}" dt="2021-12-10T06:09:17.673" v="736"/>
          <ac:inkMkLst>
            <pc:docMk/>
            <pc:sldMk cId="4219638125" sldId="263"/>
            <ac:inkMk id="66" creationId="{6C9301D8-9198-4272-963C-3093A630882B}"/>
          </ac:inkMkLst>
        </pc:inkChg>
        <pc:inkChg chg="add mod">
          <ac:chgData name="Aniket Chhabra" userId="598e0514-bef3-4e71-b6aa-f2edd6441cff" providerId="ADAL" clId="{36D14C0E-B70E-4281-9AD2-7129A7F7BB3E}" dt="2021-12-10T06:09:17.673" v="736"/>
          <ac:inkMkLst>
            <pc:docMk/>
            <pc:sldMk cId="4219638125" sldId="263"/>
            <ac:inkMk id="67" creationId="{96C229B6-120C-4E7D-83A9-3E4042D31CEE}"/>
          </ac:inkMkLst>
        </pc:inkChg>
        <pc:inkChg chg="add mod">
          <ac:chgData name="Aniket Chhabra" userId="598e0514-bef3-4e71-b6aa-f2edd6441cff" providerId="ADAL" clId="{36D14C0E-B70E-4281-9AD2-7129A7F7BB3E}" dt="2021-12-10T06:09:17.673" v="736"/>
          <ac:inkMkLst>
            <pc:docMk/>
            <pc:sldMk cId="4219638125" sldId="263"/>
            <ac:inkMk id="68" creationId="{D39E4198-E1B6-41E3-8236-E411B526F4A8}"/>
          </ac:inkMkLst>
        </pc:inkChg>
        <pc:inkChg chg="add mod">
          <ac:chgData name="Aniket Chhabra" userId="598e0514-bef3-4e71-b6aa-f2edd6441cff" providerId="ADAL" clId="{36D14C0E-B70E-4281-9AD2-7129A7F7BB3E}" dt="2021-12-10T06:09:17.673" v="736"/>
          <ac:inkMkLst>
            <pc:docMk/>
            <pc:sldMk cId="4219638125" sldId="263"/>
            <ac:inkMk id="69" creationId="{D1DD8D06-8CF1-4104-8CAC-C07464F9B83C}"/>
          </ac:inkMkLst>
        </pc:inkChg>
        <pc:inkChg chg="add del mod">
          <ac:chgData name="Aniket Chhabra" userId="598e0514-bef3-4e71-b6aa-f2edd6441cff" providerId="ADAL" clId="{36D14C0E-B70E-4281-9AD2-7129A7F7BB3E}" dt="2021-12-10T06:09:17.673" v="736"/>
          <ac:inkMkLst>
            <pc:docMk/>
            <pc:sldMk cId="4219638125" sldId="263"/>
            <ac:inkMk id="70" creationId="{5D6F2A98-E2B3-4163-838B-85B668F44E9D}"/>
          </ac:inkMkLst>
        </pc:inkChg>
        <pc:inkChg chg="add del">
          <ac:chgData name="Aniket Chhabra" userId="598e0514-bef3-4e71-b6aa-f2edd6441cff" providerId="ADAL" clId="{36D14C0E-B70E-4281-9AD2-7129A7F7BB3E}" dt="2021-12-10T06:09:16.677" v="734"/>
          <ac:inkMkLst>
            <pc:docMk/>
            <pc:sldMk cId="4219638125" sldId="263"/>
            <ac:inkMk id="71" creationId="{CA955EFD-BA17-4276-9758-CCC692421221}"/>
          </ac:inkMkLst>
        </pc:inkChg>
        <pc:inkChg chg="add">
          <ac:chgData name="Aniket Chhabra" userId="598e0514-bef3-4e71-b6aa-f2edd6441cff" providerId="ADAL" clId="{36D14C0E-B70E-4281-9AD2-7129A7F7BB3E}" dt="2021-12-10T06:09:17.998" v="737" actId="9405"/>
          <ac:inkMkLst>
            <pc:docMk/>
            <pc:sldMk cId="4219638125" sldId="263"/>
            <ac:inkMk id="73" creationId="{8471DC5C-74BC-4A08-9CA3-6B28815A4B94}"/>
          </ac:inkMkLst>
        </pc:inkChg>
        <pc:inkChg chg="add mod">
          <ac:chgData name="Aniket Chhabra" userId="598e0514-bef3-4e71-b6aa-f2edd6441cff" providerId="ADAL" clId="{36D14C0E-B70E-4281-9AD2-7129A7F7BB3E}" dt="2021-12-10T06:09:29.570" v="756"/>
          <ac:inkMkLst>
            <pc:docMk/>
            <pc:sldMk cId="4219638125" sldId="263"/>
            <ac:inkMk id="74" creationId="{3951272D-00EB-4541-A5E4-B2505D89413A}"/>
          </ac:inkMkLst>
        </pc:inkChg>
        <pc:inkChg chg="add mod">
          <ac:chgData name="Aniket Chhabra" userId="598e0514-bef3-4e71-b6aa-f2edd6441cff" providerId="ADAL" clId="{36D14C0E-B70E-4281-9AD2-7129A7F7BB3E}" dt="2021-12-10T06:09:29.570" v="756"/>
          <ac:inkMkLst>
            <pc:docMk/>
            <pc:sldMk cId="4219638125" sldId="263"/>
            <ac:inkMk id="75" creationId="{F5774B86-EE2A-4FAE-9528-5D71B0A692F1}"/>
          </ac:inkMkLst>
        </pc:inkChg>
        <pc:inkChg chg="add mod">
          <ac:chgData name="Aniket Chhabra" userId="598e0514-bef3-4e71-b6aa-f2edd6441cff" providerId="ADAL" clId="{36D14C0E-B70E-4281-9AD2-7129A7F7BB3E}" dt="2021-12-10T06:09:29.570" v="756"/>
          <ac:inkMkLst>
            <pc:docMk/>
            <pc:sldMk cId="4219638125" sldId="263"/>
            <ac:inkMk id="76" creationId="{7C376281-E12B-4B63-8E52-98AC1AD73A82}"/>
          </ac:inkMkLst>
        </pc:inkChg>
        <pc:inkChg chg="add mod">
          <ac:chgData name="Aniket Chhabra" userId="598e0514-bef3-4e71-b6aa-f2edd6441cff" providerId="ADAL" clId="{36D14C0E-B70E-4281-9AD2-7129A7F7BB3E}" dt="2021-12-10T06:09:29.570" v="756"/>
          <ac:inkMkLst>
            <pc:docMk/>
            <pc:sldMk cId="4219638125" sldId="263"/>
            <ac:inkMk id="77" creationId="{13677179-8518-48FB-9E69-AAC7FF9EE201}"/>
          </ac:inkMkLst>
        </pc:inkChg>
        <pc:inkChg chg="add mod">
          <ac:chgData name="Aniket Chhabra" userId="598e0514-bef3-4e71-b6aa-f2edd6441cff" providerId="ADAL" clId="{36D14C0E-B70E-4281-9AD2-7129A7F7BB3E}" dt="2021-12-10T06:09:29.570" v="756"/>
          <ac:inkMkLst>
            <pc:docMk/>
            <pc:sldMk cId="4219638125" sldId="263"/>
            <ac:inkMk id="79" creationId="{CF1F0EF0-E7B1-4439-A2F9-E4B04F00C617}"/>
          </ac:inkMkLst>
        </pc:inkChg>
        <pc:inkChg chg="add mod">
          <ac:chgData name="Aniket Chhabra" userId="598e0514-bef3-4e71-b6aa-f2edd6441cff" providerId="ADAL" clId="{36D14C0E-B70E-4281-9AD2-7129A7F7BB3E}" dt="2021-12-10T06:09:29.570" v="756"/>
          <ac:inkMkLst>
            <pc:docMk/>
            <pc:sldMk cId="4219638125" sldId="263"/>
            <ac:inkMk id="80" creationId="{4B94C064-372A-43FF-BD5E-7DB274C5FC63}"/>
          </ac:inkMkLst>
        </pc:inkChg>
        <pc:inkChg chg="add mod">
          <ac:chgData name="Aniket Chhabra" userId="598e0514-bef3-4e71-b6aa-f2edd6441cff" providerId="ADAL" clId="{36D14C0E-B70E-4281-9AD2-7129A7F7BB3E}" dt="2021-12-10T06:09:29.570" v="756"/>
          <ac:inkMkLst>
            <pc:docMk/>
            <pc:sldMk cId="4219638125" sldId="263"/>
            <ac:inkMk id="81" creationId="{8AF4F036-82D6-4DF3-818E-392F099760F2}"/>
          </ac:inkMkLst>
        </pc:inkChg>
        <pc:inkChg chg="add mod">
          <ac:chgData name="Aniket Chhabra" userId="598e0514-bef3-4e71-b6aa-f2edd6441cff" providerId="ADAL" clId="{36D14C0E-B70E-4281-9AD2-7129A7F7BB3E}" dt="2021-12-10T06:09:29.570" v="756"/>
          <ac:inkMkLst>
            <pc:docMk/>
            <pc:sldMk cId="4219638125" sldId="263"/>
            <ac:inkMk id="82" creationId="{6817A028-678E-444E-956B-A94BF11D880A}"/>
          </ac:inkMkLst>
        </pc:inkChg>
        <pc:inkChg chg="add mod">
          <ac:chgData name="Aniket Chhabra" userId="598e0514-bef3-4e71-b6aa-f2edd6441cff" providerId="ADAL" clId="{36D14C0E-B70E-4281-9AD2-7129A7F7BB3E}" dt="2021-12-10T06:09:29.570" v="756"/>
          <ac:inkMkLst>
            <pc:docMk/>
            <pc:sldMk cId="4219638125" sldId="263"/>
            <ac:inkMk id="83" creationId="{43CBBC07-4078-412C-97DD-0C107B48B79F}"/>
          </ac:inkMkLst>
        </pc:inkChg>
        <pc:inkChg chg="add">
          <ac:chgData name="Aniket Chhabra" userId="598e0514-bef3-4e71-b6aa-f2edd6441cff" providerId="ADAL" clId="{36D14C0E-B70E-4281-9AD2-7129A7F7BB3E}" dt="2021-12-10T06:09:45.235" v="757" actId="9405"/>
          <ac:inkMkLst>
            <pc:docMk/>
            <pc:sldMk cId="4219638125" sldId="263"/>
            <ac:inkMk id="86" creationId="{9E411338-2396-4A3E-B05D-739DEF1A77F3}"/>
          </ac:inkMkLst>
        </pc:inkChg>
        <pc:inkChg chg="add">
          <ac:chgData name="Aniket Chhabra" userId="598e0514-bef3-4e71-b6aa-f2edd6441cff" providerId="ADAL" clId="{36D14C0E-B70E-4281-9AD2-7129A7F7BB3E}" dt="2021-12-10T06:09:46.125" v="758" actId="9405"/>
          <ac:inkMkLst>
            <pc:docMk/>
            <pc:sldMk cId="4219638125" sldId="263"/>
            <ac:inkMk id="87" creationId="{EE45E37B-38B9-48E9-8A76-B66C934A6546}"/>
          </ac:inkMkLst>
        </pc:inkChg>
        <pc:inkChg chg="add del">
          <ac:chgData name="Aniket Chhabra" userId="598e0514-bef3-4e71-b6aa-f2edd6441cff" providerId="ADAL" clId="{36D14C0E-B70E-4281-9AD2-7129A7F7BB3E}" dt="2021-12-10T06:09:50.311" v="764"/>
          <ac:inkMkLst>
            <pc:docMk/>
            <pc:sldMk cId="4219638125" sldId="263"/>
            <ac:inkMk id="88" creationId="{1B535C93-ACFD-4DFE-A267-1593DED59E14}"/>
          </ac:inkMkLst>
        </pc:inkChg>
        <pc:inkChg chg="add del">
          <ac:chgData name="Aniket Chhabra" userId="598e0514-bef3-4e71-b6aa-f2edd6441cff" providerId="ADAL" clId="{36D14C0E-B70E-4281-9AD2-7129A7F7BB3E}" dt="2021-12-10T06:09:50.310" v="763"/>
          <ac:inkMkLst>
            <pc:docMk/>
            <pc:sldMk cId="4219638125" sldId="263"/>
            <ac:inkMk id="89" creationId="{1E4CE4C9-81B8-4499-8185-D063C1F765B1}"/>
          </ac:inkMkLst>
        </pc:inkChg>
        <pc:inkChg chg="add del">
          <ac:chgData name="Aniket Chhabra" userId="598e0514-bef3-4e71-b6aa-f2edd6441cff" providerId="ADAL" clId="{36D14C0E-B70E-4281-9AD2-7129A7F7BB3E}" dt="2021-12-10T06:09:50.308" v="762"/>
          <ac:inkMkLst>
            <pc:docMk/>
            <pc:sldMk cId="4219638125" sldId="263"/>
            <ac:inkMk id="90" creationId="{15CDE48A-E81B-44EF-90C1-4F8A1EB28EE6}"/>
          </ac:inkMkLst>
        </pc:inkChg>
        <pc:inkChg chg="add mod">
          <ac:chgData name="Aniket Chhabra" userId="598e0514-bef3-4e71-b6aa-f2edd6441cff" providerId="ADAL" clId="{36D14C0E-B70E-4281-9AD2-7129A7F7BB3E}" dt="2021-12-10T06:09:54.406" v="768"/>
          <ac:inkMkLst>
            <pc:docMk/>
            <pc:sldMk cId="4219638125" sldId="263"/>
            <ac:inkMk id="91" creationId="{33F33074-79BD-4DA5-A5E9-D32136CB641B}"/>
          </ac:inkMkLst>
        </pc:inkChg>
        <pc:inkChg chg="add mod">
          <ac:chgData name="Aniket Chhabra" userId="598e0514-bef3-4e71-b6aa-f2edd6441cff" providerId="ADAL" clId="{36D14C0E-B70E-4281-9AD2-7129A7F7BB3E}" dt="2021-12-10T06:09:54.406" v="768"/>
          <ac:inkMkLst>
            <pc:docMk/>
            <pc:sldMk cId="4219638125" sldId="263"/>
            <ac:inkMk id="92" creationId="{F61E40C7-6B47-442A-9E9C-A285E9FD6C31}"/>
          </ac:inkMkLst>
        </pc:inkChg>
        <pc:inkChg chg="add del">
          <ac:chgData name="Aniket Chhabra" userId="598e0514-bef3-4e71-b6aa-f2edd6441cff" providerId="ADAL" clId="{36D14C0E-B70E-4281-9AD2-7129A7F7BB3E}" dt="2021-12-10T06:10:00.294" v="776"/>
          <ac:inkMkLst>
            <pc:docMk/>
            <pc:sldMk cId="4219638125" sldId="263"/>
            <ac:inkMk id="94" creationId="{FD9E33DE-4877-46A5-A3B7-10855F10B546}"/>
          </ac:inkMkLst>
        </pc:inkChg>
        <pc:inkChg chg="add del">
          <ac:chgData name="Aniket Chhabra" userId="598e0514-bef3-4e71-b6aa-f2edd6441cff" providerId="ADAL" clId="{36D14C0E-B70E-4281-9AD2-7129A7F7BB3E}" dt="2021-12-10T06:10:00.295" v="777"/>
          <ac:inkMkLst>
            <pc:docMk/>
            <pc:sldMk cId="4219638125" sldId="263"/>
            <ac:inkMk id="95" creationId="{1837606A-7BB4-4BAD-993C-43421E2D600E}"/>
          </ac:inkMkLst>
        </pc:inkChg>
        <pc:inkChg chg="add del">
          <ac:chgData name="Aniket Chhabra" userId="598e0514-bef3-4e71-b6aa-f2edd6441cff" providerId="ADAL" clId="{36D14C0E-B70E-4281-9AD2-7129A7F7BB3E}" dt="2021-12-10T06:10:00.296" v="778"/>
          <ac:inkMkLst>
            <pc:docMk/>
            <pc:sldMk cId="4219638125" sldId="263"/>
            <ac:inkMk id="96" creationId="{077D8B89-78FC-4C05-B7EB-DD4BA8E41783}"/>
          </ac:inkMkLst>
        </pc:inkChg>
        <pc:inkChg chg="add mod">
          <ac:chgData name="Aniket Chhabra" userId="598e0514-bef3-4e71-b6aa-f2edd6441cff" providerId="ADAL" clId="{36D14C0E-B70E-4281-9AD2-7129A7F7BB3E}" dt="2021-12-10T06:10:04.884" v="787"/>
          <ac:inkMkLst>
            <pc:docMk/>
            <pc:sldMk cId="4219638125" sldId="263"/>
            <ac:inkMk id="97" creationId="{1BB0C372-109A-42AC-8345-33DCBC0A030D}"/>
          </ac:inkMkLst>
        </pc:inkChg>
        <pc:inkChg chg="add del mod">
          <ac:chgData name="Aniket Chhabra" userId="598e0514-bef3-4e71-b6aa-f2edd6441cff" providerId="ADAL" clId="{36D14C0E-B70E-4281-9AD2-7129A7F7BB3E}" dt="2021-12-10T06:10:04.884" v="787"/>
          <ac:inkMkLst>
            <pc:docMk/>
            <pc:sldMk cId="4219638125" sldId="263"/>
            <ac:inkMk id="98" creationId="{0C432C86-24BF-46C4-A76D-CE69196AAAAE}"/>
          </ac:inkMkLst>
        </pc:inkChg>
        <pc:inkChg chg="add del mod">
          <ac:chgData name="Aniket Chhabra" userId="598e0514-bef3-4e71-b6aa-f2edd6441cff" providerId="ADAL" clId="{36D14C0E-B70E-4281-9AD2-7129A7F7BB3E}" dt="2021-12-10T06:10:04.883" v="786"/>
          <ac:inkMkLst>
            <pc:docMk/>
            <pc:sldMk cId="4219638125" sldId="263"/>
            <ac:inkMk id="99" creationId="{6819C3CF-BCE7-47A6-986D-735E511DC12C}"/>
          </ac:inkMkLst>
        </pc:inkChg>
        <pc:inkChg chg="add del">
          <ac:chgData name="Aniket Chhabra" userId="598e0514-bef3-4e71-b6aa-f2edd6441cff" providerId="ADAL" clId="{36D14C0E-B70E-4281-9AD2-7129A7F7BB3E}" dt="2021-12-10T06:10:00.296" v="779"/>
          <ac:inkMkLst>
            <pc:docMk/>
            <pc:sldMk cId="4219638125" sldId="263"/>
            <ac:inkMk id="100" creationId="{B1108C8E-D198-45AF-A837-62EC43767A41}"/>
          </ac:inkMkLst>
        </pc:inkChg>
        <pc:inkChg chg="add mod">
          <ac:chgData name="Aniket Chhabra" userId="598e0514-bef3-4e71-b6aa-f2edd6441cff" providerId="ADAL" clId="{36D14C0E-B70E-4281-9AD2-7129A7F7BB3E}" dt="2021-12-10T06:10:02.575" v="784"/>
          <ac:inkMkLst>
            <pc:docMk/>
            <pc:sldMk cId="4219638125" sldId="263"/>
            <ac:inkMk id="102" creationId="{C4755B8A-2AAB-4E0C-9567-DAD56A3E75B1}"/>
          </ac:inkMkLst>
        </pc:inkChg>
        <pc:inkChg chg="add mod">
          <ac:chgData name="Aniket Chhabra" userId="598e0514-bef3-4e71-b6aa-f2edd6441cff" providerId="ADAL" clId="{36D14C0E-B70E-4281-9AD2-7129A7F7BB3E}" dt="2021-12-10T06:10:02.575" v="784"/>
          <ac:inkMkLst>
            <pc:docMk/>
            <pc:sldMk cId="4219638125" sldId="263"/>
            <ac:inkMk id="103" creationId="{C30318A9-7102-4256-9DA9-E59BF67A7049}"/>
          </ac:inkMkLst>
        </pc:inkChg>
        <pc:inkChg chg="add mod">
          <ac:chgData name="Aniket Chhabra" userId="598e0514-bef3-4e71-b6aa-f2edd6441cff" providerId="ADAL" clId="{36D14C0E-B70E-4281-9AD2-7129A7F7BB3E}" dt="2021-12-10T06:10:02.575" v="784"/>
          <ac:inkMkLst>
            <pc:docMk/>
            <pc:sldMk cId="4219638125" sldId="263"/>
            <ac:inkMk id="104" creationId="{8645A378-2862-4591-82D6-29CAA1299448}"/>
          </ac:inkMkLst>
        </pc:inkChg>
        <pc:inkChg chg="add del">
          <ac:chgData name="Aniket Chhabra" userId="598e0514-bef3-4e71-b6aa-f2edd6441cff" providerId="ADAL" clId="{36D14C0E-B70E-4281-9AD2-7129A7F7BB3E}" dt="2021-12-10T06:10:04.885" v="788"/>
          <ac:inkMkLst>
            <pc:docMk/>
            <pc:sldMk cId="4219638125" sldId="263"/>
            <ac:inkMk id="106" creationId="{FBD63AC6-A12A-4C64-8334-E8E94C34B821}"/>
          </ac:inkMkLst>
        </pc:inkChg>
        <pc:inkChg chg="add mod">
          <ac:chgData name="Aniket Chhabra" userId="598e0514-bef3-4e71-b6aa-f2edd6441cff" providerId="ADAL" clId="{36D14C0E-B70E-4281-9AD2-7129A7F7BB3E}" dt="2021-12-10T06:10:09.714" v="796"/>
          <ac:inkMkLst>
            <pc:docMk/>
            <pc:sldMk cId="4219638125" sldId="263"/>
            <ac:inkMk id="107" creationId="{F186C3E2-C126-4966-B399-E1815BA34CEB}"/>
          </ac:inkMkLst>
        </pc:inkChg>
        <pc:inkChg chg="add mod">
          <ac:chgData name="Aniket Chhabra" userId="598e0514-bef3-4e71-b6aa-f2edd6441cff" providerId="ADAL" clId="{36D14C0E-B70E-4281-9AD2-7129A7F7BB3E}" dt="2021-12-10T06:10:09.714" v="796"/>
          <ac:inkMkLst>
            <pc:docMk/>
            <pc:sldMk cId="4219638125" sldId="263"/>
            <ac:inkMk id="108" creationId="{6214B367-033A-4212-9C4C-791DBA33D386}"/>
          </ac:inkMkLst>
        </pc:inkChg>
        <pc:inkChg chg="add mod">
          <ac:chgData name="Aniket Chhabra" userId="598e0514-bef3-4e71-b6aa-f2edd6441cff" providerId="ADAL" clId="{36D14C0E-B70E-4281-9AD2-7129A7F7BB3E}" dt="2021-12-10T06:10:09.714" v="796"/>
          <ac:inkMkLst>
            <pc:docMk/>
            <pc:sldMk cId="4219638125" sldId="263"/>
            <ac:inkMk id="109" creationId="{EC2BC877-53C2-4540-A2F9-2190182BA987}"/>
          </ac:inkMkLst>
        </pc:inkChg>
        <pc:inkChg chg="add mod">
          <ac:chgData name="Aniket Chhabra" userId="598e0514-bef3-4e71-b6aa-f2edd6441cff" providerId="ADAL" clId="{36D14C0E-B70E-4281-9AD2-7129A7F7BB3E}" dt="2021-12-10T06:10:09.714" v="796"/>
          <ac:inkMkLst>
            <pc:docMk/>
            <pc:sldMk cId="4219638125" sldId="263"/>
            <ac:inkMk id="110" creationId="{BD9E315C-1345-4936-920A-077F88BC9A16}"/>
          </ac:inkMkLst>
        </pc:inkChg>
        <pc:inkChg chg="add mod">
          <ac:chgData name="Aniket Chhabra" userId="598e0514-bef3-4e71-b6aa-f2edd6441cff" providerId="ADAL" clId="{36D14C0E-B70E-4281-9AD2-7129A7F7BB3E}" dt="2021-12-10T06:10:09.714" v="796"/>
          <ac:inkMkLst>
            <pc:docMk/>
            <pc:sldMk cId="4219638125" sldId="263"/>
            <ac:inkMk id="111" creationId="{38F5916F-8687-4E99-9452-8D386904E260}"/>
          </ac:inkMkLst>
        </pc:inkChg>
        <pc:inkChg chg="add mod">
          <ac:chgData name="Aniket Chhabra" userId="598e0514-bef3-4e71-b6aa-f2edd6441cff" providerId="ADAL" clId="{36D14C0E-B70E-4281-9AD2-7129A7F7BB3E}" dt="2021-12-10T06:10:09.714" v="796"/>
          <ac:inkMkLst>
            <pc:docMk/>
            <pc:sldMk cId="4219638125" sldId="263"/>
            <ac:inkMk id="112" creationId="{4F13A2F4-B95D-4374-9D90-410A57622F81}"/>
          </ac:inkMkLst>
        </pc:inkChg>
        <pc:inkChg chg="add mod">
          <ac:chgData name="Aniket Chhabra" userId="598e0514-bef3-4e71-b6aa-f2edd6441cff" providerId="ADAL" clId="{36D14C0E-B70E-4281-9AD2-7129A7F7BB3E}" dt="2021-12-10T06:10:09.714" v="796"/>
          <ac:inkMkLst>
            <pc:docMk/>
            <pc:sldMk cId="4219638125" sldId="263"/>
            <ac:inkMk id="113" creationId="{9CAEB877-4FEC-478D-BD47-5965C9538166}"/>
          </ac:inkMkLst>
        </pc:inkChg>
        <pc:inkChg chg="add mod">
          <ac:chgData name="Aniket Chhabra" userId="598e0514-bef3-4e71-b6aa-f2edd6441cff" providerId="ADAL" clId="{36D14C0E-B70E-4281-9AD2-7129A7F7BB3E}" dt="2021-12-10T06:11:52.523" v="829"/>
          <ac:inkMkLst>
            <pc:docMk/>
            <pc:sldMk cId="4219638125" sldId="263"/>
            <ac:inkMk id="119" creationId="{47789DC2-EE8D-4B41-9118-84C354F32B65}"/>
          </ac:inkMkLst>
        </pc:inkChg>
        <pc:inkChg chg="add mod">
          <ac:chgData name="Aniket Chhabra" userId="598e0514-bef3-4e71-b6aa-f2edd6441cff" providerId="ADAL" clId="{36D14C0E-B70E-4281-9AD2-7129A7F7BB3E}" dt="2021-12-10T06:11:52.523" v="829"/>
          <ac:inkMkLst>
            <pc:docMk/>
            <pc:sldMk cId="4219638125" sldId="263"/>
            <ac:inkMk id="120" creationId="{9C65417C-F47C-4618-AE88-75688E8A6A14}"/>
          </ac:inkMkLst>
        </pc:inkChg>
        <pc:inkChg chg="add mod">
          <ac:chgData name="Aniket Chhabra" userId="598e0514-bef3-4e71-b6aa-f2edd6441cff" providerId="ADAL" clId="{36D14C0E-B70E-4281-9AD2-7129A7F7BB3E}" dt="2021-12-10T06:11:52.523" v="829"/>
          <ac:inkMkLst>
            <pc:docMk/>
            <pc:sldMk cId="4219638125" sldId="263"/>
            <ac:inkMk id="121" creationId="{CADE999E-68F8-4084-B867-36CB6948A882}"/>
          </ac:inkMkLst>
        </pc:inkChg>
        <pc:inkChg chg="add mod">
          <ac:chgData name="Aniket Chhabra" userId="598e0514-bef3-4e71-b6aa-f2edd6441cff" providerId="ADAL" clId="{36D14C0E-B70E-4281-9AD2-7129A7F7BB3E}" dt="2021-12-10T06:11:52.523" v="829"/>
          <ac:inkMkLst>
            <pc:docMk/>
            <pc:sldMk cId="4219638125" sldId="263"/>
            <ac:inkMk id="122" creationId="{139B1231-3271-4799-8A49-83F692514B9B}"/>
          </ac:inkMkLst>
        </pc:inkChg>
        <pc:inkChg chg="add mod">
          <ac:chgData name="Aniket Chhabra" userId="598e0514-bef3-4e71-b6aa-f2edd6441cff" providerId="ADAL" clId="{36D14C0E-B70E-4281-9AD2-7129A7F7BB3E}" dt="2021-12-10T06:11:52.523" v="829"/>
          <ac:inkMkLst>
            <pc:docMk/>
            <pc:sldMk cId="4219638125" sldId="263"/>
            <ac:inkMk id="123" creationId="{5290C8E3-1A86-44AE-8A53-34517676548A}"/>
          </ac:inkMkLst>
        </pc:inkChg>
        <pc:inkChg chg="add mod">
          <ac:chgData name="Aniket Chhabra" userId="598e0514-bef3-4e71-b6aa-f2edd6441cff" providerId="ADAL" clId="{36D14C0E-B70E-4281-9AD2-7129A7F7BB3E}" dt="2021-12-10T06:11:52.523" v="829"/>
          <ac:inkMkLst>
            <pc:docMk/>
            <pc:sldMk cId="4219638125" sldId="263"/>
            <ac:inkMk id="124" creationId="{10463F62-6973-43CF-9A35-E7FAC14BF1E3}"/>
          </ac:inkMkLst>
        </pc:inkChg>
        <pc:inkChg chg="add mod">
          <ac:chgData name="Aniket Chhabra" userId="598e0514-bef3-4e71-b6aa-f2edd6441cff" providerId="ADAL" clId="{36D14C0E-B70E-4281-9AD2-7129A7F7BB3E}" dt="2021-12-10T06:11:52.523" v="829"/>
          <ac:inkMkLst>
            <pc:docMk/>
            <pc:sldMk cId="4219638125" sldId="263"/>
            <ac:inkMk id="125" creationId="{2C87AE34-06BC-44B8-927D-1F6C0573843C}"/>
          </ac:inkMkLst>
        </pc:inkChg>
        <pc:inkChg chg="add mod">
          <ac:chgData name="Aniket Chhabra" userId="598e0514-bef3-4e71-b6aa-f2edd6441cff" providerId="ADAL" clId="{36D14C0E-B70E-4281-9AD2-7129A7F7BB3E}" dt="2021-12-10T06:11:52.523" v="829"/>
          <ac:inkMkLst>
            <pc:docMk/>
            <pc:sldMk cId="4219638125" sldId="263"/>
            <ac:inkMk id="126" creationId="{92459037-606D-4998-89F9-487A898675A1}"/>
          </ac:inkMkLst>
        </pc:inkChg>
        <pc:inkChg chg="add mod">
          <ac:chgData name="Aniket Chhabra" userId="598e0514-bef3-4e71-b6aa-f2edd6441cff" providerId="ADAL" clId="{36D14C0E-B70E-4281-9AD2-7129A7F7BB3E}" dt="2021-12-10T06:11:52.523" v="829"/>
          <ac:inkMkLst>
            <pc:docMk/>
            <pc:sldMk cId="4219638125" sldId="263"/>
            <ac:inkMk id="127" creationId="{82497EC4-4197-410B-9F31-418BF718385E}"/>
          </ac:inkMkLst>
        </pc:inkChg>
        <pc:inkChg chg="add mod">
          <ac:chgData name="Aniket Chhabra" userId="598e0514-bef3-4e71-b6aa-f2edd6441cff" providerId="ADAL" clId="{36D14C0E-B70E-4281-9AD2-7129A7F7BB3E}" dt="2021-12-10T06:11:52.523" v="829"/>
          <ac:inkMkLst>
            <pc:docMk/>
            <pc:sldMk cId="4219638125" sldId="263"/>
            <ac:inkMk id="128" creationId="{C0E6EE77-D2F5-4426-9C67-90348F503BB1}"/>
          </ac:inkMkLst>
        </pc:inkChg>
        <pc:inkChg chg="add mod">
          <ac:chgData name="Aniket Chhabra" userId="598e0514-bef3-4e71-b6aa-f2edd6441cff" providerId="ADAL" clId="{36D14C0E-B70E-4281-9AD2-7129A7F7BB3E}" dt="2021-12-10T06:11:52.523" v="829"/>
          <ac:inkMkLst>
            <pc:docMk/>
            <pc:sldMk cId="4219638125" sldId="263"/>
            <ac:inkMk id="129" creationId="{486BC3A7-3A16-4577-96F2-F8E4DB736E92}"/>
          </ac:inkMkLst>
        </pc:inkChg>
      </pc:sldChg>
      <pc:sldChg chg="addSp delSp modSp new add mod">
        <pc:chgData name="Aniket Chhabra" userId="598e0514-bef3-4e71-b6aa-f2edd6441cff" providerId="ADAL" clId="{36D14C0E-B70E-4281-9AD2-7129A7F7BB3E}" dt="2021-12-11T13:45:06.906" v="1783"/>
        <pc:sldMkLst>
          <pc:docMk/>
          <pc:sldMk cId="265263769" sldId="264"/>
        </pc:sldMkLst>
        <pc:spChg chg="del">
          <ac:chgData name="Aniket Chhabra" userId="598e0514-bef3-4e71-b6aa-f2edd6441cff" providerId="ADAL" clId="{36D14C0E-B70E-4281-9AD2-7129A7F7BB3E}" dt="2021-12-10T06:11:59.257" v="832" actId="478"/>
          <ac:spMkLst>
            <pc:docMk/>
            <pc:sldMk cId="265263769" sldId="264"/>
            <ac:spMk id="2" creationId="{247A2249-146A-4071-8754-9B226EC23BD9}"/>
          </ac:spMkLst>
        </pc:spChg>
        <pc:spChg chg="del">
          <ac:chgData name="Aniket Chhabra" userId="598e0514-bef3-4e71-b6aa-f2edd6441cff" providerId="ADAL" clId="{36D14C0E-B70E-4281-9AD2-7129A7F7BB3E}" dt="2021-12-10T06:11:59.257" v="832" actId="478"/>
          <ac:spMkLst>
            <pc:docMk/>
            <pc:sldMk cId="265263769" sldId="264"/>
            <ac:spMk id="3" creationId="{C4017386-4484-47FB-AA7F-92CBDB03FC34}"/>
          </ac:spMkLst>
        </pc:spChg>
        <pc:grpChg chg="add mod">
          <ac:chgData name="Aniket Chhabra" userId="598e0514-bef3-4e71-b6aa-f2edd6441cff" providerId="ADAL" clId="{36D14C0E-B70E-4281-9AD2-7129A7F7BB3E}" dt="2021-12-10T06:15:02.389" v="873" actId="1076"/>
          <ac:grpSpMkLst>
            <pc:docMk/>
            <pc:sldMk cId="265263769" sldId="264"/>
            <ac:grpSpMk id="22" creationId="{C203FB01-6EAC-45C0-9F7B-B75841312E8A}"/>
          </ac:grpSpMkLst>
        </pc:grpChg>
        <pc:graphicFrameChg chg="add mod modVis">
          <ac:chgData name="Aniket Chhabra" userId="598e0514-bef3-4e71-b6aa-f2edd6441cff" providerId="ADAL" clId="{36D14C0E-B70E-4281-9AD2-7129A7F7BB3E}" dt="2021-12-10T06:11:59.836" v="845"/>
          <ac:graphicFrameMkLst>
            <pc:docMk/>
            <pc:sldMk cId="265263769" sldId="264"/>
            <ac:graphicFrameMk id="10" creationId="{C7C7CCE2-8054-4F91-A8DE-3A0262CC951C}"/>
          </ac:graphicFrameMkLst>
        </pc:graphicFrameChg>
        <pc:picChg chg="add del">
          <ac:chgData name="Aniket Chhabra" userId="598e0514-bef3-4e71-b6aa-f2edd6441cff" providerId="ADAL" clId="{36D14C0E-B70E-4281-9AD2-7129A7F7BB3E}" dt="2021-12-10T06:11:55.765" v="831" actId="478"/>
          <ac:picMkLst>
            <pc:docMk/>
            <pc:sldMk cId="265263769" sldId="264"/>
            <ac:picMk id="5" creationId="{1F3303CB-A7B2-4185-B2DA-76716D2822A4}"/>
          </ac:picMkLst>
        </pc:picChg>
        <pc:picChg chg="add del">
          <ac:chgData name="Aniket Chhabra" userId="598e0514-bef3-4e71-b6aa-f2edd6441cff" providerId="ADAL" clId="{36D14C0E-B70E-4281-9AD2-7129A7F7BB3E}" dt="2021-12-10T06:11:59.257" v="832" actId="478"/>
          <ac:picMkLst>
            <pc:docMk/>
            <pc:sldMk cId="265263769" sldId="264"/>
            <ac:picMk id="7" creationId="{070BD313-9F54-4B59-9F78-16A2E88D7AE9}"/>
          </ac:picMkLst>
        </pc:picChg>
        <pc:picChg chg="add del">
          <ac:chgData name="Aniket Chhabra" userId="598e0514-bef3-4e71-b6aa-f2edd6441cff" providerId="ADAL" clId="{36D14C0E-B70E-4281-9AD2-7129A7F7BB3E}" dt="2021-12-10T06:11:54.645" v="830" actId="478"/>
          <ac:picMkLst>
            <pc:docMk/>
            <pc:sldMk cId="265263769" sldId="264"/>
            <ac:picMk id="9" creationId="{14D51F32-494A-4A09-97A2-4D73ED0055DF}"/>
          </ac:picMkLst>
        </pc:picChg>
        <pc:picChg chg="add del">
          <ac:chgData name="Aniket Chhabra" userId="598e0514-bef3-4e71-b6aa-f2edd6441cff" providerId="ADAL" clId="{36D14C0E-B70E-4281-9AD2-7129A7F7BB3E}" dt="2021-12-10T06:12:35.604" v="848" actId="478"/>
          <ac:picMkLst>
            <pc:docMk/>
            <pc:sldMk cId="265263769" sldId="264"/>
            <ac:picMk id="12" creationId="{E295FC9D-3720-4B60-BEB7-C867F2A6BD0F}"/>
          </ac:picMkLst>
        </pc:picChg>
        <pc:picChg chg="add mod">
          <ac:chgData name="Aniket Chhabra" userId="598e0514-bef3-4e71-b6aa-f2edd6441cff" providerId="ADAL" clId="{36D14C0E-B70E-4281-9AD2-7129A7F7BB3E}" dt="2021-12-10T06:14:08.057" v="863" actId="1076"/>
          <ac:picMkLst>
            <pc:docMk/>
            <pc:sldMk cId="265263769" sldId="264"/>
            <ac:picMk id="14" creationId="{859398C0-9F53-4AA9-ADFD-AC963D003F5D}"/>
          </ac:picMkLst>
        </pc:picChg>
        <pc:picChg chg="add del">
          <ac:chgData name="Aniket Chhabra" userId="598e0514-bef3-4e71-b6aa-f2edd6441cff" providerId="ADAL" clId="{36D14C0E-B70E-4281-9AD2-7129A7F7BB3E}" dt="2021-12-10T06:13:58.140" v="857" actId="478"/>
          <ac:picMkLst>
            <pc:docMk/>
            <pc:sldMk cId="265263769" sldId="264"/>
            <ac:picMk id="16" creationId="{CB3784E6-2F92-4C83-A44C-88865126E0CD}"/>
          </ac:picMkLst>
        </pc:picChg>
        <pc:picChg chg="add mod">
          <ac:chgData name="Aniket Chhabra" userId="598e0514-bef3-4e71-b6aa-f2edd6441cff" providerId="ADAL" clId="{36D14C0E-B70E-4281-9AD2-7129A7F7BB3E}" dt="2021-12-10T06:14:06.386" v="862" actId="1076"/>
          <ac:picMkLst>
            <pc:docMk/>
            <pc:sldMk cId="265263769" sldId="264"/>
            <ac:picMk id="18" creationId="{75FC7B54-8A04-4AD4-BE7C-16D977F4B78E}"/>
          </ac:picMkLst>
        </pc:picChg>
        <pc:picChg chg="add mod">
          <ac:chgData name="Aniket Chhabra" userId="598e0514-bef3-4e71-b6aa-f2edd6441cff" providerId="ADAL" clId="{36D14C0E-B70E-4281-9AD2-7129A7F7BB3E}" dt="2021-12-10T06:14:57.702" v="871" actId="164"/>
          <ac:picMkLst>
            <pc:docMk/>
            <pc:sldMk cId="265263769" sldId="264"/>
            <ac:picMk id="20" creationId="{DCA223AC-8DB1-4E47-BCE9-2827E5FD89EA}"/>
          </ac:picMkLst>
        </pc:picChg>
        <pc:picChg chg="add mod">
          <ac:chgData name="Aniket Chhabra" userId="598e0514-bef3-4e71-b6aa-f2edd6441cff" providerId="ADAL" clId="{36D14C0E-B70E-4281-9AD2-7129A7F7BB3E}" dt="2021-12-10T06:14:57.702" v="871" actId="164"/>
          <ac:picMkLst>
            <pc:docMk/>
            <pc:sldMk cId="265263769" sldId="264"/>
            <ac:picMk id="21" creationId="{69BE9B39-471E-4655-92C9-9B35739C76ED}"/>
          </ac:picMkLst>
        </pc:picChg>
        <pc:inkChg chg="add">
          <ac:chgData name="Aniket Chhabra" userId="598e0514-bef3-4e71-b6aa-f2edd6441cff" providerId="ADAL" clId="{36D14C0E-B70E-4281-9AD2-7129A7F7BB3E}" dt="2021-12-11T13:45:06.906" v="1783"/>
          <ac:inkMkLst>
            <pc:docMk/>
            <pc:sldMk cId="265263769" sldId="264"/>
            <ac:inkMk id="2" creationId="{D56AB45A-D51E-41BA-AC03-6261A012D1DA}"/>
          </ac:inkMkLst>
        </pc:inkChg>
      </pc:sldChg>
      <pc:sldChg chg="addSp delSp new add del mod">
        <pc:chgData name="Aniket Chhabra" userId="598e0514-bef3-4e71-b6aa-f2edd6441cff" providerId="ADAL" clId="{36D14C0E-B70E-4281-9AD2-7129A7F7BB3E}" dt="2021-12-10T06:15:11.136" v="875" actId="47"/>
        <pc:sldMkLst>
          <pc:docMk/>
          <pc:sldMk cId="2192492281" sldId="265"/>
        </pc:sldMkLst>
        <pc:picChg chg="add del">
          <ac:chgData name="Aniket Chhabra" userId="598e0514-bef3-4e71-b6aa-f2edd6441cff" providerId="ADAL" clId="{36D14C0E-B70E-4281-9AD2-7129A7F7BB3E}" dt="2021-12-10T06:15:08.177" v="874" actId="478"/>
          <ac:picMkLst>
            <pc:docMk/>
            <pc:sldMk cId="2192492281" sldId="265"/>
            <ac:picMk id="5" creationId="{8DFAE3DC-F586-4649-8F5F-312423982966}"/>
          </ac:picMkLst>
        </pc:picChg>
      </pc:sldChg>
      <pc:sldChg chg="addSp delSp modSp new add mod">
        <pc:chgData name="Aniket Chhabra" userId="598e0514-bef3-4e71-b6aa-f2edd6441cff" providerId="ADAL" clId="{36D14C0E-B70E-4281-9AD2-7129A7F7BB3E}" dt="2021-12-10T07:38:33.520" v="1216"/>
        <pc:sldMkLst>
          <pc:docMk/>
          <pc:sldMk cId="2588490057" sldId="265"/>
        </pc:sldMkLst>
        <pc:spChg chg="del">
          <ac:chgData name="Aniket Chhabra" userId="598e0514-bef3-4e71-b6aa-f2edd6441cff" providerId="ADAL" clId="{36D14C0E-B70E-4281-9AD2-7129A7F7BB3E}" dt="2021-12-10T07:38:32.798" v="1201" actId="478"/>
          <ac:spMkLst>
            <pc:docMk/>
            <pc:sldMk cId="2588490057" sldId="265"/>
            <ac:spMk id="2" creationId="{051999AA-59CD-4E33-83B3-A00F24705324}"/>
          </ac:spMkLst>
        </pc:spChg>
        <pc:spChg chg="del">
          <ac:chgData name="Aniket Chhabra" userId="598e0514-bef3-4e71-b6aa-f2edd6441cff" providerId="ADAL" clId="{36D14C0E-B70E-4281-9AD2-7129A7F7BB3E}" dt="2021-12-10T07:38:32.798" v="1201" actId="478"/>
          <ac:spMkLst>
            <pc:docMk/>
            <pc:sldMk cId="2588490057" sldId="265"/>
            <ac:spMk id="3" creationId="{FAC03B27-4048-4579-AD67-FA731AE4486E}"/>
          </ac:spMkLst>
        </pc:spChg>
        <pc:graphicFrameChg chg="add mod modVis">
          <ac:chgData name="Aniket Chhabra" userId="598e0514-bef3-4e71-b6aa-f2edd6441cff" providerId="ADAL" clId="{36D14C0E-B70E-4281-9AD2-7129A7F7BB3E}" dt="2021-12-10T07:38:33.340" v="1214"/>
          <ac:graphicFrameMkLst>
            <pc:docMk/>
            <pc:sldMk cId="2588490057" sldId="265"/>
            <ac:graphicFrameMk id="4" creationId="{890FB48A-DA98-4950-A2C8-ACECFD903AFC}"/>
          </ac:graphicFrameMkLst>
        </pc:graphicFrameChg>
        <pc:picChg chg="add">
          <ac:chgData name="Aniket Chhabra" userId="598e0514-bef3-4e71-b6aa-f2edd6441cff" providerId="ADAL" clId="{36D14C0E-B70E-4281-9AD2-7129A7F7BB3E}" dt="2021-12-10T07:38:33.520" v="1216"/>
          <ac:picMkLst>
            <pc:docMk/>
            <pc:sldMk cId="2588490057" sldId="265"/>
            <ac:picMk id="6" creationId="{984D7144-7F42-4571-A185-1AB560D71433}"/>
          </ac:picMkLst>
        </pc:picChg>
      </pc:sldChg>
      <pc:sldChg chg="addSp delSp modSp new add mod">
        <pc:chgData name="Aniket Chhabra" userId="598e0514-bef3-4e71-b6aa-f2edd6441cff" providerId="ADAL" clId="{36D14C0E-B70E-4281-9AD2-7129A7F7BB3E}" dt="2021-12-11T13:18:17.425" v="1754" actId="9405"/>
        <pc:sldMkLst>
          <pc:docMk/>
          <pc:sldMk cId="3475638967" sldId="266"/>
        </pc:sldMkLst>
        <pc:spChg chg="mod">
          <ac:chgData name="Aniket Chhabra" userId="598e0514-bef3-4e71-b6aa-f2edd6441cff" providerId="ADAL" clId="{36D14C0E-B70E-4281-9AD2-7129A7F7BB3E}" dt="2021-12-11T13:18:09.359" v="1743"/>
          <ac:spMkLst>
            <pc:docMk/>
            <pc:sldMk cId="3475638967" sldId="266"/>
            <ac:spMk id="2" creationId="{8D5B7DEE-A295-4337-8B5A-3713E9566FCA}"/>
          </ac:spMkLst>
        </pc:spChg>
        <pc:grpChg chg="del mod">
          <ac:chgData name="Aniket Chhabra" userId="598e0514-bef3-4e71-b6aa-f2edd6441cff" providerId="ADAL" clId="{36D14C0E-B70E-4281-9AD2-7129A7F7BB3E}" dt="2021-12-10T07:39:34.072" v="1241"/>
          <ac:grpSpMkLst>
            <pc:docMk/>
            <pc:sldMk cId="3475638967" sldId="266"/>
            <ac:grpSpMk id="12" creationId="{97EBA9A1-1CC9-43B2-9E3F-C9AFD0A5BB56}"/>
          </ac:grpSpMkLst>
        </pc:grpChg>
        <pc:grpChg chg="mod">
          <ac:chgData name="Aniket Chhabra" userId="598e0514-bef3-4e71-b6aa-f2edd6441cff" providerId="ADAL" clId="{36D14C0E-B70E-4281-9AD2-7129A7F7BB3E}" dt="2021-12-10T07:39:34.072" v="1241"/>
          <ac:grpSpMkLst>
            <pc:docMk/>
            <pc:sldMk cId="3475638967" sldId="266"/>
            <ac:grpSpMk id="28" creationId="{C821A113-E1B5-4B74-8B0E-5D89E672B617}"/>
          </ac:grpSpMkLst>
        </pc:grpChg>
        <pc:grpChg chg="mod">
          <ac:chgData name="Aniket Chhabra" userId="598e0514-bef3-4e71-b6aa-f2edd6441cff" providerId="ADAL" clId="{36D14C0E-B70E-4281-9AD2-7129A7F7BB3E}" dt="2021-12-10T07:39:34.072" v="1241"/>
          <ac:grpSpMkLst>
            <pc:docMk/>
            <pc:sldMk cId="3475638967" sldId="266"/>
            <ac:grpSpMk id="29" creationId="{841B3566-D9A5-4566-903C-332B9C24BC1C}"/>
          </ac:grpSpMkLst>
        </pc:grpChg>
        <pc:grpChg chg="del mod">
          <ac:chgData name="Aniket Chhabra" userId="598e0514-bef3-4e71-b6aa-f2edd6441cff" providerId="ADAL" clId="{36D14C0E-B70E-4281-9AD2-7129A7F7BB3E}" dt="2021-12-11T13:18:09.359" v="1743"/>
          <ac:grpSpMkLst>
            <pc:docMk/>
            <pc:sldMk cId="3475638967" sldId="266"/>
            <ac:grpSpMk id="34" creationId="{8CF8EDB7-9B54-4397-9B35-85E591E8ED25}"/>
          </ac:grpSpMkLst>
        </pc:grpChg>
        <pc:grpChg chg="mod">
          <ac:chgData name="Aniket Chhabra" userId="598e0514-bef3-4e71-b6aa-f2edd6441cff" providerId="ADAL" clId="{36D14C0E-B70E-4281-9AD2-7129A7F7BB3E}" dt="2021-12-11T13:18:09.359" v="1743"/>
          <ac:grpSpMkLst>
            <pc:docMk/>
            <pc:sldMk cId="3475638967" sldId="266"/>
            <ac:grpSpMk id="37" creationId="{5F13A3D1-99EB-4283-B449-E25E5D574CA6}"/>
          </ac:grpSpMkLst>
        </pc:grpChg>
        <pc:grpChg chg="del mod">
          <ac:chgData name="Aniket Chhabra" userId="598e0514-bef3-4e71-b6aa-f2edd6441cff" providerId="ADAL" clId="{36D14C0E-B70E-4281-9AD2-7129A7F7BB3E}" dt="2021-12-10T07:39:45.223" v="1257"/>
          <ac:grpSpMkLst>
            <pc:docMk/>
            <pc:sldMk cId="3475638967" sldId="266"/>
            <ac:grpSpMk id="38" creationId="{80C3354E-8B4A-493D-B77C-D23FC670F7D3}"/>
          </ac:grpSpMkLst>
        </pc:grpChg>
        <pc:grpChg chg="mod">
          <ac:chgData name="Aniket Chhabra" userId="598e0514-bef3-4e71-b6aa-f2edd6441cff" providerId="ADAL" clId="{36D14C0E-B70E-4281-9AD2-7129A7F7BB3E}" dt="2021-12-10T07:39:52.316" v="1269"/>
          <ac:grpSpMkLst>
            <pc:docMk/>
            <pc:sldMk cId="3475638967" sldId="266"/>
            <ac:grpSpMk id="48" creationId="{DA222C7F-C343-474C-A6E4-E027F3AE9CF0}"/>
          </ac:grpSpMkLst>
        </pc:grpChg>
        <pc:grpChg chg="mod">
          <ac:chgData name="Aniket Chhabra" userId="598e0514-bef3-4e71-b6aa-f2edd6441cff" providerId="ADAL" clId="{36D14C0E-B70E-4281-9AD2-7129A7F7BB3E}" dt="2021-12-10T07:39:54.782" v="1272"/>
          <ac:grpSpMkLst>
            <pc:docMk/>
            <pc:sldMk cId="3475638967" sldId="266"/>
            <ac:grpSpMk id="51" creationId="{76BACCF1-98A6-4452-B96A-C4E5C998DC54}"/>
          </ac:grpSpMkLst>
        </pc:grpChg>
        <pc:grpChg chg="mod">
          <ac:chgData name="Aniket Chhabra" userId="598e0514-bef3-4e71-b6aa-f2edd6441cff" providerId="ADAL" clId="{36D14C0E-B70E-4281-9AD2-7129A7F7BB3E}" dt="2021-12-10T07:40:03.181" v="1279"/>
          <ac:grpSpMkLst>
            <pc:docMk/>
            <pc:sldMk cId="3475638967" sldId="266"/>
            <ac:grpSpMk id="57" creationId="{8A5C1C7C-8385-4FAB-A78B-04D18D79B6F4}"/>
          </ac:grpSpMkLst>
        </pc:grpChg>
        <pc:grpChg chg="mod">
          <ac:chgData name="Aniket Chhabra" userId="598e0514-bef3-4e71-b6aa-f2edd6441cff" providerId="ADAL" clId="{36D14C0E-B70E-4281-9AD2-7129A7F7BB3E}" dt="2021-12-11T13:18:16.624" v="1753"/>
          <ac:grpSpMkLst>
            <pc:docMk/>
            <pc:sldMk cId="3475638967" sldId="266"/>
            <ac:grpSpMk id="62" creationId="{A547BACF-FBD1-405C-A986-8043A4CF4681}"/>
          </ac:grpSpMkLst>
        </pc:grpChg>
        <pc:graphicFrameChg chg="add mod ord modVis">
          <ac:chgData name="Aniket Chhabra" userId="598e0514-bef3-4e71-b6aa-f2edd6441cff" providerId="ADAL" clId="{36D14C0E-B70E-4281-9AD2-7129A7F7BB3E}" dt="2021-12-11T13:18:09.880" v="1745"/>
          <ac:graphicFrameMkLst>
            <pc:docMk/>
            <pc:sldMk cId="3475638967" sldId="266"/>
            <ac:graphicFrameMk id="36" creationId="{3F585218-8D59-4C85-A873-3ABCD19D7524}"/>
          </ac:graphicFrameMkLst>
        </pc:graphicFrameChg>
        <pc:picChg chg="add">
          <ac:chgData name="Aniket Chhabra" userId="598e0514-bef3-4e71-b6aa-f2edd6441cff" providerId="ADAL" clId="{36D14C0E-B70E-4281-9AD2-7129A7F7BB3E}" dt="2021-12-10T07:39:02.355" v="1218"/>
          <ac:picMkLst>
            <pc:docMk/>
            <pc:sldMk cId="3475638967" sldId="266"/>
            <ac:picMk id="5" creationId="{6964003B-A860-405B-8264-A0E7C81CD314}"/>
          </ac:picMkLst>
        </pc:picChg>
        <pc:inkChg chg="add">
          <ac:chgData name="Aniket Chhabra" userId="598e0514-bef3-4e71-b6aa-f2edd6441cff" providerId="ADAL" clId="{36D14C0E-B70E-4281-9AD2-7129A7F7BB3E}" dt="2021-12-11T13:17:35.574" v="1720" actId="9405"/>
          <ac:inkMkLst>
            <pc:docMk/>
            <pc:sldMk cId="3475638967" sldId="266"/>
            <ac:inkMk id="4" creationId="{A802F5FE-34F5-4B97-9459-9DE172F9D6E3}"/>
          </ac:inkMkLst>
        </pc:inkChg>
        <pc:inkChg chg="add">
          <ac:chgData name="Aniket Chhabra" userId="598e0514-bef3-4e71-b6aa-f2edd6441cff" providerId="ADAL" clId="{36D14C0E-B70E-4281-9AD2-7129A7F7BB3E}" dt="2021-12-10T07:39:18.092" v="1219" actId="9405"/>
          <ac:inkMkLst>
            <pc:docMk/>
            <pc:sldMk cId="3475638967" sldId="266"/>
            <ac:inkMk id="6" creationId="{60FE6E2B-E73A-4A64-BA6F-E5F1266946CB}"/>
          </ac:inkMkLst>
        </pc:inkChg>
        <pc:inkChg chg="add">
          <ac:chgData name="Aniket Chhabra" userId="598e0514-bef3-4e71-b6aa-f2edd6441cff" providerId="ADAL" clId="{36D14C0E-B70E-4281-9AD2-7129A7F7BB3E}" dt="2021-12-10T07:39:21.425" v="1220" actId="9405"/>
          <ac:inkMkLst>
            <pc:docMk/>
            <pc:sldMk cId="3475638967" sldId="266"/>
            <ac:inkMk id="7" creationId="{44D69FB8-F26D-4193-BBB3-53A5CD2FE572}"/>
          </ac:inkMkLst>
        </pc:inkChg>
        <pc:inkChg chg="add mod">
          <ac:chgData name="Aniket Chhabra" userId="598e0514-bef3-4e71-b6aa-f2edd6441cff" providerId="ADAL" clId="{36D14C0E-B70E-4281-9AD2-7129A7F7BB3E}" dt="2021-12-10T07:39:34.072" v="1241"/>
          <ac:inkMkLst>
            <pc:docMk/>
            <pc:sldMk cId="3475638967" sldId="266"/>
            <ac:inkMk id="8" creationId="{B854761A-CD5C-488A-A8C9-EFCF9056DCC6}"/>
          </ac:inkMkLst>
        </pc:inkChg>
        <pc:inkChg chg="add mod">
          <ac:chgData name="Aniket Chhabra" userId="598e0514-bef3-4e71-b6aa-f2edd6441cff" providerId="ADAL" clId="{36D14C0E-B70E-4281-9AD2-7129A7F7BB3E}" dt="2021-12-10T07:39:34.072" v="1241"/>
          <ac:inkMkLst>
            <pc:docMk/>
            <pc:sldMk cId="3475638967" sldId="266"/>
            <ac:inkMk id="9" creationId="{AA099292-805D-418B-9088-DB0BE11EDDAB}"/>
          </ac:inkMkLst>
        </pc:inkChg>
        <pc:inkChg chg="add">
          <ac:chgData name="Aniket Chhabra" userId="598e0514-bef3-4e71-b6aa-f2edd6441cff" providerId="ADAL" clId="{36D14C0E-B70E-4281-9AD2-7129A7F7BB3E}" dt="2021-12-10T07:39:24.633" v="1223" actId="9405"/>
          <ac:inkMkLst>
            <pc:docMk/>
            <pc:sldMk cId="3475638967" sldId="266"/>
            <ac:inkMk id="10" creationId="{31C195B2-49B6-4241-BCEC-91CBBB9EB586}"/>
          </ac:inkMkLst>
        </pc:inkChg>
        <pc:inkChg chg="add mod">
          <ac:chgData name="Aniket Chhabra" userId="598e0514-bef3-4e71-b6aa-f2edd6441cff" providerId="ADAL" clId="{36D14C0E-B70E-4281-9AD2-7129A7F7BB3E}" dt="2021-12-10T07:39:34.072" v="1241"/>
          <ac:inkMkLst>
            <pc:docMk/>
            <pc:sldMk cId="3475638967" sldId="266"/>
            <ac:inkMk id="11" creationId="{2D7D44C1-F908-4985-B62A-8EB5C8DAD087}"/>
          </ac:inkMkLst>
        </pc:inkChg>
        <pc:inkChg chg="add">
          <ac:chgData name="Aniket Chhabra" userId="598e0514-bef3-4e71-b6aa-f2edd6441cff" providerId="ADAL" clId="{36D14C0E-B70E-4281-9AD2-7129A7F7BB3E}" dt="2021-12-11T13:17:40.296" v="1721" actId="9405"/>
          <ac:inkMkLst>
            <pc:docMk/>
            <pc:sldMk cId="3475638967" sldId="266"/>
            <ac:inkMk id="12" creationId="{4BEF32DB-ACF8-4325-9BF6-85E6682B4384}"/>
          </ac:inkMkLst>
        </pc:inkChg>
        <pc:inkChg chg="add mod">
          <ac:chgData name="Aniket Chhabra" userId="598e0514-bef3-4e71-b6aa-f2edd6441cff" providerId="ADAL" clId="{36D14C0E-B70E-4281-9AD2-7129A7F7BB3E}" dt="2021-12-10T07:39:34.072" v="1241"/>
          <ac:inkMkLst>
            <pc:docMk/>
            <pc:sldMk cId="3475638967" sldId="266"/>
            <ac:inkMk id="13" creationId="{65458DFF-0B2A-47CF-8F88-41584E96BBA4}"/>
          </ac:inkMkLst>
        </pc:inkChg>
        <pc:inkChg chg="add mod">
          <ac:chgData name="Aniket Chhabra" userId="598e0514-bef3-4e71-b6aa-f2edd6441cff" providerId="ADAL" clId="{36D14C0E-B70E-4281-9AD2-7129A7F7BB3E}" dt="2021-12-10T07:39:34.072" v="1241"/>
          <ac:inkMkLst>
            <pc:docMk/>
            <pc:sldMk cId="3475638967" sldId="266"/>
            <ac:inkMk id="14" creationId="{3EDC899E-7444-4351-ACD1-04DA003E07F7}"/>
          </ac:inkMkLst>
        </pc:inkChg>
        <pc:inkChg chg="add mod">
          <ac:chgData name="Aniket Chhabra" userId="598e0514-bef3-4e71-b6aa-f2edd6441cff" providerId="ADAL" clId="{36D14C0E-B70E-4281-9AD2-7129A7F7BB3E}" dt="2021-12-10T07:39:34.072" v="1241"/>
          <ac:inkMkLst>
            <pc:docMk/>
            <pc:sldMk cId="3475638967" sldId="266"/>
            <ac:inkMk id="15" creationId="{549EDA3A-A21D-4120-A795-68B001FEDE5A}"/>
          </ac:inkMkLst>
        </pc:inkChg>
        <pc:inkChg chg="add mod">
          <ac:chgData name="Aniket Chhabra" userId="598e0514-bef3-4e71-b6aa-f2edd6441cff" providerId="ADAL" clId="{36D14C0E-B70E-4281-9AD2-7129A7F7BB3E}" dt="2021-12-10T07:39:34.072" v="1241"/>
          <ac:inkMkLst>
            <pc:docMk/>
            <pc:sldMk cId="3475638967" sldId="266"/>
            <ac:inkMk id="16" creationId="{D271CC2B-25AD-46F9-B356-66CABEDBD5CE}"/>
          </ac:inkMkLst>
        </pc:inkChg>
        <pc:inkChg chg="add mod">
          <ac:chgData name="Aniket Chhabra" userId="598e0514-bef3-4e71-b6aa-f2edd6441cff" providerId="ADAL" clId="{36D14C0E-B70E-4281-9AD2-7129A7F7BB3E}" dt="2021-12-10T07:39:34.072" v="1241"/>
          <ac:inkMkLst>
            <pc:docMk/>
            <pc:sldMk cId="3475638967" sldId="266"/>
            <ac:inkMk id="17" creationId="{351F39C8-9EBC-4F44-B341-6F1807BA70B2}"/>
          </ac:inkMkLst>
        </pc:inkChg>
        <pc:inkChg chg="add mod">
          <ac:chgData name="Aniket Chhabra" userId="598e0514-bef3-4e71-b6aa-f2edd6441cff" providerId="ADAL" clId="{36D14C0E-B70E-4281-9AD2-7129A7F7BB3E}" dt="2021-12-10T07:39:34.072" v="1241"/>
          <ac:inkMkLst>
            <pc:docMk/>
            <pc:sldMk cId="3475638967" sldId="266"/>
            <ac:inkMk id="18" creationId="{7308EAD5-978C-4DED-8DA3-59BE04FBACCC}"/>
          </ac:inkMkLst>
        </pc:inkChg>
        <pc:inkChg chg="add mod">
          <ac:chgData name="Aniket Chhabra" userId="598e0514-bef3-4e71-b6aa-f2edd6441cff" providerId="ADAL" clId="{36D14C0E-B70E-4281-9AD2-7129A7F7BB3E}" dt="2021-12-10T07:39:34.072" v="1241"/>
          <ac:inkMkLst>
            <pc:docMk/>
            <pc:sldMk cId="3475638967" sldId="266"/>
            <ac:inkMk id="19" creationId="{D98F8370-7198-401A-9DEA-196F2A0DB6BF}"/>
          </ac:inkMkLst>
        </pc:inkChg>
        <pc:inkChg chg="add mod">
          <ac:chgData name="Aniket Chhabra" userId="598e0514-bef3-4e71-b6aa-f2edd6441cff" providerId="ADAL" clId="{36D14C0E-B70E-4281-9AD2-7129A7F7BB3E}" dt="2021-12-10T07:39:34.072" v="1241"/>
          <ac:inkMkLst>
            <pc:docMk/>
            <pc:sldMk cId="3475638967" sldId="266"/>
            <ac:inkMk id="20" creationId="{7A1E2D94-559B-4D99-93D2-E5D663CDC1D3}"/>
          </ac:inkMkLst>
        </pc:inkChg>
        <pc:inkChg chg="add mod">
          <ac:chgData name="Aniket Chhabra" userId="598e0514-bef3-4e71-b6aa-f2edd6441cff" providerId="ADAL" clId="{36D14C0E-B70E-4281-9AD2-7129A7F7BB3E}" dt="2021-12-10T07:39:34.072" v="1241"/>
          <ac:inkMkLst>
            <pc:docMk/>
            <pc:sldMk cId="3475638967" sldId="266"/>
            <ac:inkMk id="21" creationId="{70920CA4-DBCB-46FF-849C-FAF26D1866E7}"/>
          </ac:inkMkLst>
        </pc:inkChg>
        <pc:inkChg chg="add mod">
          <ac:chgData name="Aniket Chhabra" userId="598e0514-bef3-4e71-b6aa-f2edd6441cff" providerId="ADAL" clId="{36D14C0E-B70E-4281-9AD2-7129A7F7BB3E}" dt="2021-12-10T07:39:34.072" v="1241"/>
          <ac:inkMkLst>
            <pc:docMk/>
            <pc:sldMk cId="3475638967" sldId="266"/>
            <ac:inkMk id="22" creationId="{DEBF29DE-91F4-439A-A80B-2B2DB9131964}"/>
          </ac:inkMkLst>
        </pc:inkChg>
        <pc:inkChg chg="add mod">
          <ac:chgData name="Aniket Chhabra" userId="598e0514-bef3-4e71-b6aa-f2edd6441cff" providerId="ADAL" clId="{36D14C0E-B70E-4281-9AD2-7129A7F7BB3E}" dt="2021-12-10T07:39:34.072" v="1241"/>
          <ac:inkMkLst>
            <pc:docMk/>
            <pc:sldMk cId="3475638967" sldId="266"/>
            <ac:inkMk id="23" creationId="{0F2E9BAF-BDF4-48B1-A8DF-813DFAC3D8E0}"/>
          </ac:inkMkLst>
        </pc:inkChg>
        <pc:inkChg chg="add mod">
          <ac:chgData name="Aniket Chhabra" userId="598e0514-bef3-4e71-b6aa-f2edd6441cff" providerId="ADAL" clId="{36D14C0E-B70E-4281-9AD2-7129A7F7BB3E}" dt="2021-12-10T07:39:34.072" v="1241"/>
          <ac:inkMkLst>
            <pc:docMk/>
            <pc:sldMk cId="3475638967" sldId="266"/>
            <ac:inkMk id="24" creationId="{55356B22-B5ED-4C6F-A838-AAF5E7E3AB17}"/>
          </ac:inkMkLst>
        </pc:inkChg>
        <pc:inkChg chg="add mod">
          <ac:chgData name="Aniket Chhabra" userId="598e0514-bef3-4e71-b6aa-f2edd6441cff" providerId="ADAL" clId="{36D14C0E-B70E-4281-9AD2-7129A7F7BB3E}" dt="2021-12-10T07:39:34.072" v="1241"/>
          <ac:inkMkLst>
            <pc:docMk/>
            <pc:sldMk cId="3475638967" sldId="266"/>
            <ac:inkMk id="25" creationId="{BF33AAF2-ED88-4AA1-88B9-BEFB478AC9AE}"/>
          </ac:inkMkLst>
        </pc:inkChg>
        <pc:inkChg chg="add mod">
          <ac:chgData name="Aniket Chhabra" userId="598e0514-bef3-4e71-b6aa-f2edd6441cff" providerId="ADAL" clId="{36D14C0E-B70E-4281-9AD2-7129A7F7BB3E}" dt="2021-12-10T07:39:34.072" v="1241"/>
          <ac:inkMkLst>
            <pc:docMk/>
            <pc:sldMk cId="3475638967" sldId="266"/>
            <ac:inkMk id="26" creationId="{85CE0BED-3FE6-4E7B-A2AF-A29BD2DA2765}"/>
          </ac:inkMkLst>
        </pc:inkChg>
        <pc:inkChg chg="add mod">
          <ac:chgData name="Aniket Chhabra" userId="598e0514-bef3-4e71-b6aa-f2edd6441cff" providerId="ADAL" clId="{36D14C0E-B70E-4281-9AD2-7129A7F7BB3E}" dt="2021-12-10T07:39:34.072" v="1241"/>
          <ac:inkMkLst>
            <pc:docMk/>
            <pc:sldMk cId="3475638967" sldId="266"/>
            <ac:inkMk id="27" creationId="{AF11D3F8-6B25-4DBE-9FA1-5D8357013C47}"/>
          </ac:inkMkLst>
        </pc:inkChg>
        <pc:inkChg chg="add">
          <ac:chgData name="Aniket Chhabra" userId="598e0514-bef3-4e71-b6aa-f2edd6441cff" providerId="ADAL" clId="{36D14C0E-B70E-4281-9AD2-7129A7F7BB3E}" dt="2021-12-11T13:17:40.669" v="1722" actId="9405"/>
          <ac:inkMkLst>
            <pc:docMk/>
            <pc:sldMk cId="3475638967" sldId="266"/>
            <ac:inkMk id="30" creationId="{218A8D3D-0231-4DFB-878D-7156FA4573A6}"/>
          </ac:inkMkLst>
        </pc:inkChg>
        <pc:inkChg chg="add del mod">
          <ac:chgData name="Aniket Chhabra" userId="598e0514-bef3-4e71-b6aa-f2edd6441cff" providerId="ADAL" clId="{36D14C0E-B70E-4281-9AD2-7129A7F7BB3E}" dt="2021-12-10T07:39:45.223" v="1257"/>
          <ac:inkMkLst>
            <pc:docMk/>
            <pc:sldMk cId="3475638967" sldId="266"/>
            <ac:inkMk id="30" creationId="{AFE2E546-E150-4C78-B8BE-B79B9B88DC47}"/>
          </ac:inkMkLst>
        </pc:inkChg>
        <pc:inkChg chg="add del mod">
          <ac:chgData name="Aniket Chhabra" userId="598e0514-bef3-4e71-b6aa-f2edd6441cff" providerId="ADAL" clId="{36D14C0E-B70E-4281-9AD2-7129A7F7BB3E}" dt="2021-12-10T07:39:45.221" v="1254"/>
          <ac:inkMkLst>
            <pc:docMk/>
            <pc:sldMk cId="3475638967" sldId="266"/>
            <ac:inkMk id="31" creationId="{82776BF2-7464-4C92-A1AD-70074D57211E}"/>
          </ac:inkMkLst>
        </pc:inkChg>
        <pc:inkChg chg="add">
          <ac:chgData name="Aniket Chhabra" userId="598e0514-bef3-4e71-b6aa-f2edd6441cff" providerId="ADAL" clId="{36D14C0E-B70E-4281-9AD2-7129A7F7BB3E}" dt="2021-12-11T13:17:41.796" v="1723" actId="9405"/>
          <ac:inkMkLst>
            <pc:docMk/>
            <pc:sldMk cId="3475638967" sldId="266"/>
            <ac:inkMk id="31" creationId="{CCA7BBB3-A868-4209-B3E0-AE8D3B2461A4}"/>
          </ac:inkMkLst>
        </pc:inkChg>
        <pc:inkChg chg="add mod">
          <ac:chgData name="Aniket Chhabra" userId="598e0514-bef3-4e71-b6aa-f2edd6441cff" providerId="ADAL" clId="{36D14C0E-B70E-4281-9AD2-7129A7F7BB3E}" dt="2021-12-11T13:18:09.359" v="1743"/>
          <ac:inkMkLst>
            <pc:docMk/>
            <pc:sldMk cId="3475638967" sldId="266"/>
            <ac:inkMk id="32" creationId="{6EF21DF3-9E3E-4BB7-AC64-0D982CC5E89E}"/>
          </ac:inkMkLst>
        </pc:inkChg>
        <pc:inkChg chg="add del mod">
          <ac:chgData name="Aniket Chhabra" userId="598e0514-bef3-4e71-b6aa-f2edd6441cff" providerId="ADAL" clId="{36D14C0E-B70E-4281-9AD2-7129A7F7BB3E}" dt="2021-12-10T07:39:45.220" v="1252"/>
          <ac:inkMkLst>
            <pc:docMk/>
            <pc:sldMk cId="3475638967" sldId="266"/>
            <ac:inkMk id="32" creationId="{E3F7E89F-66B0-458A-B37A-E7CE6DD56A8F}"/>
          </ac:inkMkLst>
        </pc:inkChg>
        <pc:inkChg chg="add del mod">
          <ac:chgData name="Aniket Chhabra" userId="598e0514-bef3-4e71-b6aa-f2edd6441cff" providerId="ADAL" clId="{36D14C0E-B70E-4281-9AD2-7129A7F7BB3E}" dt="2021-12-10T07:39:45.223" v="1256"/>
          <ac:inkMkLst>
            <pc:docMk/>
            <pc:sldMk cId="3475638967" sldId="266"/>
            <ac:inkMk id="33" creationId="{1D7ACEFF-2482-45B7-9C1A-4D98CADB5D55}"/>
          </ac:inkMkLst>
        </pc:inkChg>
        <pc:inkChg chg="add mod">
          <ac:chgData name="Aniket Chhabra" userId="598e0514-bef3-4e71-b6aa-f2edd6441cff" providerId="ADAL" clId="{36D14C0E-B70E-4281-9AD2-7129A7F7BB3E}" dt="2021-12-11T13:18:09.359" v="1743"/>
          <ac:inkMkLst>
            <pc:docMk/>
            <pc:sldMk cId="3475638967" sldId="266"/>
            <ac:inkMk id="33" creationId="{41291884-1650-4495-A706-6D30F9FE0A93}"/>
          </ac:inkMkLst>
        </pc:inkChg>
        <pc:inkChg chg="add del mod">
          <ac:chgData name="Aniket Chhabra" userId="598e0514-bef3-4e71-b6aa-f2edd6441cff" providerId="ADAL" clId="{36D14C0E-B70E-4281-9AD2-7129A7F7BB3E}" dt="2021-12-10T07:39:45.222" v="1255"/>
          <ac:inkMkLst>
            <pc:docMk/>
            <pc:sldMk cId="3475638967" sldId="266"/>
            <ac:inkMk id="34" creationId="{B5719ADC-0E3F-421A-B029-4E4B6EF5C585}"/>
          </ac:inkMkLst>
        </pc:inkChg>
        <pc:inkChg chg="add del mod">
          <ac:chgData name="Aniket Chhabra" userId="598e0514-bef3-4e71-b6aa-f2edd6441cff" providerId="ADAL" clId="{36D14C0E-B70E-4281-9AD2-7129A7F7BB3E}" dt="2021-12-10T07:39:45.218" v="1251"/>
          <ac:inkMkLst>
            <pc:docMk/>
            <pc:sldMk cId="3475638967" sldId="266"/>
            <ac:inkMk id="35" creationId="{82BECEB2-4B1E-4D47-B191-F0B25A1C33C0}"/>
          </ac:inkMkLst>
        </pc:inkChg>
        <pc:inkChg chg="add mod">
          <ac:chgData name="Aniket Chhabra" userId="598e0514-bef3-4e71-b6aa-f2edd6441cff" providerId="ADAL" clId="{36D14C0E-B70E-4281-9AD2-7129A7F7BB3E}" dt="2021-12-11T13:18:09.359" v="1743"/>
          <ac:inkMkLst>
            <pc:docMk/>
            <pc:sldMk cId="3475638967" sldId="266"/>
            <ac:inkMk id="35" creationId="{BDACC330-E121-4AFC-AB5A-4B4EB6EEEF9F}"/>
          </ac:inkMkLst>
        </pc:inkChg>
        <pc:inkChg chg="add del mod">
          <ac:chgData name="Aniket Chhabra" userId="598e0514-bef3-4e71-b6aa-f2edd6441cff" providerId="ADAL" clId="{36D14C0E-B70E-4281-9AD2-7129A7F7BB3E}" dt="2021-12-10T07:39:45.221" v="1253"/>
          <ac:inkMkLst>
            <pc:docMk/>
            <pc:sldMk cId="3475638967" sldId="266"/>
            <ac:inkMk id="36" creationId="{640C88F0-4059-454E-A47C-13A7E172A6D9}"/>
          </ac:inkMkLst>
        </pc:inkChg>
        <pc:inkChg chg="add del mod">
          <ac:chgData name="Aniket Chhabra" userId="598e0514-bef3-4e71-b6aa-f2edd6441cff" providerId="ADAL" clId="{36D14C0E-B70E-4281-9AD2-7129A7F7BB3E}" dt="2021-12-10T07:39:45.224" v="1258"/>
          <ac:inkMkLst>
            <pc:docMk/>
            <pc:sldMk cId="3475638967" sldId="266"/>
            <ac:inkMk id="37" creationId="{74EEEC5B-6329-4CAB-B414-445A6B1D82D8}"/>
          </ac:inkMkLst>
        </pc:inkChg>
        <pc:inkChg chg="add mod">
          <ac:chgData name="Aniket Chhabra" userId="598e0514-bef3-4e71-b6aa-f2edd6441cff" providerId="ADAL" clId="{36D14C0E-B70E-4281-9AD2-7129A7F7BB3E}" dt="2021-12-11T13:18:16.624" v="1753"/>
          <ac:inkMkLst>
            <pc:docMk/>
            <pc:sldMk cId="3475638967" sldId="266"/>
            <ac:inkMk id="38" creationId="{7DF7C0C0-D572-4D35-BBCD-D65362327E81}"/>
          </ac:inkMkLst>
        </pc:inkChg>
        <pc:inkChg chg="add mod">
          <ac:chgData name="Aniket Chhabra" userId="598e0514-bef3-4e71-b6aa-f2edd6441cff" providerId="ADAL" clId="{36D14C0E-B70E-4281-9AD2-7129A7F7BB3E}" dt="2021-12-10T07:39:52.316" v="1269"/>
          <ac:inkMkLst>
            <pc:docMk/>
            <pc:sldMk cId="3475638967" sldId="266"/>
            <ac:inkMk id="39" creationId="{DB997D69-BC23-4A5C-B5A9-9B21AD96A0A7}"/>
          </ac:inkMkLst>
        </pc:inkChg>
        <pc:inkChg chg="add mod">
          <ac:chgData name="Aniket Chhabra" userId="598e0514-bef3-4e71-b6aa-f2edd6441cff" providerId="ADAL" clId="{36D14C0E-B70E-4281-9AD2-7129A7F7BB3E}" dt="2021-12-10T07:39:52.316" v="1269"/>
          <ac:inkMkLst>
            <pc:docMk/>
            <pc:sldMk cId="3475638967" sldId="266"/>
            <ac:inkMk id="40" creationId="{17F09F92-744E-44D1-A037-7012550E65E5}"/>
          </ac:inkMkLst>
        </pc:inkChg>
        <pc:inkChg chg="add mod">
          <ac:chgData name="Aniket Chhabra" userId="598e0514-bef3-4e71-b6aa-f2edd6441cff" providerId="ADAL" clId="{36D14C0E-B70E-4281-9AD2-7129A7F7BB3E}" dt="2021-12-10T07:39:52.316" v="1269"/>
          <ac:inkMkLst>
            <pc:docMk/>
            <pc:sldMk cId="3475638967" sldId="266"/>
            <ac:inkMk id="41" creationId="{14C71675-EA4E-4E84-9828-3D1908A7B7DA}"/>
          </ac:inkMkLst>
        </pc:inkChg>
        <pc:inkChg chg="add mod">
          <ac:chgData name="Aniket Chhabra" userId="598e0514-bef3-4e71-b6aa-f2edd6441cff" providerId="ADAL" clId="{36D14C0E-B70E-4281-9AD2-7129A7F7BB3E}" dt="2021-12-10T07:39:52.316" v="1269"/>
          <ac:inkMkLst>
            <pc:docMk/>
            <pc:sldMk cId="3475638967" sldId="266"/>
            <ac:inkMk id="42" creationId="{C29A29E9-5045-4089-B265-ECB120929B26}"/>
          </ac:inkMkLst>
        </pc:inkChg>
        <pc:inkChg chg="add mod">
          <ac:chgData name="Aniket Chhabra" userId="598e0514-bef3-4e71-b6aa-f2edd6441cff" providerId="ADAL" clId="{36D14C0E-B70E-4281-9AD2-7129A7F7BB3E}" dt="2021-12-10T07:39:52.316" v="1269"/>
          <ac:inkMkLst>
            <pc:docMk/>
            <pc:sldMk cId="3475638967" sldId="266"/>
            <ac:inkMk id="43" creationId="{A7C715DF-76D9-453C-9BD7-BD3C79EE2EBD}"/>
          </ac:inkMkLst>
        </pc:inkChg>
        <pc:inkChg chg="add mod">
          <ac:chgData name="Aniket Chhabra" userId="598e0514-bef3-4e71-b6aa-f2edd6441cff" providerId="ADAL" clId="{36D14C0E-B70E-4281-9AD2-7129A7F7BB3E}" dt="2021-12-10T07:39:52.316" v="1269"/>
          <ac:inkMkLst>
            <pc:docMk/>
            <pc:sldMk cId="3475638967" sldId="266"/>
            <ac:inkMk id="44" creationId="{7E548F82-5621-4D38-A62A-CD7FDA5A1130}"/>
          </ac:inkMkLst>
        </pc:inkChg>
        <pc:inkChg chg="add mod">
          <ac:chgData name="Aniket Chhabra" userId="598e0514-bef3-4e71-b6aa-f2edd6441cff" providerId="ADAL" clId="{36D14C0E-B70E-4281-9AD2-7129A7F7BB3E}" dt="2021-12-10T07:39:52.316" v="1269"/>
          <ac:inkMkLst>
            <pc:docMk/>
            <pc:sldMk cId="3475638967" sldId="266"/>
            <ac:inkMk id="45" creationId="{B1C46BB7-C9B9-4F64-989D-06A43A4C8A05}"/>
          </ac:inkMkLst>
        </pc:inkChg>
        <pc:inkChg chg="add mod">
          <ac:chgData name="Aniket Chhabra" userId="598e0514-bef3-4e71-b6aa-f2edd6441cff" providerId="ADAL" clId="{36D14C0E-B70E-4281-9AD2-7129A7F7BB3E}" dt="2021-12-10T07:39:52.316" v="1269"/>
          <ac:inkMkLst>
            <pc:docMk/>
            <pc:sldMk cId="3475638967" sldId="266"/>
            <ac:inkMk id="46" creationId="{0E6B1169-6B42-4D72-B186-090E5152A365}"/>
          </ac:inkMkLst>
        </pc:inkChg>
        <pc:inkChg chg="add del">
          <ac:chgData name="Aniket Chhabra" userId="598e0514-bef3-4e71-b6aa-f2edd6441cff" providerId="ADAL" clId="{36D14C0E-B70E-4281-9AD2-7129A7F7BB3E}" dt="2021-12-10T07:39:52.056" v="1268"/>
          <ac:inkMkLst>
            <pc:docMk/>
            <pc:sldMk cId="3475638967" sldId="266"/>
            <ac:inkMk id="47" creationId="{8E650A54-6E3A-4CC2-B3B9-4B0B6F9BC36C}"/>
          </ac:inkMkLst>
        </pc:inkChg>
        <pc:inkChg chg="add mod">
          <ac:chgData name="Aniket Chhabra" userId="598e0514-bef3-4e71-b6aa-f2edd6441cff" providerId="ADAL" clId="{36D14C0E-B70E-4281-9AD2-7129A7F7BB3E}" dt="2021-12-11T13:18:16.624" v="1753"/>
          <ac:inkMkLst>
            <pc:docMk/>
            <pc:sldMk cId="3475638967" sldId="266"/>
            <ac:inkMk id="47" creationId="{B2211A5C-61F8-4ADB-8D6C-CE4443D8DB08}"/>
          </ac:inkMkLst>
        </pc:inkChg>
        <pc:inkChg chg="add mod">
          <ac:chgData name="Aniket Chhabra" userId="598e0514-bef3-4e71-b6aa-f2edd6441cff" providerId="ADAL" clId="{36D14C0E-B70E-4281-9AD2-7129A7F7BB3E}" dt="2021-12-10T07:39:54.782" v="1272"/>
          <ac:inkMkLst>
            <pc:docMk/>
            <pc:sldMk cId="3475638967" sldId="266"/>
            <ac:inkMk id="49" creationId="{AC22A48A-114B-4B9E-8FBA-AF704EBF7821}"/>
          </ac:inkMkLst>
        </pc:inkChg>
        <pc:inkChg chg="add mod">
          <ac:chgData name="Aniket Chhabra" userId="598e0514-bef3-4e71-b6aa-f2edd6441cff" providerId="ADAL" clId="{36D14C0E-B70E-4281-9AD2-7129A7F7BB3E}" dt="2021-12-10T07:39:54.782" v="1272"/>
          <ac:inkMkLst>
            <pc:docMk/>
            <pc:sldMk cId="3475638967" sldId="266"/>
            <ac:inkMk id="50" creationId="{ED1EEBAB-8C70-4649-96DC-307AA047AFBF}"/>
          </ac:inkMkLst>
        </pc:inkChg>
        <pc:inkChg chg="add del">
          <ac:chgData name="Aniket Chhabra" userId="598e0514-bef3-4e71-b6aa-f2edd6441cff" providerId="ADAL" clId="{36D14C0E-B70E-4281-9AD2-7129A7F7BB3E}" dt="2021-12-10T07:39:59.236" v="1274"/>
          <ac:inkMkLst>
            <pc:docMk/>
            <pc:sldMk cId="3475638967" sldId="266"/>
            <ac:inkMk id="52" creationId="{2F19B082-B12D-45F4-852C-955728CF3DDC}"/>
          </ac:inkMkLst>
        </pc:inkChg>
        <pc:inkChg chg="add mod">
          <ac:chgData name="Aniket Chhabra" userId="598e0514-bef3-4e71-b6aa-f2edd6441cff" providerId="ADAL" clId="{36D14C0E-B70E-4281-9AD2-7129A7F7BB3E}" dt="2021-12-11T13:18:16.624" v="1753"/>
          <ac:inkMkLst>
            <pc:docMk/>
            <pc:sldMk cId="3475638967" sldId="266"/>
            <ac:inkMk id="52" creationId="{AB019C36-1B2D-4434-9066-73123415FE58}"/>
          </ac:inkMkLst>
        </pc:inkChg>
        <pc:inkChg chg="add mod">
          <ac:chgData name="Aniket Chhabra" userId="598e0514-bef3-4e71-b6aa-f2edd6441cff" providerId="ADAL" clId="{36D14C0E-B70E-4281-9AD2-7129A7F7BB3E}" dt="2021-12-10T07:40:03.181" v="1279"/>
          <ac:inkMkLst>
            <pc:docMk/>
            <pc:sldMk cId="3475638967" sldId="266"/>
            <ac:inkMk id="53" creationId="{BC2BA5F0-9BFF-42C9-A11F-747D26301A91}"/>
          </ac:inkMkLst>
        </pc:inkChg>
        <pc:inkChg chg="add mod">
          <ac:chgData name="Aniket Chhabra" userId="598e0514-bef3-4e71-b6aa-f2edd6441cff" providerId="ADAL" clId="{36D14C0E-B70E-4281-9AD2-7129A7F7BB3E}" dt="2021-12-10T07:40:03.181" v="1279"/>
          <ac:inkMkLst>
            <pc:docMk/>
            <pc:sldMk cId="3475638967" sldId="266"/>
            <ac:inkMk id="54" creationId="{1EDCB210-E197-4E52-AC05-C15E28DCE236}"/>
          </ac:inkMkLst>
        </pc:inkChg>
        <pc:inkChg chg="add mod">
          <ac:chgData name="Aniket Chhabra" userId="598e0514-bef3-4e71-b6aa-f2edd6441cff" providerId="ADAL" clId="{36D14C0E-B70E-4281-9AD2-7129A7F7BB3E}" dt="2021-12-10T07:40:03.181" v="1279"/>
          <ac:inkMkLst>
            <pc:docMk/>
            <pc:sldMk cId="3475638967" sldId="266"/>
            <ac:inkMk id="55" creationId="{CBF330FD-00AB-4BB1-80F1-B1D5D88F651E}"/>
          </ac:inkMkLst>
        </pc:inkChg>
        <pc:inkChg chg="add mod">
          <ac:chgData name="Aniket Chhabra" userId="598e0514-bef3-4e71-b6aa-f2edd6441cff" providerId="ADAL" clId="{36D14C0E-B70E-4281-9AD2-7129A7F7BB3E}" dt="2021-12-10T07:40:03.181" v="1279"/>
          <ac:inkMkLst>
            <pc:docMk/>
            <pc:sldMk cId="3475638967" sldId="266"/>
            <ac:inkMk id="56" creationId="{2D25B65F-35BB-4BD7-B023-7EEA89528FC7}"/>
          </ac:inkMkLst>
        </pc:inkChg>
        <pc:inkChg chg="add mod">
          <ac:chgData name="Aniket Chhabra" userId="598e0514-bef3-4e71-b6aa-f2edd6441cff" providerId="ADAL" clId="{36D14C0E-B70E-4281-9AD2-7129A7F7BB3E}" dt="2021-12-11T13:18:16.624" v="1753"/>
          <ac:inkMkLst>
            <pc:docMk/>
            <pc:sldMk cId="3475638967" sldId="266"/>
            <ac:inkMk id="58" creationId="{429A850C-67E4-4335-BCBC-454FC907D68A}"/>
          </ac:inkMkLst>
        </pc:inkChg>
        <pc:inkChg chg="add mod">
          <ac:chgData name="Aniket Chhabra" userId="598e0514-bef3-4e71-b6aa-f2edd6441cff" providerId="ADAL" clId="{36D14C0E-B70E-4281-9AD2-7129A7F7BB3E}" dt="2021-12-11T13:18:16.624" v="1753"/>
          <ac:inkMkLst>
            <pc:docMk/>
            <pc:sldMk cId="3475638967" sldId="266"/>
            <ac:inkMk id="59" creationId="{7374F668-06F2-4EF7-8E2F-CE0B0FF8AF34}"/>
          </ac:inkMkLst>
        </pc:inkChg>
        <pc:inkChg chg="add mod">
          <ac:chgData name="Aniket Chhabra" userId="598e0514-bef3-4e71-b6aa-f2edd6441cff" providerId="ADAL" clId="{36D14C0E-B70E-4281-9AD2-7129A7F7BB3E}" dt="2021-12-11T13:18:16.624" v="1753"/>
          <ac:inkMkLst>
            <pc:docMk/>
            <pc:sldMk cId="3475638967" sldId="266"/>
            <ac:inkMk id="60" creationId="{0279DE28-E4FC-44F2-9843-6F8A13EDCCD3}"/>
          </ac:inkMkLst>
        </pc:inkChg>
        <pc:inkChg chg="add mod">
          <ac:chgData name="Aniket Chhabra" userId="598e0514-bef3-4e71-b6aa-f2edd6441cff" providerId="ADAL" clId="{36D14C0E-B70E-4281-9AD2-7129A7F7BB3E}" dt="2021-12-11T13:18:16.624" v="1753"/>
          <ac:inkMkLst>
            <pc:docMk/>
            <pc:sldMk cId="3475638967" sldId="266"/>
            <ac:inkMk id="61" creationId="{432DB74C-B2AE-4306-8B8A-BE4E7CA8ADDB}"/>
          </ac:inkMkLst>
        </pc:inkChg>
        <pc:inkChg chg="add">
          <ac:chgData name="Aniket Chhabra" userId="598e0514-bef3-4e71-b6aa-f2edd6441cff" providerId="ADAL" clId="{36D14C0E-B70E-4281-9AD2-7129A7F7BB3E}" dt="2021-12-11T13:18:17.425" v="1754" actId="9405"/>
          <ac:inkMkLst>
            <pc:docMk/>
            <pc:sldMk cId="3475638967" sldId="266"/>
            <ac:inkMk id="63" creationId="{E3ECF23F-F642-4B97-B104-7D5AB1AAFE46}"/>
          </ac:inkMkLst>
        </pc:inkChg>
      </pc:sldChg>
      <pc:sldChg chg="addSp delSp modSp new add mod">
        <pc:chgData name="Aniket Chhabra" userId="598e0514-bef3-4e71-b6aa-f2edd6441cff" providerId="ADAL" clId="{36D14C0E-B70E-4281-9AD2-7129A7F7BB3E}" dt="2021-12-11T13:45:06.906" v="1783"/>
        <pc:sldMkLst>
          <pc:docMk/>
          <pc:sldMk cId="1301853796" sldId="267"/>
        </pc:sldMkLst>
        <pc:grpChg chg="del mod">
          <ac:chgData name="Aniket Chhabra" userId="598e0514-bef3-4e71-b6aa-f2edd6441cff" providerId="ADAL" clId="{36D14C0E-B70E-4281-9AD2-7129A7F7BB3E}" dt="2021-12-11T13:19:45.233" v="1767"/>
          <ac:grpSpMkLst>
            <pc:docMk/>
            <pc:sldMk cId="1301853796" sldId="267"/>
            <ac:grpSpMk id="10" creationId="{F3AB59EF-749E-46D9-BDAC-7C1AA6C856DB}"/>
          </ac:grpSpMkLst>
        </pc:grpChg>
        <pc:grpChg chg="del mod">
          <ac:chgData name="Aniket Chhabra" userId="598e0514-bef3-4e71-b6aa-f2edd6441cff" providerId="ADAL" clId="{36D14C0E-B70E-4281-9AD2-7129A7F7BB3E}" dt="2021-12-11T13:19:53.807" v="1779"/>
          <ac:grpSpMkLst>
            <pc:docMk/>
            <pc:sldMk cId="1301853796" sldId="267"/>
            <ac:grpSpMk id="14" creationId="{8057A734-2803-43F6-A324-B2EAD0544C26}"/>
          </ac:grpSpMkLst>
        </pc:grpChg>
        <pc:grpChg chg="mod">
          <ac:chgData name="Aniket Chhabra" userId="598e0514-bef3-4e71-b6aa-f2edd6441cff" providerId="ADAL" clId="{36D14C0E-B70E-4281-9AD2-7129A7F7BB3E}" dt="2021-12-11T13:19:42.900" v="1765"/>
          <ac:grpSpMkLst>
            <pc:docMk/>
            <pc:sldMk cId="1301853796" sldId="267"/>
            <ac:grpSpMk id="18" creationId="{A86EBE4F-9F88-4AE1-9AC3-BE636D2DE0FA}"/>
          </ac:grpSpMkLst>
        </pc:grpChg>
        <pc:grpChg chg="mod">
          <ac:chgData name="Aniket Chhabra" userId="598e0514-bef3-4e71-b6aa-f2edd6441cff" providerId="ADAL" clId="{36D14C0E-B70E-4281-9AD2-7129A7F7BB3E}" dt="2021-12-11T13:19:45.233" v="1767"/>
          <ac:grpSpMkLst>
            <pc:docMk/>
            <pc:sldMk cId="1301853796" sldId="267"/>
            <ac:grpSpMk id="20" creationId="{03B194EE-02B2-4591-97E5-7BA016EC9F06}"/>
          </ac:grpSpMkLst>
        </pc:grpChg>
        <pc:grpChg chg="mod">
          <ac:chgData name="Aniket Chhabra" userId="598e0514-bef3-4e71-b6aa-f2edd6441cff" providerId="ADAL" clId="{36D14C0E-B70E-4281-9AD2-7129A7F7BB3E}" dt="2021-12-11T13:19:47.845" v="1772"/>
          <ac:grpSpMkLst>
            <pc:docMk/>
            <pc:sldMk cId="1301853796" sldId="267"/>
            <ac:grpSpMk id="25" creationId="{73BFB9C9-285F-4BBC-9AF1-A35298B9C268}"/>
          </ac:grpSpMkLst>
        </pc:grpChg>
        <pc:grpChg chg="del mod">
          <ac:chgData name="Aniket Chhabra" userId="598e0514-bef3-4e71-b6aa-f2edd6441cff" providerId="ADAL" clId="{36D14C0E-B70E-4281-9AD2-7129A7F7BB3E}" dt="2021-12-11T13:19:53.807" v="1779"/>
          <ac:grpSpMkLst>
            <pc:docMk/>
            <pc:sldMk cId="1301853796" sldId="267"/>
            <ac:grpSpMk id="29" creationId="{2F9AD7A0-DD73-4FC9-97D0-A2E2AF2949B3}"/>
          </ac:grpSpMkLst>
        </pc:grpChg>
        <pc:grpChg chg="mod">
          <ac:chgData name="Aniket Chhabra" userId="598e0514-bef3-4e71-b6aa-f2edd6441cff" providerId="ADAL" clId="{36D14C0E-B70E-4281-9AD2-7129A7F7BB3E}" dt="2021-12-11T13:19:53.807" v="1779"/>
          <ac:grpSpMkLst>
            <pc:docMk/>
            <pc:sldMk cId="1301853796" sldId="267"/>
            <ac:grpSpMk id="32" creationId="{EF618CDC-6E02-4179-8C84-A3D9588ED54D}"/>
          </ac:grpSpMkLst>
        </pc:grpChg>
        <pc:picChg chg="add">
          <ac:chgData name="Aniket Chhabra" userId="598e0514-bef3-4e71-b6aa-f2edd6441cff" providerId="ADAL" clId="{36D14C0E-B70E-4281-9AD2-7129A7F7BB3E}" dt="2021-12-10T07:40:51.100" v="1281"/>
          <ac:picMkLst>
            <pc:docMk/>
            <pc:sldMk cId="1301853796" sldId="267"/>
            <ac:picMk id="5" creationId="{20E079F4-E5AC-4E01-AB8E-7C7AFC64BD03}"/>
          </ac:picMkLst>
        </pc:picChg>
        <pc:inkChg chg="add mod">
          <ac:chgData name="Aniket Chhabra" userId="598e0514-bef3-4e71-b6aa-f2edd6441cff" providerId="ADAL" clId="{36D14C0E-B70E-4281-9AD2-7129A7F7BB3E}" dt="2021-12-11T13:19:45.233" v="1767"/>
          <ac:inkMkLst>
            <pc:docMk/>
            <pc:sldMk cId="1301853796" sldId="267"/>
            <ac:inkMk id="4" creationId="{77D19994-24B7-4C65-8E72-BC175F62DA3C}"/>
          </ac:inkMkLst>
        </pc:inkChg>
        <pc:inkChg chg="add">
          <ac:chgData name="Aniket Chhabra" userId="598e0514-bef3-4e71-b6aa-f2edd6441cff" providerId="ADAL" clId="{36D14C0E-B70E-4281-9AD2-7129A7F7BB3E}" dt="2021-12-10T07:41:00.060" v="1282" actId="9405"/>
          <ac:inkMkLst>
            <pc:docMk/>
            <pc:sldMk cId="1301853796" sldId="267"/>
            <ac:inkMk id="6" creationId="{6F01A576-8A00-4494-A7A8-41D86E3C9E78}"/>
          </ac:inkMkLst>
        </pc:inkChg>
        <pc:inkChg chg="add">
          <ac:chgData name="Aniket Chhabra" userId="598e0514-bef3-4e71-b6aa-f2edd6441cff" providerId="ADAL" clId="{36D14C0E-B70E-4281-9AD2-7129A7F7BB3E}" dt="2021-12-10T07:42:52.103" v="1283" actId="9405"/>
          <ac:inkMkLst>
            <pc:docMk/>
            <pc:sldMk cId="1301853796" sldId="267"/>
            <ac:inkMk id="7" creationId="{6F84187A-F392-46CE-AD96-A0219998D63F}"/>
          </ac:inkMkLst>
        </pc:inkChg>
        <pc:inkChg chg="add">
          <ac:chgData name="Aniket Chhabra" userId="598e0514-bef3-4e71-b6aa-f2edd6441cff" providerId="ADAL" clId="{36D14C0E-B70E-4281-9AD2-7129A7F7BB3E}" dt="2021-12-10T07:42:52.495" v="1284" actId="9405"/>
          <ac:inkMkLst>
            <pc:docMk/>
            <pc:sldMk cId="1301853796" sldId="267"/>
            <ac:inkMk id="8" creationId="{963EFD87-9E2F-4B69-9564-EF5FD74585B9}"/>
          </ac:inkMkLst>
        </pc:inkChg>
        <pc:inkChg chg="add mod">
          <ac:chgData name="Aniket Chhabra" userId="598e0514-bef3-4e71-b6aa-f2edd6441cff" providerId="ADAL" clId="{36D14C0E-B70E-4281-9AD2-7129A7F7BB3E}" dt="2021-12-11T13:19:45.233" v="1767"/>
          <ac:inkMkLst>
            <pc:docMk/>
            <pc:sldMk cId="1301853796" sldId="267"/>
            <ac:inkMk id="9" creationId="{53AC41EF-039C-4F22-BCC8-7150ADAB5762}"/>
          </ac:inkMkLst>
        </pc:inkChg>
        <pc:inkChg chg="add">
          <ac:chgData name="Aniket Chhabra" userId="598e0514-bef3-4e71-b6aa-f2edd6441cff" providerId="ADAL" clId="{36D14C0E-B70E-4281-9AD2-7129A7F7BB3E}" dt="2021-12-11T13:19:28.262" v="1758" actId="9405"/>
          <ac:inkMkLst>
            <pc:docMk/>
            <pc:sldMk cId="1301853796" sldId="267"/>
            <ac:inkMk id="11" creationId="{FE26EACA-FFFD-40DC-AAA2-27C6B4C125FF}"/>
          </ac:inkMkLst>
        </pc:inkChg>
        <pc:inkChg chg="add mod">
          <ac:chgData name="Aniket Chhabra" userId="598e0514-bef3-4e71-b6aa-f2edd6441cff" providerId="ADAL" clId="{36D14C0E-B70E-4281-9AD2-7129A7F7BB3E}" dt="2021-12-11T13:19:53.807" v="1779"/>
          <ac:inkMkLst>
            <pc:docMk/>
            <pc:sldMk cId="1301853796" sldId="267"/>
            <ac:inkMk id="12" creationId="{2A67E78B-F312-4202-9BAD-5517F2F8B1DD}"/>
          </ac:inkMkLst>
        </pc:inkChg>
        <pc:inkChg chg="add mod">
          <ac:chgData name="Aniket Chhabra" userId="598e0514-bef3-4e71-b6aa-f2edd6441cff" providerId="ADAL" clId="{36D14C0E-B70E-4281-9AD2-7129A7F7BB3E}" dt="2021-12-11T13:19:53.807" v="1779"/>
          <ac:inkMkLst>
            <pc:docMk/>
            <pc:sldMk cId="1301853796" sldId="267"/>
            <ac:inkMk id="13" creationId="{6CB9E349-40FC-4D8E-90AC-B578D1EA08EF}"/>
          </ac:inkMkLst>
        </pc:inkChg>
        <pc:inkChg chg="add mod">
          <ac:chgData name="Aniket Chhabra" userId="598e0514-bef3-4e71-b6aa-f2edd6441cff" providerId="ADAL" clId="{36D14C0E-B70E-4281-9AD2-7129A7F7BB3E}" dt="2021-12-11T13:19:42.900" v="1765"/>
          <ac:inkMkLst>
            <pc:docMk/>
            <pc:sldMk cId="1301853796" sldId="267"/>
            <ac:inkMk id="15" creationId="{2FAF6A4D-6F1A-4B3B-AD48-2FC3F77CF851}"/>
          </ac:inkMkLst>
        </pc:inkChg>
        <pc:inkChg chg="add mod">
          <ac:chgData name="Aniket Chhabra" userId="598e0514-bef3-4e71-b6aa-f2edd6441cff" providerId="ADAL" clId="{36D14C0E-B70E-4281-9AD2-7129A7F7BB3E}" dt="2021-12-11T13:19:42.900" v="1765"/>
          <ac:inkMkLst>
            <pc:docMk/>
            <pc:sldMk cId="1301853796" sldId="267"/>
            <ac:inkMk id="16" creationId="{95B939A8-EF45-4C1C-A48D-28412200D31A}"/>
          </ac:inkMkLst>
        </pc:inkChg>
        <pc:inkChg chg="add mod">
          <ac:chgData name="Aniket Chhabra" userId="598e0514-bef3-4e71-b6aa-f2edd6441cff" providerId="ADAL" clId="{36D14C0E-B70E-4281-9AD2-7129A7F7BB3E}" dt="2021-12-11T13:19:42.900" v="1765"/>
          <ac:inkMkLst>
            <pc:docMk/>
            <pc:sldMk cId="1301853796" sldId="267"/>
            <ac:inkMk id="17" creationId="{AFD22AFB-9DE5-4561-B94C-D31588C823C1}"/>
          </ac:inkMkLst>
        </pc:inkChg>
        <pc:inkChg chg="add mod">
          <ac:chgData name="Aniket Chhabra" userId="598e0514-bef3-4e71-b6aa-f2edd6441cff" providerId="ADAL" clId="{36D14C0E-B70E-4281-9AD2-7129A7F7BB3E}" dt="2021-12-11T13:19:45.233" v="1767"/>
          <ac:inkMkLst>
            <pc:docMk/>
            <pc:sldMk cId="1301853796" sldId="267"/>
            <ac:inkMk id="19" creationId="{762D2E38-8336-4FDC-899C-B303564634E4}"/>
          </ac:inkMkLst>
        </pc:inkChg>
        <pc:inkChg chg="add mod">
          <ac:chgData name="Aniket Chhabra" userId="598e0514-bef3-4e71-b6aa-f2edd6441cff" providerId="ADAL" clId="{36D14C0E-B70E-4281-9AD2-7129A7F7BB3E}" dt="2021-12-11T13:19:47.845" v="1772"/>
          <ac:inkMkLst>
            <pc:docMk/>
            <pc:sldMk cId="1301853796" sldId="267"/>
            <ac:inkMk id="21" creationId="{E243B406-5963-4147-98CF-1D66F279E383}"/>
          </ac:inkMkLst>
        </pc:inkChg>
        <pc:inkChg chg="add mod">
          <ac:chgData name="Aniket Chhabra" userId="598e0514-bef3-4e71-b6aa-f2edd6441cff" providerId="ADAL" clId="{36D14C0E-B70E-4281-9AD2-7129A7F7BB3E}" dt="2021-12-11T13:19:47.845" v="1772"/>
          <ac:inkMkLst>
            <pc:docMk/>
            <pc:sldMk cId="1301853796" sldId="267"/>
            <ac:inkMk id="22" creationId="{16C960A9-9E5C-4259-9189-A04762FCC815}"/>
          </ac:inkMkLst>
        </pc:inkChg>
        <pc:inkChg chg="add mod">
          <ac:chgData name="Aniket Chhabra" userId="598e0514-bef3-4e71-b6aa-f2edd6441cff" providerId="ADAL" clId="{36D14C0E-B70E-4281-9AD2-7129A7F7BB3E}" dt="2021-12-11T13:19:47.845" v="1772"/>
          <ac:inkMkLst>
            <pc:docMk/>
            <pc:sldMk cId="1301853796" sldId="267"/>
            <ac:inkMk id="23" creationId="{CF7FB247-8461-4436-B414-0B1F0F1A036D}"/>
          </ac:inkMkLst>
        </pc:inkChg>
        <pc:inkChg chg="add mod">
          <ac:chgData name="Aniket Chhabra" userId="598e0514-bef3-4e71-b6aa-f2edd6441cff" providerId="ADAL" clId="{36D14C0E-B70E-4281-9AD2-7129A7F7BB3E}" dt="2021-12-11T13:19:47.845" v="1772"/>
          <ac:inkMkLst>
            <pc:docMk/>
            <pc:sldMk cId="1301853796" sldId="267"/>
            <ac:inkMk id="24" creationId="{4F4DA1E6-E2A2-4700-996F-16F56A34DCA0}"/>
          </ac:inkMkLst>
        </pc:inkChg>
        <pc:inkChg chg="add mod">
          <ac:chgData name="Aniket Chhabra" userId="598e0514-bef3-4e71-b6aa-f2edd6441cff" providerId="ADAL" clId="{36D14C0E-B70E-4281-9AD2-7129A7F7BB3E}" dt="2021-12-11T13:19:53.807" v="1779"/>
          <ac:inkMkLst>
            <pc:docMk/>
            <pc:sldMk cId="1301853796" sldId="267"/>
            <ac:inkMk id="26" creationId="{4CA7C661-A489-43F9-9CDD-29A485751A5C}"/>
          </ac:inkMkLst>
        </pc:inkChg>
        <pc:inkChg chg="add mod">
          <ac:chgData name="Aniket Chhabra" userId="598e0514-bef3-4e71-b6aa-f2edd6441cff" providerId="ADAL" clId="{36D14C0E-B70E-4281-9AD2-7129A7F7BB3E}" dt="2021-12-11T13:19:53.807" v="1779"/>
          <ac:inkMkLst>
            <pc:docMk/>
            <pc:sldMk cId="1301853796" sldId="267"/>
            <ac:inkMk id="27" creationId="{0514ED2D-F8C7-432D-A925-4B268DAFB882}"/>
          </ac:inkMkLst>
        </pc:inkChg>
        <pc:inkChg chg="add mod">
          <ac:chgData name="Aniket Chhabra" userId="598e0514-bef3-4e71-b6aa-f2edd6441cff" providerId="ADAL" clId="{36D14C0E-B70E-4281-9AD2-7129A7F7BB3E}" dt="2021-12-11T13:19:53.807" v="1779"/>
          <ac:inkMkLst>
            <pc:docMk/>
            <pc:sldMk cId="1301853796" sldId="267"/>
            <ac:inkMk id="28" creationId="{9FEE7AAA-3B3C-4339-BE80-B670D90E9B7D}"/>
          </ac:inkMkLst>
        </pc:inkChg>
        <pc:inkChg chg="add mod">
          <ac:chgData name="Aniket Chhabra" userId="598e0514-bef3-4e71-b6aa-f2edd6441cff" providerId="ADAL" clId="{36D14C0E-B70E-4281-9AD2-7129A7F7BB3E}" dt="2021-12-11T13:19:53.807" v="1779"/>
          <ac:inkMkLst>
            <pc:docMk/>
            <pc:sldMk cId="1301853796" sldId="267"/>
            <ac:inkMk id="30" creationId="{7EED69FF-3293-44C3-8138-4F2EFC4CF5B3}"/>
          </ac:inkMkLst>
        </pc:inkChg>
        <pc:inkChg chg="add">
          <ac:chgData name="Aniket Chhabra" userId="598e0514-bef3-4e71-b6aa-f2edd6441cff" providerId="ADAL" clId="{36D14C0E-B70E-4281-9AD2-7129A7F7BB3E}" dt="2021-12-11T13:19:53.231" v="1778" actId="9405"/>
          <ac:inkMkLst>
            <pc:docMk/>
            <pc:sldMk cId="1301853796" sldId="267"/>
            <ac:inkMk id="31" creationId="{7DDE32BA-C5D1-4165-8105-ACC36195E30A}"/>
          </ac:inkMkLst>
        </pc:inkChg>
        <pc:inkChg chg="add">
          <ac:chgData name="Aniket Chhabra" userId="598e0514-bef3-4e71-b6aa-f2edd6441cff" providerId="ADAL" clId="{36D14C0E-B70E-4281-9AD2-7129A7F7BB3E}" dt="2021-12-11T13:19:53.900" v="1780" actId="9405"/>
          <ac:inkMkLst>
            <pc:docMk/>
            <pc:sldMk cId="1301853796" sldId="267"/>
            <ac:inkMk id="33" creationId="{7DDDEE40-BCA4-488D-BF20-9A22F7801882}"/>
          </ac:inkMkLst>
        </pc:inkChg>
        <pc:inkChg chg="add">
          <ac:chgData name="Aniket Chhabra" userId="598e0514-bef3-4e71-b6aa-f2edd6441cff" providerId="ADAL" clId="{36D14C0E-B70E-4281-9AD2-7129A7F7BB3E}" dt="2021-12-11T13:19:57.671" v="1781" actId="9405"/>
          <ac:inkMkLst>
            <pc:docMk/>
            <pc:sldMk cId="1301853796" sldId="267"/>
            <ac:inkMk id="34" creationId="{D11FD891-0751-4EF4-B72E-FBC33A3FD961}"/>
          </ac:inkMkLst>
        </pc:inkChg>
        <pc:inkChg chg="add">
          <ac:chgData name="Aniket Chhabra" userId="598e0514-bef3-4e71-b6aa-f2edd6441cff" providerId="ADAL" clId="{36D14C0E-B70E-4281-9AD2-7129A7F7BB3E}" dt="2021-12-11T13:19:59.835" v="1782" actId="9405"/>
          <ac:inkMkLst>
            <pc:docMk/>
            <pc:sldMk cId="1301853796" sldId="267"/>
            <ac:inkMk id="35" creationId="{E651C4A2-0225-4FCA-A131-43526444B90A}"/>
          </ac:inkMkLst>
        </pc:inkChg>
        <pc:inkChg chg="add">
          <ac:chgData name="Aniket Chhabra" userId="598e0514-bef3-4e71-b6aa-f2edd6441cff" providerId="ADAL" clId="{36D14C0E-B70E-4281-9AD2-7129A7F7BB3E}" dt="2021-12-11T13:45:06.906" v="1783"/>
          <ac:inkMkLst>
            <pc:docMk/>
            <pc:sldMk cId="1301853796" sldId="267"/>
            <ac:inkMk id="36" creationId="{EB134FB5-9972-4B3D-80B1-DE43FCADACEC}"/>
          </ac:inkMkLst>
        </pc:inkChg>
      </pc:sldChg>
      <pc:sldChg chg="addSp delSp modSp new add mod">
        <pc:chgData name="Aniket Chhabra" userId="598e0514-bef3-4e71-b6aa-f2edd6441cff" providerId="ADAL" clId="{36D14C0E-B70E-4281-9AD2-7129A7F7BB3E}" dt="2021-12-11T13:45:47.281" v="1784" actId="1076"/>
        <pc:sldMkLst>
          <pc:docMk/>
          <pc:sldMk cId="3826155260" sldId="268"/>
        </pc:sldMkLst>
        <pc:spChg chg="del mod">
          <ac:chgData name="Aniket Chhabra" userId="598e0514-bef3-4e71-b6aa-f2edd6441cff" providerId="ADAL" clId="{36D14C0E-B70E-4281-9AD2-7129A7F7BB3E}" dt="2021-12-10T07:44:03.610" v="1291" actId="478"/>
          <ac:spMkLst>
            <pc:docMk/>
            <pc:sldMk cId="3826155260" sldId="268"/>
            <ac:spMk id="2" creationId="{8BF4FFDA-2C29-487F-A728-B1C0BDC0EF46}"/>
          </ac:spMkLst>
        </pc:spChg>
        <pc:grpChg chg="del mod">
          <ac:chgData name="Aniket Chhabra" userId="598e0514-bef3-4e71-b6aa-f2edd6441cff" providerId="ADAL" clId="{36D14C0E-B70E-4281-9AD2-7129A7F7BB3E}" dt="2021-12-10T07:44:06.114" v="1307"/>
          <ac:grpSpMkLst>
            <pc:docMk/>
            <pc:sldMk cId="3826155260" sldId="268"/>
            <ac:grpSpMk id="9" creationId="{C98272F5-3CD3-4CAB-A8AD-2CD04BF6BB4D}"/>
          </ac:grpSpMkLst>
        </pc:grpChg>
        <pc:grpChg chg="mod">
          <ac:chgData name="Aniket Chhabra" userId="598e0514-bef3-4e71-b6aa-f2edd6441cff" providerId="ADAL" clId="{36D14C0E-B70E-4281-9AD2-7129A7F7BB3E}" dt="2021-12-10T07:44:07.969" v="1312"/>
          <ac:grpSpMkLst>
            <pc:docMk/>
            <pc:sldMk cId="3826155260" sldId="268"/>
            <ac:grpSpMk id="13" creationId="{BF11627F-F0BA-4229-AA08-4981E69D5E4A}"/>
          </ac:grpSpMkLst>
        </pc:grpChg>
        <pc:grpChg chg="mod">
          <ac:chgData name="Aniket Chhabra" userId="598e0514-bef3-4e71-b6aa-f2edd6441cff" providerId="ADAL" clId="{36D14C0E-B70E-4281-9AD2-7129A7F7BB3E}" dt="2021-12-10T07:44:14.777" v="1326"/>
          <ac:grpSpMkLst>
            <pc:docMk/>
            <pc:sldMk cId="3826155260" sldId="268"/>
            <ac:grpSpMk id="27" creationId="{C58BD399-BF0F-42BF-871A-4E8E6F1802F1}"/>
          </ac:grpSpMkLst>
        </pc:grpChg>
        <pc:grpChg chg="del mod">
          <ac:chgData name="Aniket Chhabra" userId="598e0514-bef3-4e71-b6aa-f2edd6441cff" providerId="ADAL" clId="{36D14C0E-B70E-4281-9AD2-7129A7F7BB3E}" dt="2021-12-10T07:44:45.868" v="1346"/>
          <ac:grpSpMkLst>
            <pc:docMk/>
            <pc:sldMk cId="3826155260" sldId="268"/>
            <ac:grpSpMk id="35" creationId="{56E0BD26-BFA6-441D-B37B-F700385A21DE}"/>
          </ac:grpSpMkLst>
        </pc:grpChg>
        <pc:grpChg chg="del mod">
          <ac:chgData name="Aniket Chhabra" userId="598e0514-bef3-4e71-b6aa-f2edd6441cff" providerId="ADAL" clId="{36D14C0E-B70E-4281-9AD2-7129A7F7BB3E}" dt="2021-12-10T07:44:57.815" v="1363"/>
          <ac:grpSpMkLst>
            <pc:docMk/>
            <pc:sldMk cId="3826155260" sldId="268"/>
            <ac:grpSpMk id="47" creationId="{B19726E3-D086-4D5A-87CF-B77D47004686}"/>
          </ac:grpSpMkLst>
        </pc:grpChg>
        <pc:grpChg chg="del mod">
          <ac:chgData name="Aniket Chhabra" userId="598e0514-bef3-4e71-b6aa-f2edd6441cff" providerId="ADAL" clId="{36D14C0E-B70E-4281-9AD2-7129A7F7BB3E}" dt="2021-12-10T07:44:57.815" v="1363"/>
          <ac:grpSpMkLst>
            <pc:docMk/>
            <pc:sldMk cId="3826155260" sldId="268"/>
            <ac:grpSpMk id="56" creationId="{49D1D0A5-4B68-44CE-9A90-3CBC4EB257F2}"/>
          </ac:grpSpMkLst>
        </pc:grpChg>
        <pc:grpChg chg="mod">
          <ac:chgData name="Aniket Chhabra" userId="598e0514-bef3-4e71-b6aa-f2edd6441cff" providerId="ADAL" clId="{36D14C0E-B70E-4281-9AD2-7129A7F7BB3E}" dt="2021-12-10T07:44:57.815" v="1363"/>
          <ac:grpSpMkLst>
            <pc:docMk/>
            <pc:sldMk cId="3826155260" sldId="268"/>
            <ac:grpSpMk id="61" creationId="{08D8F00D-5F0E-40C1-A651-71EFF783214A}"/>
          </ac:grpSpMkLst>
        </pc:grpChg>
        <pc:grpChg chg="mod">
          <ac:chgData name="Aniket Chhabra" userId="598e0514-bef3-4e71-b6aa-f2edd6441cff" providerId="ADAL" clId="{36D14C0E-B70E-4281-9AD2-7129A7F7BB3E}" dt="2021-12-10T07:45:02.251" v="1372"/>
          <ac:grpSpMkLst>
            <pc:docMk/>
            <pc:sldMk cId="3826155260" sldId="268"/>
            <ac:grpSpMk id="70" creationId="{96053586-A36B-4D16-A25C-84C3416E44A3}"/>
          </ac:grpSpMkLst>
        </pc:grpChg>
        <pc:graphicFrameChg chg="add mod ord modVis">
          <ac:chgData name="Aniket Chhabra" userId="598e0514-bef3-4e71-b6aa-f2edd6441cff" providerId="ADAL" clId="{36D14C0E-B70E-4281-9AD2-7129A7F7BB3E}" dt="2021-12-10T07:44:04.160" v="1306"/>
          <ac:graphicFrameMkLst>
            <pc:docMk/>
            <pc:sldMk cId="3826155260" sldId="268"/>
            <ac:graphicFrameMk id="10" creationId="{FF2D7719-C280-4375-9416-B16EF9CF9DA5}"/>
          </ac:graphicFrameMkLst>
        </pc:graphicFrameChg>
        <pc:picChg chg="add mod">
          <ac:chgData name="Aniket Chhabra" userId="598e0514-bef3-4e71-b6aa-f2edd6441cff" providerId="ADAL" clId="{36D14C0E-B70E-4281-9AD2-7129A7F7BB3E}" dt="2021-12-11T13:45:47.281" v="1784" actId="1076"/>
          <ac:picMkLst>
            <pc:docMk/>
            <pc:sldMk cId="3826155260" sldId="268"/>
            <ac:picMk id="5" creationId="{F423CDC7-122F-4CB8-91E2-51D60710C7CA}"/>
          </ac:picMkLst>
        </pc:picChg>
        <pc:inkChg chg="add">
          <ac:chgData name="Aniket Chhabra" userId="598e0514-bef3-4e71-b6aa-f2edd6441cff" providerId="ADAL" clId="{36D14C0E-B70E-4281-9AD2-7129A7F7BB3E}" dt="2021-12-11T13:45:06.906" v="1783"/>
          <ac:inkMkLst>
            <pc:docMk/>
            <pc:sldMk cId="3826155260" sldId="268"/>
            <ac:inkMk id="2" creationId="{B9942666-7DFD-4502-B3AC-D1525289394D}"/>
          </ac:inkMkLst>
        </pc:inkChg>
        <pc:inkChg chg="add del mod">
          <ac:chgData name="Aniket Chhabra" userId="598e0514-bef3-4e71-b6aa-f2edd6441cff" providerId="ADAL" clId="{36D14C0E-B70E-4281-9AD2-7129A7F7BB3E}" dt="2021-12-10T07:44:06.114" v="1307"/>
          <ac:inkMkLst>
            <pc:docMk/>
            <pc:sldMk cId="3826155260" sldId="268"/>
            <ac:inkMk id="6" creationId="{3428EB9F-ED61-47EC-B3D7-9E86935E4FA4}"/>
          </ac:inkMkLst>
        </pc:inkChg>
        <pc:inkChg chg="add del">
          <ac:chgData name="Aniket Chhabra" userId="598e0514-bef3-4e71-b6aa-f2edd6441cff" providerId="ADAL" clId="{36D14C0E-B70E-4281-9AD2-7129A7F7BB3E}" dt="2021-12-10T07:44:06.116" v="1308"/>
          <ac:inkMkLst>
            <pc:docMk/>
            <pc:sldMk cId="3826155260" sldId="268"/>
            <ac:inkMk id="7" creationId="{B22D1C09-C9B3-4B1B-B2E3-0AF9CA791841}"/>
          </ac:inkMkLst>
        </pc:inkChg>
        <pc:inkChg chg="add del mod">
          <ac:chgData name="Aniket Chhabra" userId="598e0514-bef3-4e71-b6aa-f2edd6441cff" providerId="ADAL" clId="{36D14C0E-B70E-4281-9AD2-7129A7F7BB3E}" dt="2021-12-10T07:44:06.117" v="1309"/>
          <ac:inkMkLst>
            <pc:docMk/>
            <pc:sldMk cId="3826155260" sldId="268"/>
            <ac:inkMk id="8" creationId="{6F96FC16-CD91-44C2-B988-06046111B16B}"/>
          </ac:inkMkLst>
        </pc:inkChg>
        <pc:inkChg chg="add mod">
          <ac:chgData name="Aniket Chhabra" userId="598e0514-bef3-4e71-b6aa-f2edd6441cff" providerId="ADAL" clId="{36D14C0E-B70E-4281-9AD2-7129A7F7BB3E}" dt="2021-12-10T07:44:07.969" v="1312"/>
          <ac:inkMkLst>
            <pc:docMk/>
            <pc:sldMk cId="3826155260" sldId="268"/>
            <ac:inkMk id="11" creationId="{F5D791CD-3685-4341-AF27-3756F3E548D3}"/>
          </ac:inkMkLst>
        </pc:inkChg>
        <pc:inkChg chg="add mod">
          <ac:chgData name="Aniket Chhabra" userId="598e0514-bef3-4e71-b6aa-f2edd6441cff" providerId="ADAL" clId="{36D14C0E-B70E-4281-9AD2-7129A7F7BB3E}" dt="2021-12-10T07:44:07.969" v="1312"/>
          <ac:inkMkLst>
            <pc:docMk/>
            <pc:sldMk cId="3826155260" sldId="268"/>
            <ac:inkMk id="12" creationId="{C9111E8D-1450-4826-B6F1-C39CA1601399}"/>
          </ac:inkMkLst>
        </pc:inkChg>
        <pc:inkChg chg="add">
          <ac:chgData name="Aniket Chhabra" userId="598e0514-bef3-4e71-b6aa-f2edd6441cff" providerId="ADAL" clId="{36D14C0E-B70E-4281-9AD2-7129A7F7BB3E}" dt="2021-12-10T07:44:08.245" v="1313" actId="9405"/>
          <ac:inkMkLst>
            <pc:docMk/>
            <pc:sldMk cId="3826155260" sldId="268"/>
            <ac:inkMk id="14" creationId="{802B0326-0464-4C14-95A0-AE5051C69CDB}"/>
          </ac:inkMkLst>
        </pc:inkChg>
        <pc:inkChg chg="add mod">
          <ac:chgData name="Aniket Chhabra" userId="598e0514-bef3-4e71-b6aa-f2edd6441cff" providerId="ADAL" clId="{36D14C0E-B70E-4281-9AD2-7129A7F7BB3E}" dt="2021-12-10T07:44:14.777" v="1326"/>
          <ac:inkMkLst>
            <pc:docMk/>
            <pc:sldMk cId="3826155260" sldId="268"/>
            <ac:inkMk id="15" creationId="{1A820DDF-0303-433C-956A-3427471CAAA4}"/>
          </ac:inkMkLst>
        </pc:inkChg>
        <pc:inkChg chg="add mod">
          <ac:chgData name="Aniket Chhabra" userId="598e0514-bef3-4e71-b6aa-f2edd6441cff" providerId="ADAL" clId="{36D14C0E-B70E-4281-9AD2-7129A7F7BB3E}" dt="2021-12-10T07:44:14.777" v="1326"/>
          <ac:inkMkLst>
            <pc:docMk/>
            <pc:sldMk cId="3826155260" sldId="268"/>
            <ac:inkMk id="16" creationId="{80277135-E490-4106-90FD-4E533A2F299D}"/>
          </ac:inkMkLst>
        </pc:inkChg>
        <pc:inkChg chg="add mod">
          <ac:chgData name="Aniket Chhabra" userId="598e0514-bef3-4e71-b6aa-f2edd6441cff" providerId="ADAL" clId="{36D14C0E-B70E-4281-9AD2-7129A7F7BB3E}" dt="2021-12-10T07:44:14.777" v="1326"/>
          <ac:inkMkLst>
            <pc:docMk/>
            <pc:sldMk cId="3826155260" sldId="268"/>
            <ac:inkMk id="17" creationId="{9219D9D1-DCE1-4C22-9E2A-5DC0FBEA0D59}"/>
          </ac:inkMkLst>
        </pc:inkChg>
        <pc:inkChg chg="add mod">
          <ac:chgData name="Aniket Chhabra" userId="598e0514-bef3-4e71-b6aa-f2edd6441cff" providerId="ADAL" clId="{36D14C0E-B70E-4281-9AD2-7129A7F7BB3E}" dt="2021-12-10T07:44:14.777" v="1326"/>
          <ac:inkMkLst>
            <pc:docMk/>
            <pc:sldMk cId="3826155260" sldId="268"/>
            <ac:inkMk id="18" creationId="{05D90E29-0174-4FAB-AA36-B245E2360D72}"/>
          </ac:inkMkLst>
        </pc:inkChg>
        <pc:inkChg chg="add mod">
          <ac:chgData name="Aniket Chhabra" userId="598e0514-bef3-4e71-b6aa-f2edd6441cff" providerId="ADAL" clId="{36D14C0E-B70E-4281-9AD2-7129A7F7BB3E}" dt="2021-12-10T07:44:14.777" v="1326"/>
          <ac:inkMkLst>
            <pc:docMk/>
            <pc:sldMk cId="3826155260" sldId="268"/>
            <ac:inkMk id="19" creationId="{6FA4300F-D59A-4CEF-8DF5-C7905AAC376C}"/>
          </ac:inkMkLst>
        </pc:inkChg>
        <pc:inkChg chg="add mod">
          <ac:chgData name="Aniket Chhabra" userId="598e0514-bef3-4e71-b6aa-f2edd6441cff" providerId="ADAL" clId="{36D14C0E-B70E-4281-9AD2-7129A7F7BB3E}" dt="2021-12-10T07:44:14.777" v="1326"/>
          <ac:inkMkLst>
            <pc:docMk/>
            <pc:sldMk cId="3826155260" sldId="268"/>
            <ac:inkMk id="20" creationId="{5FED8D3B-9D44-4F77-AADE-F743113E18D0}"/>
          </ac:inkMkLst>
        </pc:inkChg>
        <pc:inkChg chg="add mod">
          <ac:chgData name="Aniket Chhabra" userId="598e0514-bef3-4e71-b6aa-f2edd6441cff" providerId="ADAL" clId="{36D14C0E-B70E-4281-9AD2-7129A7F7BB3E}" dt="2021-12-10T07:44:14.777" v="1326"/>
          <ac:inkMkLst>
            <pc:docMk/>
            <pc:sldMk cId="3826155260" sldId="268"/>
            <ac:inkMk id="21" creationId="{8AF0A39B-995C-48F4-A01C-0664823F1455}"/>
          </ac:inkMkLst>
        </pc:inkChg>
        <pc:inkChg chg="add mod">
          <ac:chgData name="Aniket Chhabra" userId="598e0514-bef3-4e71-b6aa-f2edd6441cff" providerId="ADAL" clId="{36D14C0E-B70E-4281-9AD2-7129A7F7BB3E}" dt="2021-12-10T07:44:14.777" v="1326"/>
          <ac:inkMkLst>
            <pc:docMk/>
            <pc:sldMk cId="3826155260" sldId="268"/>
            <ac:inkMk id="22" creationId="{02E8123E-AA13-4D9F-8E30-CE0C39658CE0}"/>
          </ac:inkMkLst>
        </pc:inkChg>
        <pc:inkChg chg="add mod">
          <ac:chgData name="Aniket Chhabra" userId="598e0514-bef3-4e71-b6aa-f2edd6441cff" providerId="ADAL" clId="{36D14C0E-B70E-4281-9AD2-7129A7F7BB3E}" dt="2021-12-10T07:44:14.777" v="1326"/>
          <ac:inkMkLst>
            <pc:docMk/>
            <pc:sldMk cId="3826155260" sldId="268"/>
            <ac:inkMk id="23" creationId="{4E0E185A-7B82-4E0A-B7C7-072430C2EA50}"/>
          </ac:inkMkLst>
        </pc:inkChg>
        <pc:inkChg chg="add mod">
          <ac:chgData name="Aniket Chhabra" userId="598e0514-bef3-4e71-b6aa-f2edd6441cff" providerId="ADAL" clId="{36D14C0E-B70E-4281-9AD2-7129A7F7BB3E}" dt="2021-12-10T07:44:14.777" v="1326"/>
          <ac:inkMkLst>
            <pc:docMk/>
            <pc:sldMk cId="3826155260" sldId="268"/>
            <ac:inkMk id="24" creationId="{787B6026-7F42-434C-A608-46375A31E822}"/>
          </ac:inkMkLst>
        </pc:inkChg>
        <pc:inkChg chg="add mod">
          <ac:chgData name="Aniket Chhabra" userId="598e0514-bef3-4e71-b6aa-f2edd6441cff" providerId="ADAL" clId="{36D14C0E-B70E-4281-9AD2-7129A7F7BB3E}" dt="2021-12-10T07:44:14.777" v="1326"/>
          <ac:inkMkLst>
            <pc:docMk/>
            <pc:sldMk cId="3826155260" sldId="268"/>
            <ac:inkMk id="25" creationId="{43DFC2D2-343C-46FD-9DB2-F28E073977C6}"/>
          </ac:inkMkLst>
        </pc:inkChg>
        <pc:inkChg chg="add mod">
          <ac:chgData name="Aniket Chhabra" userId="598e0514-bef3-4e71-b6aa-f2edd6441cff" providerId="ADAL" clId="{36D14C0E-B70E-4281-9AD2-7129A7F7BB3E}" dt="2021-12-10T07:44:14.777" v="1326"/>
          <ac:inkMkLst>
            <pc:docMk/>
            <pc:sldMk cId="3826155260" sldId="268"/>
            <ac:inkMk id="26" creationId="{884DDC64-AFDF-45F4-A117-CD52C82EE293}"/>
          </ac:inkMkLst>
        </pc:inkChg>
        <pc:inkChg chg="add">
          <ac:chgData name="Aniket Chhabra" userId="598e0514-bef3-4e71-b6aa-f2edd6441cff" providerId="ADAL" clId="{36D14C0E-B70E-4281-9AD2-7129A7F7BB3E}" dt="2021-12-10T07:44:28.048" v="1327" actId="9405"/>
          <ac:inkMkLst>
            <pc:docMk/>
            <pc:sldMk cId="3826155260" sldId="268"/>
            <ac:inkMk id="28" creationId="{4B2D5555-F371-4B7B-BF79-DC09CA7535CC}"/>
          </ac:inkMkLst>
        </pc:inkChg>
        <pc:inkChg chg="add">
          <ac:chgData name="Aniket Chhabra" userId="598e0514-bef3-4e71-b6aa-f2edd6441cff" providerId="ADAL" clId="{36D14C0E-B70E-4281-9AD2-7129A7F7BB3E}" dt="2021-12-10T07:44:28.974" v="1328" actId="9405"/>
          <ac:inkMkLst>
            <pc:docMk/>
            <pc:sldMk cId="3826155260" sldId="268"/>
            <ac:inkMk id="29" creationId="{D90849A3-E11F-4029-8E82-997C7C6ABDE9}"/>
          </ac:inkMkLst>
        </pc:inkChg>
        <pc:inkChg chg="add">
          <ac:chgData name="Aniket Chhabra" userId="598e0514-bef3-4e71-b6aa-f2edd6441cff" providerId="ADAL" clId="{36D14C0E-B70E-4281-9AD2-7129A7F7BB3E}" dt="2021-12-10T07:44:29.781" v="1329" actId="9405"/>
          <ac:inkMkLst>
            <pc:docMk/>
            <pc:sldMk cId="3826155260" sldId="268"/>
            <ac:inkMk id="30" creationId="{A2931805-2D0E-44B0-82DA-B32E71E776B5}"/>
          </ac:inkMkLst>
        </pc:inkChg>
        <pc:inkChg chg="add">
          <ac:chgData name="Aniket Chhabra" userId="598e0514-bef3-4e71-b6aa-f2edd6441cff" providerId="ADAL" clId="{36D14C0E-B70E-4281-9AD2-7129A7F7BB3E}" dt="2021-12-10T07:44:30.844" v="1330" actId="9405"/>
          <ac:inkMkLst>
            <pc:docMk/>
            <pc:sldMk cId="3826155260" sldId="268"/>
            <ac:inkMk id="31" creationId="{074FE001-9D7E-49D3-9FAE-1A0AC3E10232}"/>
          </ac:inkMkLst>
        </pc:inkChg>
        <pc:inkChg chg="add mod">
          <ac:chgData name="Aniket Chhabra" userId="598e0514-bef3-4e71-b6aa-f2edd6441cff" providerId="ADAL" clId="{36D14C0E-B70E-4281-9AD2-7129A7F7BB3E}" dt="2021-12-10T07:44:57.815" v="1363"/>
          <ac:inkMkLst>
            <pc:docMk/>
            <pc:sldMk cId="3826155260" sldId="268"/>
            <ac:inkMk id="32" creationId="{2926760B-58A6-42DF-B6D5-8957FF3CEC4D}"/>
          </ac:inkMkLst>
        </pc:inkChg>
        <pc:inkChg chg="add mod">
          <ac:chgData name="Aniket Chhabra" userId="598e0514-bef3-4e71-b6aa-f2edd6441cff" providerId="ADAL" clId="{36D14C0E-B70E-4281-9AD2-7129A7F7BB3E}" dt="2021-12-10T07:44:57.815" v="1363"/>
          <ac:inkMkLst>
            <pc:docMk/>
            <pc:sldMk cId="3826155260" sldId="268"/>
            <ac:inkMk id="33" creationId="{266D01FB-F4FD-4FA0-94C8-1C9A99998D03}"/>
          </ac:inkMkLst>
        </pc:inkChg>
        <pc:inkChg chg="add mod">
          <ac:chgData name="Aniket Chhabra" userId="598e0514-bef3-4e71-b6aa-f2edd6441cff" providerId="ADAL" clId="{36D14C0E-B70E-4281-9AD2-7129A7F7BB3E}" dt="2021-12-10T07:44:57.815" v="1363"/>
          <ac:inkMkLst>
            <pc:docMk/>
            <pc:sldMk cId="3826155260" sldId="268"/>
            <ac:inkMk id="34" creationId="{89CF8825-9334-492D-9FB3-6124F594B331}"/>
          </ac:inkMkLst>
        </pc:inkChg>
        <pc:inkChg chg="add mod">
          <ac:chgData name="Aniket Chhabra" userId="598e0514-bef3-4e71-b6aa-f2edd6441cff" providerId="ADAL" clId="{36D14C0E-B70E-4281-9AD2-7129A7F7BB3E}" dt="2021-12-10T07:44:57.815" v="1363"/>
          <ac:inkMkLst>
            <pc:docMk/>
            <pc:sldMk cId="3826155260" sldId="268"/>
            <ac:inkMk id="36" creationId="{16954DD5-F498-4CEC-A540-9B8F5B851C49}"/>
          </ac:inkMkLst>
        </pc:inkChg>
        <pc:inkChg chg="add mod">
          <ac:chgData name="Aniket Chhabra" userId="598e0514-bef3-4e71-b6aa-f2edd6441cff" providerId="ADAL" clId="{36D14C0E-B70E-4281-9AD2-7129A7F7BB3E}" dt="2021-12-10T07:44:57.815" v="1363"/>
          <ac:inkMkLst>
            <pc:docMk/>
            <pc:sldMk cId="3826155260" sldId="268"/>
            <ac:inkMk id="37" creationId="{2B1C0575-3FF5-4E96-AC08-F265DE3E9CEA}"/>
          </ac:inkMkLst>
        </pc:inkChg>
        <pc:inkChg chg="add mod">
          <ac:chgData name="Aniket Chhabra" userId="598e0514-bef3-4e71-b6aa-f2edd6441cff" providerId="ADAL" clId="{36D14C0E-B70E-4281-9AD2-7129A7F7BB3E}" dt="2021-12-10T07:44:57.815" v="1363"/>
          <ac:inkMkLst>
            <pc:docMk/>
            <pc:sldMk cId="3826155260" sldId="268"/>
            <ac:inkMk id="38" creationId="{7E62555C-37BB-42F0-B38A-278E63065577}"/>
          </ac:inkMkLst>
        </pc:inkChg>
        <pc:inkChg chg="add mod">
          <ac:chgData name="Aniket Chhabra" userId="598e0514-bef3-4e71-b6aa-f2edd6441cff" providerId="ADAL" clId="{36D14C0E-B70E-4281-9AD2-7129A7F7BB3E}" dt="2021-12-10T07:44:57.815" v="1363"/>
          <ac:inkMkLst>
            <pc:docMk/>
            <pc:sldMk cId="3826155260" sldId="268"/>
            <ac:inkMk id="39" creationId="{757CE9EC-2F0C-4174-8449-84BEDFCFB49C}"/>
          </ac:inkMkLst>
        </pc:inkChg>
        <pc:inkChg chg="add mod">
          <ac:chgData name="Aniket Chhabra" userId="598e0514-bef3-4e71-b6aa-f2edd6441cff" providerId="ADAL" clId="{36D14C0E-B70E-4281-9AD2-7129A7F7BB3E}" dt="2021-12-10T07:44:57.815" v="1363"/>
          <ac:inkMkLst>
            <pc:docMk/>
            <pc:sldMk cId="3826155260" sldId="268"/>
            <ac:inkMk id="40" creationId="{CB8F51E5-B438-4377-8557-9F64689AA034}"/>
          </ac:inkMkLst>
        </pc:inkChg>
        <pc:inkChg chg="add mod">
          <ac:chgData name="Aniket Chhabra" userId="598e0514-bef3-4e71-b6aa-f2edd6441cff" providerId="ADAL" clId="{36D14C0E-B70E-4281-9AD2-7129A7F7BB3E}" dt="2021-12-10T07:44:57.815" v="1363"/>
          <ac:inkMkLst>
            <pc:docMk/>
            <pc:sldMk cId="3826155260" sldId="268"/>
            <ac:inkMk id="41" creationId="{C1F67F55-0AF3-4435-A9AA-8FCA0FB21363}"/>
          </ac:inkMkLst>
        </pc:inkChg>
        <pc:inkChg chg="add mod">
          <ac:chgData name="Aniket Chhabra" userId="598e0514-bef3-4e71-b6aa-f2edd6441cff" providerId="ADAL" clId="{36D14C0E-B70E-4281-9AD2-7129A7F7BB3E}" dt="2021-12-10T07:44:57.815" v="1363"/>
          <ac:inkMkLst>
            <pc:docMk/>
            <pc:sldMk cId="3826155260" sldId="268"/>
            <ac:inkMk id="42" creationId="{874DE9EF-C6CC-4A8A-80B2-8833E99A1B49}"/>
          </ac:inkMkLst>
        </pc:inkChg>
        <pc:inkChg chg="add mod">
          <ac:chgData name="Aniket Chhabra" userId="598e0514-bef3-4e71-b6aa-f2edd6441cff" providerId="ADAL" clId="{36D14C0E-B70E-4281-9AD2-7129A7F7BB3E}" dt="2021-12-10T07:44:57.815" v="1363"/>
          <ac:inkMkLst>
            <pc:docMk/>
            <pc:sldMk cId="3826155260" sldId="268"/>
            <ac:inkMk id="43" creationId="{F8ECD33F-5759-4F18-BF45-C2A07050F45D}"/>
          </ac:inkMkLst>
        </pc:inkChg>
        <pc:inkChg chg="add mod">
          <ac:chgData name="Aniket Chhabra" userId="598e0514-bef3-4e71-b6aa-f2edd6441cff" providerId="ADAL" clId="{36D14C0E-B70E-4281-9AD2-7129A7F7BB3E}" dt="2021-12-10T07:44:57.815" v="1363"/>
          <ac:inkMkLst>
            <pc:docMk/>
            <pc:sldMk cId="3826155260" sldId="268"/>
            <ac:inkMk id="44" creationId="{701287FC-0FDF-45DE-B57B-2BD0B308531E}"/>
          </ac:inkMkLst>
        </pc:inkChg>
        <pc:inkChg chg="add mod">
          <ac:chgData name="Aniket Chhabra" userId="598e0514-bef3-4e71-b6aa-f2edd6441cff" providerId="ADAL" clId="{36D14C0E-B70E-4281-9AD2-7129A7F7BB3E}" dt="2021-12-10T07:44:57.815" v="1363"/>
          <ac:inkMkLst>
            <pc:docMk/>
            <pc:sldMk cId="3826155260" sldId="268"/>
            <ac:inkMk id="45" creationId="{19719376-3695-4E4C-B172-38B3F453ECA5}"/>
          </ac:inkMkLst>
        </pc:inkChg>
        <pc:inkChg chg="add mod">
          <ac:chgData name="Aniket Chhabra" userId="598e0514-bef3-4e71-b6aa-f2edd6441cff" providerId="ADAL" clId="{36D14C0E-B70E-4281-9AD2-7129A7F7BB3E}" dt="2021-12-10T07:44:57.815" v="1363"/>
          <ac:inkMkLst>
            <pc:docMk/>
            <pc:sldMk cId="3826155260" sldId="268"/>
            <ac:inkMk id="46" creationId="{E5D49FBA-45FC-4932-8651-5ECE14502909}"/>
          </ac:inkMkLst>
        </pc:inkChg>
        <pc:inkChg chg="add mod">
          <ac:chgData name="Aniket Chhabra" userId="598e0514-bef3-4e71-b6aa-f2edd6441cff" providerId="ADAL" clId="{36D14C0E-B70E-4281-9AD2-7129A7F7BB3E}" dt="2021-12-10T07:44:57.815" v="1363"/>
          <ac:inkMkLst>
            <pc:docMk/>
            <pc:sldMk cId="3826155260" sldId="268"/>
            <ac:inkMk id="48" creationId="{2DC5A390-85ED-4B0E-9604-060B8A767FD2}"/>
          </ac:inkMkLst>
        </pc:inkChg>
        <pc:inkChg chg="add mod">
          <ac:chgData name="Aniket Chhabra" userId="598e0514-bef3-4e71-b6aa-f2edd6441cff" providerId="ADAL" clId="{36D14C0E-B70E-4281-9AD2-7129A7F7BB3E}" dt="2021-12-10T07:44:57.815" v="1363"/>
          <ac:inkMkLst>
            <pc:docMk/>
            <pc:sldMk cId="3826155260" sldId="268"/>
            <ac:inkMk id="49" creationId="{35DD9F58-A832-40F1-8AB8-91325E176231}"/>
          </ac:inkMkLst>
        </pc:inkChg>
        <pc:inkChg chg="add mod">
          <ac:chgData name="Aniket Chhabra" userId="598e0514-bef3-4e71-b6aa-f2edd6441cff" providerId="ADAL" clId="{36D14C0E-B70E-4281-9AD2-7129A7F7BB3E}" dt="2021-12-10T07:44:57.815" v="1363"/>
          <ac:inkMkLst>
            <pc:docMk/>
            <pc:sldMk cId="3826155260" sldId="268"/>
            <ac:inkMk id="50" creationId="{E666B37D-6C58-43A5-A2A8-29CC4C441F8A}"/>
          </ac:inkMkLst>
        </pc:inkChg>
        <pc:inkChg chg="add mod">
          <ac:chgData name="Aniket Chhabra" userId="598e0514-bef3-4e71-b6aa-f2edd6441cff" providerId="ADAL" clId="{36D14C0E-B70E-4281-9AD2-7129A7F7BB3E}" dt="2021-12-10T07:44:57.815" v="1363"/>
          <ac:inkMkLst>
            <pc:docMk/>
            <pc:sldMk cId="3826155260" sldId="268"/>
            <ac:inkMk id="51" creationId="{1D31CC9F-5FE1-4547-BF19-760E45187161}"/>
          </ac:inkMkLst>
        </pc:inkChg>
        <pc:inkChg chg="add mod">
          <ac:chgData name="Aniket Chhabra" userId="598e0514-bef3-4e71-b6aa-f2edd6441cff" providerId="ADAL" clId="{36D14C0E-B70E-4281-9AD2-7129A7F7BB3E}" dt="2021-12-10T07:44:57.815" v="1363"/>
          <ac:inkMkLst>
            <pc:docMk/>
            <pc:sldMk cId="3826155260" sldId="268"/>
            <ac:inkMk id="52" creationId="{E9E815B2-77BE-49EC-B6B3-B847692A6ADE}"/>
          </ac:inkMkLst>
        </pc:inkChg>
        <pc:inkChg chg="add del">
          <ac:chgData name="Aniket Chhabra" userId="598e0514-bef3-4e71-b6aa-f2edd6441cff" providerId="ADAL" clId="{36D14C0E-B70E-4281-9AD2-7129A7F7BB3E}" dt="2021-12-10T07:44:51.210" v="1353"/>
          <ac:inkMkLst>
            <pc:docMk/>
            <pc:sldMk cId="3826155260" sldId="268"/>
            <ac:inkMk id="53" creationId="{3705C4E7-E55F-4D99-A300-C85469A793C4}"/>
          </ac:inkMkLst>
        </pc:inkChg>
        <pc:inkChg chg="add del mod">
          <ac:chgData name="Aniket Chhabra" userId="598e0514-bef3-4e71-b6aa-f2edd6441cff" providerId="ADAL" clId="{36D14C0E-B70E-4281-9AD2-7129A7F7BB3E}" dt="2021-12-10T07:44:55.117" v="1358"/>
          <ac:inkMkLst>
            <pc:docMk/>
            <pc:sldMk cId="3826155260" sldId="268"/>
            <ac:inkMk id="54" creationId="{ACD778C4-6B73-453F-A852-AB6A0B6D6573}"/>
          </ac:inkMkLst>
        </pc:inkChg>
        <pc:inkChg chg="add del mod">
          <ac:chgData name="Aniket Chhabra" userId="598e0514-bef3-4e71-b6aa-f2edd6441cff" providerId="ADAL" clId="{36D14C0E-B70E-4281-9AD2-7129A7F7BB3E}" dt="2021-12-10T07:44:55.115" v="1357"/>
          <ac:inkMkLst>
            <pc:docMk/>
            <pc:sldMk cId="3826155260" sldId="268"/>
            <ac:inkMk id="55" creationId="{92032F2B-D7B8-4FEF-AE52-672DF8AEE55E}"/>
          </ac:inkMkLst>
        </pc:inkChg>
        <pc:inkChg chg="add mod">
          <ac:chgData name="Aniket Chhabra" userId="598e0514-bef3-4e71-b6aa-f2edd6441cff" providerId="ADAL" clId="{36D14C0E-B70E-4281-9AD2-7129A7F7BB3E}" dt="2021-12-10T07:44:57.815" v="1363"/>
          <ac:inkMkLst>
            <pc:docMk/>
            <pc:sldMk cId="3826155260" sldId="268"/>
            <ac:inkMk id="57" creationId="{558AA1E7-F6C9-4116-8E57-A5B4541DB801}"/>
          </ac:inkMkLst>
        </pc:inkChg>
        <pc:inkChg chg="add mod">
          <ac:chgData name="Aniket Chhabra" userId="598e0514-bef3-4e71-b6aa-f2edd6441cff" providerId="ADAL" clId="{36D14C0E-B70E-4281-9AD2-7129A7F7BB3E}" dt="2021-12-10T07:44:57.815" v="1363"/>
          <ac:inkMkLst>
            <pc:docMk/>
            <pc:sldMk cId="3826155260" sldId="268"/>
            <ac:inkMk id="58" creationId="{4E94AF9A-17B0-4962-A39F-AA916F4C5EB1}"/>
          </ac:inkMkLst>
        </pc:inkChg>
        <pc:inkChg chg="add mod">
          <ac:chgData name="Aniket Chhabra" userId="598e0514-bef3-4e71-b6aa-f2edd6441cff" providerId="ADAL" clId="{36D14C0E-B70E-4281-9AD2-7129A7F7BB3E}" dt="2021-12-10T07:44:57.815" v="1363"/>
          <ac:inkMkLst>
            <pc:docMk/>
            <pc:sldMk cId="3826155260" sldId="268"/>
            <ac:inkMk id="59" creationId="{32BBA8C5-37B4-4843-B981-437516EDAB87}"/>
          </ac:inkMkLst>
        </pc:inkChg>
        <pc:inkChg chg="add mod">
          <ac:chgData name="Aniket Chhabra" userId="598e0514-bef3-4e71-b6aa-f2edd6441cff" providerId="ADAL" clId="{36D14C0E-B70E-4281-9AD2-7129A7F7BB3E}" dt="2021-12-10T07:44:57.815" v="1363"/>
          <ac:inkMkLst>
            <pc:docMk/>
            <pc:sldMk cId="3826155260" sldId="268"/>
            <ac:inkMk id="60" creationId="{92995D1A-223E-4601-8D4F-EAEF7CED35D7}"/>
          </ac:inkMkLst>
        </pc:inkChg>
        <pc:inkChg chg="add mod">
          <ac:chgData name="Aniket Chhabra" userId="598e0514-bef3-4e71-b6aa-f2edd6441cff" providerId="ADAL" clId="{36D14C0E-B70E-4281-9AD2-7129A7F7BB3E}" dt="2021-12-10T07:45:02.251" v="1372"/>
          <ac:inkMkLst>
            <pc:docMk/>
            <pc:sldMk cId="3826155260" sldId="268"/>
            <ac:inkMk id="62" creationId="{8982F860-1885-49C3-8720-62B92B3D9744}"/>
          </ac:inkMkLst>
        </pc:inkChg>
        <pc:inkChg chg="add mod">
          <ac:chgData name="Aniket Chhabra" userId="598e0514-bef3-4e71-b6aa-f2edd6441cff" providerId="ADAL" clId="{36D14C0E-B70E-4281-9AD2-7129A7F7BB3E}" dt="2021-12-10T07:45:02.251" v="1372"/>
          <ac:inkMkLst>
            <pc:docMk/>
            <pc:sldMk cId="3826155260" sldId="268"/>
            <ac:inkMk id="63" creationId="{5357B748-75DB-4E8E-A7B1-B9CE2986F670}"/>
          </ac:inkMkLst>
        </pc:inkChg>
        <pc:inkChg chg="add mod">
          <ac:chgData name="Aniket Chhabra" userId="598e0514-bef3-4e71-b6aa-f2edd6441cff" providerId="ADAL" clId="{36D14C0E-B70E-4281-9AD2-7129A7F7BB3E}" dt="2021-12-10T07:45:02.251" v="1372"/>
          <ac:inkMkLst>
            <pc:docMk/>
            <pc:sldMk cId="3826155260" sldId="268"/>
            <ac:inkMk id="64" creationId="{8250E74D-754E-4C58-B6F6-216F6417395A}"/>
          </ac:inkMkLst>
        </pc:inkChg>
        <pc:inkChg chg="add mod">
          <ac:chgData name="Aniket Chhabra" userId="598e0514-bef3-4e71-b6aa-f2edd6441cff" providerId="ADAL" clId="{36D14C0E-B70E-4281-9AD2-7129A7F7BB3E}" dt="2021-12-10T07:45:02.251" v="1372"/>
          <ac:inkMkLst>
            <pc:docMk/>
            <pc:sldMk cId="3826155260" sldId="268"/>
            <ac:inkMk id="65" creationId="{4E008728-11C7-497E-981A-5D5941903A72}"/>
          </ac:inkMkLst>
        </pc:inkChg>
        <pc:inkChg chg="add mod">
          <ac:chgData name="Aniket Chhabra" userId="598e0514-bef3-4e71-b6aa-f2edd6441cff" providerId="ADAL" clId="{36D14C0E-B70E-4281-9AD2-7129A7F7BB3E}" dt="2021-12-10T07:45:02.251" v="1372"/>
          <ac:inkMkLst>
            <pc:docMk/>
            <pc:sldMk cId="3826155260" sldId="268"/>
            <ac:inkMk id="66" creationId="{50474D17-9D59-4AD5-9CB9-F85B0DFA6B4B}"/>
          </ac:inkMkLst>
        </pc:inkChg>
        <pc:inkChg chg="add mod">
          <ac:chgData name="Aniket Chhabra" userId="598e0514-bef3-4e71-b6aa-f2edd6441cff" providerId="ADAL" clId="{36D14C0E-B70E-4281-9AD2-7129A7F7BB3E}" dt="2021-12-10T07:45:02.251" v="1372"/>
          <ac:inkMkLst>
            <pc:docMk/>
            <pc:sldMk cId="3826155260" sldId="268"/>
            <ac:inkMk id="67" creationId="{A18F181F-66AC-454E-AE02-862C0914C72B}"/>
          </ac:inkMkLst>
        </pc:inkChg>
        <pc:inkChg chg="add mod">
          <ac:chgData name="Aniket Chhabra" userId="598e0514-bef3-4e71-b6aa-f2edd6441cff" providerId="ADAL" clId="{36D14C0E-B70E-4281-9AD2-7129A7F7BB3E}" dt="2021-12-10T07:45:02.251" v="1372"/>
          <ac:inkMkLst>
            <pc:docMk/>
            <pc:sldMk cId="3826155260" sldId="268"/>
            <ac:inkMk id="68" creationId="{E2D42E6D-CD26-4C2A-9B99-6BF7EAC1C7D9}"/>
          </ac:inkMkLst>
        </pc:inkChg>
        <pc:inkChg chg="add mod">
          <ac:chgData name="Aniket Chhabra" userId="598e0514-bef3-4e71-b6aa-f2edd6441cff" providerId="ADAL" clId="{36D14C0E-B70E-4281-9AD2-7129A7F7BB3E}" dt="2021-12-10T07:45:02.251" v="1372"/>
          <ac:inkMkLst>
            <pc:docMk/>
            <pc:sldMk cId="3826155260" sldId="268"/>
            <ac:inkMk id="69" creationId="{FDD45BDB-01DC-4C68-BED8-F9676026A948}"/>
          </ac:inkMkLst>
        </pc:inkChg>
      </pc:sldChg>
      <pc:sldChg chg="addSp delSp modSp new add mod">
        <pc:chgData name="Aniket Chhabra" userId="598e0514-bef3-4e71-b6aa-f2edd6441cff" providerId="ADAL" clId="{36D14C0E-B70E-4281-9AD2-7129A7F7BB3E}" dt="2021-12-11T13:45:06.906" v="1783"/>
        <pc:sldMkLst>
          <pc:docMk/>
          <pc:sldMk cId="2189393965" sldId="269"/>
        </pc:sldMkLst>
        <pc:spChg chg="del">
          <ac:chgData name="Aniket Chhabra" userId="598e0514-bef3-4e71-b6aa-f2edd6441cff" providerId="ADAL" clId="{36D14C0E-B70E-4281-9AD2-7129A7F7BB3E}" dt="2021-12-10T07:45:20.909" v="1373" actId="478"/>
          <ac:spMkLst>
            <pc:docMk/>
            <pc:sldMk cId="2189393965" sldId="269"/>
            <ac:spMk id="2" creationId="{95CCAEA9-72D9-4913-94AB-E95D5F388C26}"/>
          </ac:spMkLst>
        </pc:spChg>
        <pc:spChg chg="del">
          <ac:chgData name="Aniket Chhabra" userId="598e0514-bef3-4e71-b6aa-f2edd6441cff" providerId="ADAL" clId="{36D14C0E-B70E-4281-9AD2-7129A7F7BB3E}" dt="2021-12-10T07:45:20.909" v="1373" actId="478"/>
          <ac:spMkLst>
            <pc:docMk/>
            <pc:sldMk cId="2189393965" sldId="269"/>
            <ac:spMk id="3" creationId="{8FD1B4D7-8EEF-4E9F-B15C-B73A6921A309}"/>
          </ac:spMkLst>
        </pc:spChg>
        <pc:grpChg chg="mod">
          <ac:chgData name="Aniket Chhabra" userId="598e0514-bef3-4e71-b6aa-f2edd6441cff" providerId="ADAL" clId="{36D14C0E-B70E-4281-9AD2-7129A7F7BB3E}" dt="2021-12-10T07:45:35.450" v="1399"/>
          <ac:grpSpMkLst>
            <pc:docMk/>
            <pc:sldMk cId="2189393965" sldId="269"/>
            <ac:grpSpMk id="13" creationId="{BB203D9D-92DD-4174-835F-ABE6EA6C5CD0}"/>
          </ac:grpSpMkLst>
        </pc:grpChg>
        <pc:grpChg chg="mod">
          <ac:chgData name="Aniket Chhabra" userId="598e0514-bef3-4e71-b6aa-f2edd6441cff" providerId="ADAL" clId="{36D14C0E-B70E-4281-9AD2-7129A7F7BB3E}" dt="2021-12-10T07:46:16.468" v="1405"/>
          <ac:grpSpMkLst>
            <pc:docMk/>
            <pc:sldMk cId="2189393965" sldId="269"/>
            <ac:grpSpMk id="19" creationId="{8E93E9C6-2F8D-48DF-8EF2-7F2500003C62}"/>
          </ac:grpSpMkLst>
        </pc:grpChg>
        <pc:graphicFrameChg chg="add mod ord modVis">
          <ac:chgData name="Aniket Chhabra" userId="598e0514-bef3-4e71-b6aa-f2edd6441cff" providerId="ADAL" clId="{36D14C0E-B70E-4281-9AD2-7129A7F7BB3E}" dt="2021-12-10T07:45:21.528" v="1390"/>
          <ac:graphicFrameMkLst>
            <pc:docMk/>
            <pc:sldMk cId="2189393965" sldId="269"/>
            <ac:graphicFrameMk id="6" creationId="{31C57F28-0AE5-48B7-A83E-A3D246FDB1AB}"/>
          </ac:graphicFrameMkLst>
        </pc:graphicFrameChg>
        <pc:picChg chg="add">
          <ac:chgData name="Aniket Chhabra" userId="598e0514-bef3-4e71-b6aa-f2edd6441cff" providerId="ADAL" clId="{36D14C0E-B70E-4281-9AD2-7129A7F7BB3E}" dt="2021-12-10T07:45:21.454" v="1375"/>
          <ac:picMkLst>
            <pc:docMk/>
            <pc:sldMk cId="2189393965" sldId="269"/>
            <ac:picMk id="5" creationId="{32AEDD5D-8E60-4007-B0DC-7B48CAF72E77}"/>
          </ac:picMkLst>
        </pc:picChg>
        <pc:picChg chg="add">
          <ac:chgData name="Aniket Chhabra" userId="598e0514-bef3-4e71-b6aa-f2edd6441cff" providerId="ADAL" clId="{36D14C0E-B70E-4281-9AD2-7129A7F7BB3E}" dt="2021-12-10T07:46:09.304" v="1401"/>
          <ac:picMkLst>
            <pc:docMk/>
            <pc:sldMk cId="2189393965" sldId="269"/>
            <ac:picMk id="15" creationId="{D6278DEE-85EA-49E0-B451-735A1FC51D86}"/>
          </ac:picMkLst>
        </pc:picChg>
        <pc:inkChg chg="add">
          <ac:chgData name="Aniket Chhabra" userId="598e0514-bef3-4e71-b6aa-f2edd6441cff" providerId="ADAL" clId="{36D14C0E-B70E-4281-9AD2-7129A7F7BB3E}" dt="2021-12-11T13:45:06.906" v="1783"/>
          <ac:inkMkLst>
            <pc:docMk/>
            <pc:sldMk cId="2189393965" sldId="269"/>
            <ac:inkMk id="2" creationId="{4915B81E-C812-4530-8781-4C1680DB6D9F}"/>
          </ac:inkMkLst>
        </pc:inkChg>
        <pc:inkChg chg="add del">
          <ac:chgData name="Aniket Chhabra" userId="598e0514-bef3-4e71-b6aa-f2edd6441cff" providerId="ADAL" clId="{36D14C0E-B70E-4281-9AD2-7129A7F7BB3E}" dt="2021-12-10T07:45:32.659" v="1395"/>
          <ac:inkMkLst>
            <pc:docMk/>
            <pc:sldMk cId="2189393965" sldId="269"/>
            <ac:inkMk id="7" creationId="{2066CDD9-17F3-4459-BFE3-74429DCDE92F}"/>
          </ac:inkMkLst>
        </pc:inkChg>
        <pc:inkChg chg="add del">
          <ac:chgData name="Aniket Chhabra" userId="598e0514-bef3-4e71-b6aa-f2edd6441cff" providerId="ADAL" clId="{36D14C0E-B70E-4281-9AD2-7129A7F7BB3E}" dt="2021-12-10T07:45:32.658" v="1394"/>
          <ac:inkMkLst>
            <pc:docMk/>
            <pc:sldMk cId="2189393965" sldId="269"/>
            <ac:inkMk id="8" creationId="{631D5BD4-3D99-4B83-8D77-037D179211B9}"/>
          </ac:inkMkLst>
        </pc:inkChg>
        <pc:inkChg chg="add mod">
          <ac:chgData name="Aniket Chhabra" userId="598e0514-bef3-4e71-b6aa-f2edd6441cff" providerId="ADAL" clId="{36D14C0E-B70E-4281-9AD2-7129A7F7BB3E}" dt="2021-12-10T07:45:35.450" v="1399"/>
          <ac:inkMkLst>
            <pc:docMk/>
            <pc:sldMk cId="2189393965" sldId="269"/>
            <ac:inkMk id="9" creationId="{8C12EA8A-C627-4FE1-A721-0118583C2DF4}"/>
          </ac:inkMkLst>
        </pc:inkChg>
        <pc:inkChg chg="add mod">
          <ac:chgData name="Aniket Chhabra" userId="598e0514-bef3-4e71-b6aa-f2edd6441cff" providerId="ADAL" clId="{36D14C0E-B70E-4281-9AD2-7129A7F7BB3E}" dt="2021-12-10T07:45:35.450" v="1399"/>
          <ac:inkMkLst>
            <pc:docMk/>
            <pc:sldMk cId="2189393965" sldId="269"/>
            <ac:inkMk id="10" creationId="{2F2C5509-28F2-4164-8618-6DB9ADBAF9D9}"/>
          </ac:inkMkLst>
        </pc:inkChg>
        <pc:inkChg chg="add mod">
          <ac:chgData name="Aniket Chhabra" userId="598e0514-bef3-4e71-b6aa-f2edd6441cff" providerId="ADAL" clId="{36D14C0E-B70E-4281-9AD2-7129A7F7BB3E}" dt="2021-12-10T07:45:35.450" v="1399"/>
          <ac:inkMkLst>
            <pc:docMk/>
            <pc:sldMk cId="2189393965" sldId="269"/>
            <ac:inkMk id="11" creationId="{1F9AC786-3A14-411B-B80A-2CA6A73E6BC0}"/>
          </ac:inkMkLst>
        </pc:inkChg>
        <pc:inkChg chg="add mod">
          <ac:chgData name="Aniket Chhabra" userId="598e0514-bef3-4e71-b6aa-f2edd6441cff" providerId="ADAL" clId="{36D14C0E-B70E-4281-9AD2-7129A7F7BB3E}" dt="2021-12-10T07:45:35.450" v="1399"/>
          <ac:inkMkLst>
            <pc:docMk/>
            <pc:sldMk cId="2189393965" sldId="269"/>
            <ac:inkMk id="12" creationId="{8A23FC29-5EF9-41CF-B0BF-AA6FDB072AD6}"/>
          </ac:inkMkLst>
        </pc:inkChg>
        <pc:inkChg chg="add">
          <ac:chgData name="Aniket Chhabra" userId="598e0514-bef3-4e71-b6aa-f2edd6441cff" providerId="ADAL" clId="{36D14C0E-B70E-4281-9AD2-7129A7F7BB3E}" dt="2021-12-10T07:46:14.504" v="1402" actId="9405"/>
          <ac:inkMkLst>
            <pc:docMk/>
            <pc:sldMk cId="2189393965" sldId="269"/>
            <ac:inkMk id="16" creationId="{682816F0-CDAC-4737-960A-07F3F7051AF5}"/>
          </ac:inkMkLst>
        </pc:inkChg>
        <pc:inkChg chg="add mod">
          <ac:chgData name="Aniket Chhabra" userId="598e0514-bef3-4e71-b6aa-f2edd6441cff" providerId="ADAL" clId="{36D14C0E-B70E-4281-9AD2-7129A7F7BB3E}" dt="2021-12-10T07:46:16.468" v="1405"/>
          <ac:inkMkLst>
            <pc:docMk/>
            <pc:sldMk cId="2189393965" sldId="269"/>
            <ac:inkMk id="17" creationId="{6B75AE76-699F-488D-ABE9-D66623F79DAD}"/>
          </ac:inkMkLst>
        </pc:inkChg>
        <pc:inkChg chg="add mod">
          <ac:chgData name="Aniket Chhabra" userId="598e0514-bef3-4e71-b6aa-f2edd6441cff" providerId="ADAL" clId="{36D14C0E-B70E-4281-9AD2-7129A7F7BB3E}" dt="2021-12-10T07:46:16.468" v="1405"/>
          <ac:inkMkLst>
            <pc:docMk/>
            <pc:sldMk cId="2189393965" sldId="269"/>
            <ac:inkMk id="18" creationId="{0E53D160-E27D-4FF9-BCE3-DE2B716039C6}"/>
          </ac:inkMkLst>
        </pc:inkChg>
      </pc:sldChg>
      <pc:sldChg chg="addSp delSp modSp new add mod">
        <pc:chgData name="Aniket Chhabra" userId="598e0514-bef3-4e71-b6aa-f2edd6441cff" providerId="ADAL" clId="{36D14C0E-B70E-4281-9AD2-7129A7F7BB3E}" dt="2021-12-11T13:45:06.906" v="1783"/>
        <pc:sldMkLst>
          <pc:docMk/>
          <pc:sldMk cId="121707717" sldId="270"/>
        </pc:sldMkLst>
        <pc:spChg chg="del">
          <ac:chgData name="Aniket Chhabra" userId="598e0514-bef3-4e71-b6aa-f2edd6441cff" providerId="ADAL" clId="{36D14C0E-B70E-4281-9AD2-7129A7F7BB3E}" dt="2021-12-10T07:46:52.050" v="1414" actId="478"/>
          <ac:spMkLst>
            <pc:docMk/>
            <pc:sldMk cId="121707717" sldId="270"/>
            <ac:spMk id="2" creationId="{B8C955FD-87BE-48D7-88EF-92807004D51D}"/>
          </ac:spMkLst>
        </pc:spChg>
        <pc:spChg chg="del">
          <ac:chgData name="Aniket Chhabra" userId="598e0514-bef3-4e71-b6aa-f2edd6441cff" providerId="ADAL" clId="{36D14C0E-B70E-4281-9AD2-7129A7F7BB3E}" dt="2021-12-10T07:46:52.050" v="1414" actId="478"/>
          <ac:spMkLst>
            <pc:docMk/>
            <pc:sldMk cId="121707717" sldId="270"/>
            <ac:spMk id="3" creationId="{BE79F53E-36B7-48F4-BFBA-89A3AC79286D}"/>
          </ac:spMkLst>
        </pc:spChg>
        <pc:graphicFrameChg chg="add mod modVis">
          <ac:chgData name="Aniket Chhabra" userId="598e0514-bef3-4e71-b6aa-f2edd6441cff" providerId="ADAL" clId="{36D14C0E-B70E-4281-9AD2-7129A7F7BB3E}" dt="2021-12-10T07:46:52.597" v="1427"/>
          <ac:graphicFrameMkLst>
            <pc:docMk/>
            <pc:sldMk cId="121707717" sldId="270"/>
            <ac:graphicFrameMk id="4" creationId="{6E14B8AD-3827-4471-A1B9-C8E309F26063}"/>
          </ac:graphicFrameMkLst>
        </pc:graphicFrameChg>
        <pc:picChg chg="add mod">
          <ac:chgData name="Aniket Chhabra" userId="598e0514-bef3-4e71-b6aa-f2edd6441cff" providerId="ADAL" clId="{36D14C0E-B70E-4281-9AD2-7129A7F7BB3E}" dt="2021-12-10T07:48:14.167" v="1447" actId="1036"/>
          <ac:picMkLst>
            <pc:docMk/>
            <pc:sldMk cId="121707717" sldId="270"/>
            <ac:picMk id="6" creationId="{9C0DBF30-3F28-4D84-A4CD-751D44F2960D}"/>
          </ac:picMkLst>
        </pc:picChg>
        <pc:inkChg chg="add">
          <ac:chgData name="Aniket Chhabra" userId="598e0514-bef3-4e71-b6aa-f2edd6441cff" providerId="ADAL" clId="{36D14C0E-B70E-4281-9AD2-7129A7F7BB3E}" dt="2021-12-11T13:45:06.906" v="1783"/>
          <ac:inkMkLst>
            <pc:docMk/>
            <pc:sldMk cId="121707717" sldId="270"/>
            <ac:inkMk id="2" creationId="{80AE0E47-1F23-4911-BA59-ED143DA3E5D8}"/>
          </ac:inkMkLst>
        </pc:inkChg>
      </pc:sldChg>
      <pc:sldChg chg="addSp delSp modSp new add mod">
        <pc:chgData name="Aniket Chhabra" userId="598e0514-bef3-4e71-b6aa-f2edd6441cff" providerId="ADAL" clId="{36D14C0E-B70E-4281-9AD2-7129A7F7BB3E}" dt="2021-12-10T07:48:19.091" v="1450" actId="1036"/>
        <pc:sldMkLst>
          <pc:docMk/>
          <pc:sldMk cId="3309805333" sldId="271"/>
        </pc:sldMkLst>
        <pc:spChg chg="del">
          <ac:chgData name="Aniket Chhabra" userId="598e0514-bef3-4e71-b6aa-f2edd6441cff" providerId="ADAL" clId="{36D14C0E-B70E-4281-9AD2-7129A7F7BB3E}" dt="2021-12-10T07:46:55.812" v="1428" actId="478"/>
          <ac:spMkLst>
            <pc:docMk/>
            <pc:sldMk cId="3309805333" sldId="271"/>
            <ac:spMk id="2" creationId="{41EFB39B-AD20-4301-A81A-B2AF483E1349}"/>
          </ac:spMkLst>
        </pc:spChg>
        <pc:spChg chg="del">
          <ac:chgData name="Aniket Chhabra" userId="598e0514-bef3-4e71-b6aa-f2edd6441cff" providerId="ADAL" clId="{36D14C0E-B70E-4281-9AD2-7129A7F7BB3E}" dt="2021-12-10T07:46:55.812" v="1428" actId="478"/>
          <ac:spMkLst>
            <pc:docMk/>
            <pc:sldMk cId="3309805333" sldId="271"/>
            <ac:spMk id="3" creationId="{94B32E6B-16B3-4988-9520-9C27634DF58F}"/>
          </ac:spMkLst>
        </pc:spChg>
        <pc:graphicFrameChg chg="add mod modVis">
          <ac:chgData name="Aniket Chhabra" userId="598e0514-bef3-4e71-b6aa-f2edd6441cff" providerId="ADAL" clId="{36D14C0E-B70E-4281-9AD2-7129A7F7BB3E}" dt="2021-12-10T07:46:56.082" v="1441"/>
          <ac:graphicFrameMkLst>
            <pc:docMk/>
            <pc:sldMk cId="3309805333" sldId="271"/>
            <ac:graphicFrameMk id="4" creationId="{3EC169D5-5EDF-4196-A101-1E435FB38CE4}"/>
          </ac:graphicFrameMkLst>
        </pc:graphicFrameChg>
        <pc:picChg chg="add mod">
          <ac:chgData name="Aniket Chhabra" userId="598e0514-bef3-4e71-b6aa-f2edd6441cff" providerId="ADAL" clId="{36D14C0E-B70E-4281-9AD2-7129A7F7BB3E}" dt="2021-12-10T07:48:19.091" v="1450" actId="1036"/>
          <ac:picMkLst>
            <pc:docMk/>
            <pc:sldMk cId="3309805333" sldId="271"/>
            <ac:picMk id="6" creationId="{53F0B676-C605-4DA6-AB72-DE5D89754322}"/>
          </ac:picMkLst>
        </pc:picChg>
      </pc:sldChg>
      <pc:sldChg chg="add del">
        <pc:chgData name="Aniket Chhabra" userId="598e0514-bef3-4e71-b6aa-f2edd6441cff" providerId="ADAL" clId="{36D14C0E-B70E-4281-9AD2-7129A7F7BB3E}" dt="2021-12-10T08:11:03.697" v="1714" actId="2696"/>
        <pc:sldMkLst>
          <pc:docMk/>
          <pc:sldMk cId="176602897" sldId="272"/>
        </pc:sldMkLst>
      </pc:sldChg>
      <pc:sldChg chg="new add del">
        <pc:chgData name="Aniket Chhabra" userId="598e0514-bef3-4e71-b6aa-f2edd6441cff" providerId="ADAL" clId="{36D14C0E-B70E-4281-9AD2-7129A7F7BB3E}" dt="2021-12-10T07:46:57.507" v="1442" actId="47"/>
        <pc:sldMkLst>
          <pc:docMk/>
          <pc:sldMk cId="504302118" sldId="272"/>
        </pc:sldMkLst>
      </pc:sldChg>
      <pc:sldChg chg="new add del">
        <pc:chgData name="Aniket Chhabra" userId="598e0514-bef3-4e71-b6aa-f2edd6441cff" providerId="ADAL" clId="{36D14C0E-B70E-4281-9AD2-7129A7F7BB3E}" dt="2021-12-10T07:46:57.507" v="1442" actId="47"/>
        <pc:sldMkLst>
          <pc:docMk/>
          <pc:sldMk cId="413131140" sldId="273"/>
        </pc:sldMkLst>
      </pc:sldChg>
      <pc:sldChg chg="add del">
        <pc:chgData name="Aniket Chhabra" userId="598e0514-bef3-4e71-b6aa-f2edd6441cff" providerId="ADAL" clId="{36D14C0E-B70E-4281-9AD2-7129A7F7BB3E}" dt="2021-12-10T08:11:03.697" v="1714" actId="2696"/>
        <pc:sldMkLst>
          <pc:docMk/>
          <pc:sldMk cId="2433064096" sldId="273"/>
        </pc:sldMkLst>
      </pc:sldChg>
      <pc:sldChg chg="add del">
        <pc:chgData name="Aniket Chhabra" userId="598e0514-bef3-4e71-b6aa-f2edd6441cff" providerId="ADAL" clId="{36D14C0E-B70E-4281-9AD2-7129A7F7BB3E}" dt="2021-12-10T08:11:03.697" v="1714" actId="2696"/>
        <pc:sldMkLst>
          <pc:docMk/>
          <pc:sldMk cId="3660513275" sldId="274"/>
        </pc:sldMkLst>
      </pc:sldChg>
      <pc:sldChg chg="add del">
        <pc:chgData name="Aniket Chhabra" userId="598e0514-bef3-4e71-b6aa-f2edd6441cff" providerId="ADAL" clId="{36D14C0E-B70E-4281-9AD2-7129A7F7BB3E}" dt="2021-12-10T08:11:03.697" v="1714" actId="2696"/>
        <pc:sldMkLst>
          <pc:docMk/>
          <pc:sldMk cId="177058873" sldId="275"/>
        </pc:sldMkLst>
      </pc:sldChg>
      <pc:sldChg chg="add del">
        <pc:chgData name="Aniket Chhabra" userId="598e0514-bef3-4e71-b6aa-f2edd6441cff" providerId="ADAL" clId="{36D14C0E-B70E-4281-9AD2-7129A7F7BB3E}" dt="2021-12-10T08:11:03.697" v="1714" actId="2696"/>
        <pc:sldMkLst>
          <pc:docMk/>
          <pc:sldMk cId="1679543075" sldId="276"/>
        </pc:sldMkLst>
      </pc:sldChg>
      <pc:sldChg chg="add del">
        <pc:chgData name="Aniket Chhabra" userId="598e0514-bef3-4e71-b6aa-f2edd6441cff" providerId="ADAL" clId="{36D14C0E-B70E-4281-9AD2-7129A7F7BB3E}" dt="2021-12-10T08:11:03.697" v="1714" actId="2696"/>
        <pc:sldMkLst>
          <pc:docMk/>
          <pc:sldMk cId="1520749371" sldId="277"/>
        </pc:sldMkLst>
      </pc:sldChg>
      <pc:sldChg chg="add del">
        <pc:chgData name="Aniket Chhabra" userId="598e0514-bef3-4e71-b6aa-f2edd6441cff" providerId="ADAL" clId="{36D14C0E-B70E-4281-9AD2-7129A7F7BB3E}" dt="2021-12-10T08:11:03.697" v="1714" actId="2696"/>
        <pc:sldMkLst>
          <pc:docMk/>
          <pc:sldMk cId="207784886" sldId="278"/>
        </pc:sldMkLst>
      </pc:sldChg>
      <pc:sldChg chg="add del">
        <pc:chgData name="Aniket Chhabra" userId="598e0514-bef3-4e71-b6aa-f2edd6441cff" providerId="ADAL" clId="{36D14C0E-B70E-4281-9AD2-7129A7F7BB3E}" dt="2021-12-10T08:11:03.697" v="1714" actId="2696"/>
        <pc:sldMkLst>
          <pc:docMk/>
          <pc:sldMk cId="1907622204" sldId="279"/>
        </pc:sldMkLst>
      </pc:sldChg>
      <pc:sldChg chg="addSp delSp modSp add mod">
        <pc:chgData name="Aniket Chhabra" userId="598e0514-bef3-4e71-b6aa-f2edd6441cff" providerId="ADAL" clId="{36D14C0E-B70E-4281-9AD2-7129A7F7BB3E}" dt="2021-12-11T13:45:06.906" v="1783"/>
        <pc:sldMkLst>
          <pc:docMk/>
          <pc:sldMk cId="202447606" sldId="280"/>
        </pc:sldMkLst>
        <pc:grpChg chg="del mod">
          <ac:chgData name="Aniket Chhabra" userId="598e0514-bef3-4e71-b6aa-f2edd6441cff" providerId="ADAL" clId="{36D14C0E-B70E-4281-9AD2-7129A7F7BB3E}" dt="2021-12-10T07:56:55.775" v="1560"/>
          <ac:grpSpMkLst>
            <pc:docMk/>
            <pc:sldMk cId="202447606" sldId="280"/>
            <ac:grpSpMk id="16" creationId="{48BC1AFA-A411-4C6E-8098-979978A2A687}"/>
          </ac:grpSpMkLst>
        </pc:grpChg>
        <pc:grpChg chg="del mod">
          <ac:chgData name="Aniket Chhabra" userId="598e0514-bef3-4e71-b6aa-f2edd6441cff" providerId="ADAL" clId="{36D14C0E-B70E-4281-9AD2-7129A7F7BB3E}" dt="2021-12-10T07:57:01.206" v="1566"/>
          <ac:grpSpMkLst>
            <pc:docMk/>
            <pc:sldMk cId="202447606" sldId="280"/>
            <ac:grpSpMk id="24" creationId="{B210F343-0C45-44F4-BB5F-8F4A0FDDC08E}"/>
          </ac:grpSpMkLst>
        </pc:grpChg>
        <pc:grpChg chg="del mod">
          <ac:chgData name="Aniket Chhabra" userId="598e0514-bef3-4e71-b6aa-f2edd6441cff" providerId="ADAL" clId="{36D14C0E-B70E-4281-9AD2-7129A7F7BB3E}" dt="2021-12-10T07:57:01.206" v="1566"/>
          <ac:grpSpMkLst>
            <pc:docMk/>
            <pc:sldMk cId="202447606" sldId="280"/>
            <ac:grpSpMk id="25" creationId="{DC05D082-B7AA-4D2A-94F1-0D63EBDE074C}"/>
          </ac:grpSpMkLst>
        </pc:grpChg>
        <pc:grpChg chg="del mod">
          <ac:chgData name="Aniket Chhabra" userId="598e0514-bef3-4e71-b6aa-f2edd6441cff" providerId="ADAL" clId="{36D14C0E-B70E-4281-9AD2-7129A7F7BB3E}" dt="2021-12-10T07:57:02.171" v="1569"/>
          <ac:grpSpMkLst>
            <pc:docMk/>
            <pc:sldMk cId="202447606" sldId="280"/>
            <ac:grpSpMk id="31" creationId="{90CCC0FE-25D2-47F1-B5A6-51A5ACC166E2}"/>
          </ac:grpSpMkLst>
        </pc:grpChg>
        <pc:grpChg chg="del mod">
          <ac:chgData name="Aniket Chhabra" userId="598e0514-bef3-4e71-b6aa-f2edd6441cff" providerId="ADAL" clId="{36D14C0E-B70E-4281-9AD2-7129A7F7BB3E}" dt="2021-12-10T07:57:03.189" v="1571"/>
          <ac:grpSpMkLst>
            <pc:docMk/>
            <pc:sldMk cId="202447606" sldId="280"/>
            <ac:grpSpMk id="34" creationId="{08E955A1-DC13-499B-8188-468F75D87BD0}"/>
          </ac:grpSpMkLst>
        </pc:grpChg>
        <pc:grpChg chg="mod">
          <ac:chgData name="Aniket Chhabra" userId="598e0514-bef3-4e71-b6aa-f2edd6441cff" providerId="ADAL" clId="{36D14C0E-B70E-4281-9AD2-7129A7F7BB3E}" dt="2021-12-10T07:57:03.189" v="1571"/>
          <ac:grpSpMkLst>
            <pc:docMk/>
            <pc:sldMk cId="202447606" sldId="280"/>
            <ac:grpSpMk id="36" creationId="{8AEB1390-A293-4EE3-8163-20870F4EFC08}"/>
          </ac:grpSpMkLst>
        </pc:grpChg>
        <pc:picChg chg="add del">
          <ac:chgData name="Aniket Chhabra" userId="598e0514-bef3-4e71-b6aa-f2edd6441cff" providerId="ADAL" clId="{36D14C0E-B70E-4281-9AD2-7129A7F7BB3E}" dt="2021-12-10T07:55:54.381" v="1518" actId="478"/>
          <ac:picMkLst>
            <pc:docMk/>
            <pc:sldMk cId="202447606" sldId="280"/>
            <ac:picMk id="3" creationId="{D2D19F24-CA60-4CBC-B623-3DADEF0D2232}"/>
          </ac:picMkLst>
        </pc:picChg>
        <pc:picChg chg="del">
          <ac:chgData name="Aniket Chhabra" userId="598e0514-bef3-4e71-b6aa-f2edd6441cff" providerId="ADAL" clId="{36D14C0E-B70E-4281-9AD2-7129A7F7BB3E}" dt="2021-12-10T07:51:50.380" v="1456" actId="478"/>
          <ac:picMkLst>
            <pc:docMk/>
            <pc:sldMk cId="202447606" sldId="280"/>
            <ac:picMk id="6" creationId="{984D7144-7F42-4571-A185-1AB560D71433}"/>
          </ac:picMkLst>
        </pc:picChg>
        <pc:picChg chg="add del mod">
          <ac:chgData name="Aniket Chhabra" userId="598e0514-bef3-4e71-b6aa-f2edd6441cff" providerId="ADAL" clId="{36D14C0E-B70E-4281-9AD2-7129A7F7BB3E}" dt="2021-12-10T07:56:29.292" v="1537" actId="478"/>
          <ac:picMkLst>
            <pc:docMk/>
            <pc:sldMk cId="202447606" sldId="280"/>
            <ac:picMk id="7" creationId="{CF41B7D4-9C57-417E-B0FF-465A1500B904}"/>
          </ac:picMkLst>
        </pc:picChg>
        <pc:picChg chg="add mod">
          <ac:chgData name="Aniket Chhabra" userId="598e0514-bef3-4e71-b6aa-f2edd6441cff" providerId="ADAL" clId="{36D14C0E-B70E-4281-9AD2-7129A7F7BB3E}" dt="2021-12-10T07:56:34.127" v="1542" actId="1076"/>
          <ac:picMkLst>
            <pc:docMk/>
            <pc:sldMk cId="202447606" sldId="280"/>
            <ac:picMk id="9" creationId="{6C7479C1-B5A9-4130-A8F1-6B0356716A20}"/>
          </ac:picMkLst>
        </pc:picChg>
        <pc:inkChg chg="add">
          <ac:chgData name="Aniket Chhabra" userId="598e0514-bef3-4e71-b6aa-f2edd6441cff" providerId="ADAL" clId="{36D14C0E-B70E-4281-9AD2-7129A7F7BB3E}" dt="2021-12-11T13:45:06.906" v="1783"/>
          <ac:inkMkLst>
            <pc:docMk/>
            <pc:sldMk cId="202447606" sldId="280"/>
            <ac:inkMk id="2" creationId="{A69688E5-F8B0-4AE7-97B4-55E2409C3416}"/>
          </ac:inkMkLst>
        </pc:inkChg>
        <pc:inkChg chg="add mod">
          <ac:chgData name="Aniket Chhabra" userId="598e0514-bef3-4e71-b6aa-f2edd6441cff" providerId="ADAL" clId="{36D14C0E-B70E-4281-9AD2-7129A7F7BB3E}" dt="2021-12-10T07:57:03.189" v="1571"/>
          <ac:inkMkLst>
            <pc:docMk/>
            <pc:sldMk cId="202447606" sldId="280"/>
            <ac:inkMk id="10" creationId="{14C244FD-27E3-4AD0-BE60-20C30CCADC59}"/>
          </ac:inkMkLst>
        </pc:inkChg>
        <pc:inkChg chg="add mod">
          <ac:chgData name="Aniket Chhabra" userId="598e0514-bef3-4e71-b6aa-f2edd6441cff" providerId="ADAL" clId="{36D14C0E-B70E-4281-9AD2-7129A7F7BB3E}" dt="2021-12-10T07:57:03.189" v="1571"/>
          <ac:inkMkLst>
            <pc:docMk/>
            <pc:sldMk cId="202447606" sldId="280"/>
            <ac:inkMk id="11" creationId="{C7F8D26B-E885-4CA1-B18C-0378A2230B91}"/>
          </ac:inkMkLst>
        </pc:inkChg>
        <pc:inkChg chg="add mod">
          <ac:chgData name="Aniket Chhabra" userId="598e0514-bef3-4e71-b6aa-f2edd6441cff" providerId="ADAL" clId="{36D14C0E-B70E-4281-9AD2-7129A7F7BB3E}" dt="2021-12-10T07:57:03.189" v="1571"/>
          <ac:inkMkLst>
            <pc:docMk/>
            <pc:sldMk cId="202447606" sldId="280"/>
            <ac:inkMk id="12" creationId="{99CB0751-4593-43DF-A387-C8D84B875606}"/>
          </ac:inkMkLst>
        </pc:inkChg>
        <pc:inkChg chg="add mod">
          <ac:chgData name="Aniket Chhabra" userId="598e0514-bef3-4e71-b6aa-f2edd6441cff" providerId="ADAL" clId="{36D14C0E-B70E-4281-9AD2-7129A7F7BB3E}" dt="2021-12-10T07:57:03.189" v="1571"/>
          <ac:inkMkLst>
            <pc:docMk/>
            <pc:sldMk cId="202447606" sldId="280"/>
            <ac:inkMk id="13" creationId="{4EDAED2A-EC16-4BAA-935F-2FE4B2E0D7A7}"/>
          </ac:inkMkLst>
        </pc:inkChg>
        <pc:inkChg chg="add mod">
          <ac:chgData name="Aniket Chhabra" userId="598e0514-bef3-4e71-b6aa-f2edd6441cff" providerId="ADAL" clId="{36D14C0E-B70E-4281-9AD2-7129A7F7BB3E}" dt="2021-12-10T07:57:03.189" v="1571"/>
          <ac:inkMkLst>
            <pc:docMk/>
            <pc:sldMk cId="202447606" sldId="280"/>
            <ac:inkMk id="14" creationId="{1E071AD3-5D1A-493A-9794-4AAAC21C57CC}"/>
          </ac:inkMkLst>
        </pc:inkChg>
        <pc:inkChg chg="add del">
          <ac:chgData name="Aniket Chhabra" userId="598e0514-bef3-4e71-b6aa-f2edd6441cff" providerId="ADAL" clId="{36D14C0E-B70E-4281-9AD2-7129A7F7BB3E}" dt="2021-12-10T07:56:49.207" v="1549"/>
          <ac:inkMkLst>
            <pc:docMk/>
            <pc:sldMk cId="202447606" sldId="280"/>
            <ac:inkMk id="15" creationId="{6C3B7BE7-FF63-483D-8F81-AE896FB2AF44}"/>
          </ac:inkMkLst>
        </pc:inkChg>
        <pc:inkChg chg="add mod">
          <ac:chgData name="Aniket Chhabra" userId="598e0514-bef3-4e71-b6aa-f2edd6441cff" providerId="ADAL" clId="{36D14C0E-B70E-4281-9AD2-7129A7F7BB3E}" dt="2021-12-10T07:57:03.189" v="1571"/>
          <ac:inkMkLst>
            <pc:docMk/>
            <pc:sldMk cId="202447606" sldId="280"/>
            <ac:inkMk id="17" creationId="{75A26A4F-B98B-49A3-810F-B14266388BC7}"/>
          </ac:inkMkLst>
        </pc:inkChg>
        <pc:inkChg chg="add mod">
          <ac:chgData name="Aniket Chhabra" userId="598e0514-bef3-4e71-b6aa-f2edd6441cff" providerId="ADAL" clId="{36D14C0E-B70E-4281-9AD2-7129A7F7BB3E}" dt="2021-12-10T07:57:03.189" v="1571"/>
          <ac:inkMkLst>
            <pc:docMk/>
            <pc:sldMk cId="202447606" sldId="280"/>
            <ac:inkMk id="18" creationId="{A7F3BF65-58BC-4072-AABD-E7AA0C45F9CE}"/>
          </ac:inkMkLst>
        </pc:inkChg>
        <pc:inkChg chg="add del">
          <ac:chgData name="Aniket Chhabra" userId="598e0514-bef3-4e71-b6aa-f2edd6441cff" providerId="ADAL" clId="{36D14C0E-B70E-4281-9AD2-7129A7F7BB3E}" dt="2021-12-10T07:56:55.441" v="1559"/>
          <ac:inkMkLst>
            <pc:docMk/>
            <pc:sldMk cId="202447606" sldId="280"/>
            <ac:inkMk id="19" creationId="{CB1D0C27-573E-49CD-9836-7A20406EFE4C}"/>
          </ac:inkMkLst>
        </pc:inkChg>
        <pc:inkChg chg="add mod">
          <ac:chgData name="Aniket Chhabra" userId="598e0514-bef3-4e71-b6aa-f2edd6441cff" providerId="ADAL" clId="{36D14C0E-B70E-4281-9AD2-7129A7F7BB3E}" dt="2021-12-10T07:57:03.189" v="1571"/>
          <ac:inkMkLst>
            <pc:docMk/>
            <pc:sldMk cId="202447606" sldId="280"/>
            <ac:inkMk id="20" creationId="{00D8E05C-FECD-4983-B721-E14A0F2EE280}"/>
          </ac:inkMkLst>
        </pc:inkChg>
        <pc:inkChg chg="add del">
          <ac:chgData name="Aniket Chhabra" userId="598e0514-bef3-4e71-b6aa-f2edd6441cff" providerId="ADAL" clId="{36D14C0E-B70E-4281-9AD2-7129A7F7BB3E}" dt="2021-12-10T07:56:55.440" v="1558"/>
          <ac:inkMkLst>
            <pc:docMk/>
            <pc:sldMk cId="202447606" sldId="280"/>
            <ac:inkMk id="21" creationId="{26D14D80-5C3D-4ECF-AADE-C4BEE21870DD}"/>
          </ac:inkMkLst>
        </pc:inkChg>
        <pc:inkChg chg="add mod">
          <ac:chgData name="Aniket Chhabra" userId="598e0514-bef3-4e71-b6aa-f2edd6441cff" providerId="ADAL" clId="{36D14C0E-B70E-4281-9AD2-7129A7F7BB3E}" dt="2021-12-10T07:57:03.189" v="1571"/>
          <ac:inkMkLst>
            <pc:docMk/>
            <pc:sldMk cId="202447606" sldId="280"/>
            <ac:inkMk id="22" creationId="{16BBE9E3-772A-4A10-AF97-79C70885EE4B}"/>
          </ac:inkMkLst>
        </pc:inkChg>
        <pc:inkChg chg="add mod">
          <ac:chgData name="Aniket Chhabra" userId="598e0514-bef3-4e71-b6aa-f2edd6441cff" providerId="ADAL" clId="{36D14C0E-B70E-4281-9AD2-7129A7F7BB3E}" dt="2021-12-10T07:57:03.189" v="1571"/>
          <ac:inkMkLst>
            <pc:docMk/>
            <pc:sldMk cId="202447606" sldId="280"/>
            <ac:inkMk id="23" creationId="{3DBCECB0-4BA4-40B4-8179-9CB8AD9ED105}"/>
          </ac:inkMkLst>
        </pc:inkChg>
        <pc:inkChg chg="add mod">
          <ac:chgData name="Aniket Chhabra" userId="598e0514-bef3-4e71-b6aa-f2edd6441cff" providerId="ADAL" clId="{36D14C0E-B70E-4281-9AD2-7129A7F7BB3E}" dt="2021-12-10T07:57:03.189" v="1571"/>
          <ac:inkMkLst>
            <pc:docMk/>
            <pc:sldMk cId="202447606" sldId="280"/>
            <ac:inkMk id="26" creationId="{576A655A-C5AB-409E-9972-04C817EA14B3}"/>
          </ac:inkMkLst>
        </pc:inkChg>
        <pc:inkChg chg="add mod">
          <ac:chgData name="Aniket Chhabra" userId="598e0514-bef3-4e71-b6aa-f2edd6441cff" providerId="ADAL" clId="{36D14C0E-B70E-4281-9AD2-7129A7F7BB3E}" dt="2021-12-10T07:57:03.189" v="1571"/>
          <ac:inkMkLst>
            <pc:docMk/>
            <pc:sldMk cId="202447606" sldId="280"/>
            <ac:inkMk id="27" creationId="{60F2E083-1CD0-4B1F-8B2A-03632A570FD5}"/>
          </ac:inkMkLst>
        </pc:inkChg>
        <pc:inkChg chg="add mod">
          <ac:chgData name="Aniket Chhabra" userId="598e0514-bef3-4e71-b6aa-f2edd6441cff" providerId="ADAL" clId="{36D14C0E-B70E-4281-9AD2-7129A7F7BB3E}" dt="2021-12-10T07:57:03.189" v="1571"/>
          <ac:inkMkLst>
            <pc:docMk/>
            <pc:sldMk cId="202447606" sldId="280"/>
            <ac:inkMk id="28" creationId="{427D9394-332D-4324-AA23-19237A664BE1}"/>
          </ac:inkMkLst>
        </pc:inkChg>
        <pc:inkChg chg="add mod">
          <ac:chgData name="Aniket Chhabra" userId="598e0514-bef3-4e71-b6aa-f2edd6441cff" providerId="ADAL" clId="{36D14C0E-B70E-4281-9AD2-7129A7F7BB3E}" dt="2021-12-10T07:57:03.189" v="1571"/>
          <ac:inkMkLst>
            <pc:docMk/>
            <pc:sldMk cId="202447606" sldId="280"/>
            <ac:inkMk id="29" creationId="{A73B8830-3551-460C-944B-72525A9DDF08}"/>
          </ac:inkMkLst>
        </pc:inkChg>
        <pc:inkChg chg="add mod">
          <ac:chgData name="Aniket Chhabra" userId="598e0514-bef3-4e71-b6aa-f2edd6441cff" providerId="ADAL" clId="{36D14C0E-B70E-4281-9AD2-7129A7F7BB3E}" dt="2021-12-10T07:57:03.189" v="1571"/>
          <ac:inkMkLst>
            <pc:docMk/>
            <pc:sldMk cId="202447606" sldId="280"/>
            <ac:inkMk id="30" creationId="{BF3F1D61-4057-44F1-8058-EC9DDF563644}"/>
          </ac:inkMkLst>
        </pc:inkChg>
        <pc:inkChg chg="add mod">
          <ac:chgData name="Aniket Chhabra" userId="598e0514-bef3-4e71-b6aa-f2edd6441cff" providerId="ADAL" clId="{36D14C0E-B70E-4281-9AD2-7129A7F7BB3E}" dt="2021-12-10T07:57:03.189" v="1571"/>
          <ac:inkMkLst>
            <pc:docMk/>
            <pc:sldMk cId="202447606" sldId="280"/>
            <ac:inkMk id="32" creationId="{B6290B4B-F297-49F0-B77C-05EF06298231}"/>
          </ac:inkMkLst>
        </pc:inkChg>
        <pc:inkChg chg="add mod">
          <ac:chgData name="Aniket Chhabra" userId="598e0514-bef3-4e71-b6aa-f2edd6441cff" providerId="ADAL" clId="{36D14C0E-B70E-4281-9AD2-7129A7F7BB3E}" dt="2021-12-10T07:57:03.189" v="1571"/>
          <ac:inkMkLst>
            <pc:docMk/>
            <pc:sldMk cId="202447606" sldId="280"/>
            <ac:inkMk id="33" creationId="{8C540B13-130B-4C8C-94D5-7EE4DB9071C4}"/>
          </ac:inkMkLst>
        </pc:inkChg>
        <pc:inkChg chg="add mod">
          <ac:chgData name="Aniket Chhabra" userId="598e0514-bef3-4e71-b6aa-f2edd6441cff" providerId="ADAL" clId="{36D14C0E-B70E-4281-9AD2-7129A7F7BB3E}" dt="2021-12-10T07:57:03.189" v="1571"/>
          <ac:inkMkLst>
            <pc:docMk/>
            <pc:sldMk cId="202447606" sldId="280"/>
            <ac:inkMk id="35" creationId="{30F7C4A3-0AE1-4A89-A601-D0FDF927517B}"/>
          </ac:inkMkLst>
        </pc:inkChg>
      </pc:sldChg>
      <pc:sldChg chg="addSp delSp modSp new add mod ord">
        <pc:chgData name="Aniket Chhabra" userId="598e0514-bef3-4e71-b6aa-f2edd6441cff" providerId="ADAL" clId="{36D14C0E-B70E-4281-9AD2-7129A7F7BB3E}" dt="2021-12-10T07:52:08.747" v="1493"/>
        <pc:sldMkLst>
          <pc:docMk/>
          <pc:sldMk cId="878701179" sldId="281"/>
        </pc:sldMkLst>
        <pc:spChg chg="mod">
          <ac:chgData name="Aniket Chhabra" userId="598e0514-bef3-4e71-b6aa-f2edd6441cff" providerId="ADAL" clId="{36D14C0E-B70E-4281-9AD2-7129A7F7BB3E}" dt="2021-12-10T07:52:08.741" v="1491" actId="948"/>
          <ac:spMkLst>
            <pc:docMk/>
            <pc:sldMk cId="878701179" sldId="281"/>
            <ac:spMk id="2" creationId="{0CF8F841-2F76-46C6-B1C7-FC23A4515578}"/>
          </ac:spMkLst>
        </pc:spChg>
        <pc:spChg chg="del mod">
          <ac:chgData name="Aniket Chhabra" userId="598e0514-bef3-4e71-b6aa-f2edd6441cff" providerId="ADAL" clId="{36D14C0E-B70E-4281-9AD2-7129A7F7BB3E}" dt="2021-12-10T07:52:05.053" v="1489" actId="478"/>
          <ac:spMkLst>
            <pc:docMk/>
            <pc:sldMk cId="878701179" sldId="281"/>
            <ac:spMk id="3" creationId="{BF91142D-C216-44DE-8BD6-12C25F4FE90C}"/>
          </ac:spMkLst>
        </pc:spChg>
        <pc:graphicFrameChg chg="add mod ord modVis">
          <ac:chgData name="Aniket Chhabra" userId="598e0514-bef3-4e71-b6aa-f2edd6441cff" providerId="ADAL" clId="{36D14C0E-B70E-4281-9AD2-7129A7F7BB3E}" dt="2021-12-10T07:52:08.747" v="1493"/>
          <ac:graphicFrameMkLst>
            <pc:docMk/>
            <pc:sldMk cId="878701179" sldId="281"/>
            <ac:graphicFrameMk id="4" creationId="{09C046B6-2439-4160-8554-41E06BFB05BE}"/>
          </ac:graphicFrameMkLst>
        </pc:graphicFrameChg>
      </pc:sldChg>
      <pc:sldChg chg="modSp add mod">
        <pc:chgData name="Aniket Chhabra" userId="598e0514-bef3-4e71-b6aa-f2edd6441cff" providerId="ADAL" clId="{36D14C0E-B70E-4281-9AD2-7129A7F7BB3E}" dt="2021-12-10T07:52:20.090" v="1515"/>
        <pc:sldMkLst>
          <pc:docMk/>
          <pc:sldMk cId="2223143658" sldId="282"/>
        </pc:sldMkLst>
        <pc:spChg chg="mod">
          <ac:chgData name="Aniket Chhabra" userId="598e0514-bef3-4e71-b6aa-f2edd6441cff" providerId="ADAL" clId="{36D14C0E-B70E-4281-9AD2-7129A7F7BB3E}" dt="2021-12-10T07:52:20.072" v="1513" actId="948"/>
          <ac:spMkLst>
            <pc:docMk/>
            <pc:sldMk cId="2223143658" sldId="282"/>
            <ac:spMk id="2" creationId="{0CF8F841-2F76-46C6-B1C7-FC23A4515578}"/>
          </ac:spMkLst>
        </pc:spChg>
        <pc:graphicFrameChg chg="mod">
          <ac:chgData name="Aniket Chhabra" userId="598e0514-bef3-4e71-b6aa-f2edd6441cff" providerId="ADAL" clId="{36D14C0E-B70E-4281-9AD2-7129A7F7BB3E}" dt="2021-12-10T07:52:20.090" v="1515"/>
          <ac:graphicFrameMkLst>
            <pc:docMk/>
            <pc:sldMk cId="2223143658" sldId="282"/>
            <ac:graphicFrameMk id="4" creationId="{09C046B6-2439-4160-8554-41E06BFB05BE}"/>
          </ac:graphicFrameMkLst>
        </pc:graphicFrameChg>
      </pc:sldChg>
      <pc:sldChg chg="addSp delSp modSp add mod">
        <pc:chgData name="Aniket Chhabra" userId="598e0514-bef3-4e71-b6aa-f2edd6441cff" providerId="ADAL" clId="{36D14C0E-B70E-4281-9AD2-7129A7F7BB3E}" dt="2021-12-11T13:45:06.906" v="1783"/>
        <pc:sldMkLst>
          <pc:docMk/>
          <pc:sldMk cId="2261573957" sldId="283"/>
        </pc:sldMkLst>
        <pc:spChg chg="add mod">
          <ac:chgData name="Aniket Chhabra" userId="598e0514-bef3-4e71-b6aa-f2edd6441cff" providerId="ADAL" clId="{36D14C0E-B70E-4281-9AD2-7129A7F7BB3E}" dt="2021-12-10T07:59:18.808" v="1593" actId="1076"/>
          <ac:spMkLst>
            <pc:docMk/>
            <pc:sldMk cId="2261573957" sldId="283"/>
            <ac:spMk id="14" creationId="{7E0797D5-AB1F-4707-A05D-2F3211655021}"/>
          </ac:spMkLst>
        </pc:spChg>
        <pc:picChg chg="add del">
          <ac:chgData name="Aniket Chhabra" userId="598e0514-bef3-4e71-b6aa-f2edd6441cff" providerId="ADAL" clId="{36D14C0E-B70E-4281-9AD2-7129A7F7BB3E}" dt="2021-12-10T07:58:14.607" v="1572" actId="478"/>
          <ac:picMkLst>
            <pc:docMk/>
            <pc:sldMk cId="2261573957" sldId="283"/>
            <ac:picMk id="3" creationId="{6E6F7564-5C43-4487-8DA8-4728EBDF846A}"/>
          </ac:picMkLst>
        </pc:picChg>
        <pc:picChg chg="add del">
          <ac:chgData name="Aniket Chhabra" userId="598e0514-bef3-4e71-b6aa-f2edd6441cff" providerId="ADAL" clId="{36D14C0E-B70E-4281-9AD2-7129A7F7BB3E}" dt="2021-12-10T07:58:23.090" v="1575" actId="478"/>
          <ac:picMkLst>
            <pc:docMk/>
            <pc:sldMk cId="2261573957" sldId="283"/>
            <ac:picMk id="6" creationId="{14585A26-D884-4A38-A468-B99F29B006F5}"/>
          </ac:picMkLst>
        </pc:picChg>
        <pc:picChg chg="del">
          <ac:chgData name="Aniket Chhabra" userId="598e0514-bef3-4e71-b6aa-f2edd6441cff" providerId="ADAL" clId="{36D14C0E-B70E-4281-9AD2-7129A7F7BB3E}" dt="2021-12-10T07:56:09.064" v="1534" actId="478"/>
          <ac:picMkLst>
            <pc:docMk/>
            <pc:sldMk cId="2261573957" sldId="283"/>
            <ac:picMk id="7" creationId="{CF41B7D4-9C57-417E-B0FF-465A1500B904}"/>
          </ac:picMkLst>
        </pc:picChg>
        <pc:picChg chg="add mod">
          <ac:chgData name="Aniket Chhabra" userId="598e0514-bef3-4e71-b6aa-f2edd6441cff" providerId="ADAL" clId="{36D14C0E-B70E-4281-9AD2-7129A7F7BB3E}" dt="2021-12-10T07:58:27.226" v="1579" actId="14100"/>
          <ac:picMkLst>
            <pc:docMk/>
            <pc:sldMk cId="2261573957" sldId="283"/>
            <ac:picMk id="9" creationId="{6A101907-9D4B-4EA4-8AEC-C783F47CC7E3}"/>
          </ac:picMkLst>
        </pc:picChg>
        <pc:picChg chg="add del">
          <ac:chgData name="Aniket Chhabra" userId="598e0514-bef3-4e71-b6aa-f2edd6441cff" providerId="ADAL" clId="{36D14C0E-B70E-4281-9AD2-7129A7F7BB3E}" dt="2021-12-10T07:59:00.989" v="1582" actId="478"/>
          <ac:picMkLst>
            <pc:docMk/>
            <pc:sldMk cId="2261573957" sldId="283"/>
            <ac:picMk id="11" creationId="{E36AB8FC-C777-47DF-A3EF-7556CE0B3CCF}"/>
          </ac:picMkLst>
        </pc:picChg>
        <pc:picChg chg="add mod">
          <ac:chgData name="Aniket Chhabra" userId="598e0514-bef3-4e71-b6aa-f2edd6441cff" providerId="ADAL" clId="{36D14C0E-B70E-4281-9AD2-7129A7F7BB3E}" dt="2021-12-10T07:59:11.843" v="1591" actId="1076"/>
          <ac:picMkLst>
            <pc:docMk/>
            <pc:sldMk cId="2261573957" sldId="283"/>
            <ac:picMk id="13" creationId="{BAC77778-DE41-41D0-AB9C-A09A6AE4AF57}"/>
          </ac:picMkLst>
        </pc:picChg>
        <pc:picChg chg="add del">
          <ac:chgData name="Aniket Chhabra" userId="598e0514-bef3-4e71-b6aa-f2edd6441cff" providerId="ADAL" clId="{36D14C0E-B70E-4281-9AD2-7129A7F7BB3E}" dt="2021-12-10T07:59:44.714" v="1596" actId="478"/>
          <ac:picMkLst>
            <pc:docMk/>
            <pc:sldMk cId="2261573957" sldId="283"/>
            <ac:picMk id="16" creationId="{74116FEA-01DF-414D-9706-A8ED68BC7D12}"/>
          </ac:picMkLst>
        </pc:picChg>
        <pc:picChg chg="add mod">
          <ac:chgData name="Aniket Chhabra" userId="598e0514-bef3-4e71-b6aa-f2edd6441cff" providerId="ADAL" clId="{36D14C0E-B70E-4281-9AD2-7129A7F7BB3E}" dt="2021-12-11T10:44:48.287" v="1719" actId="1036"/>
          <ac:picMkLst>
            <pc:docMk/>
            <pc:sldMk cId="2261573957" sldId="283"/>
            <ac:picMk id="18" creationId="{EFC58951-C8C7-4403-B9C2-982BA206BCF1}"/>
          </ac:picMkLst>
        </pc:picChg>
        <pc:inkChg chg="add">
          <ac:chgData name="Aniket Chhabra" userId="598e0514-bef3-4e71-b6aa-f2edd6441cff" providerId="ADAL" clId="{36D14C0E-B70E-4281-9AD2-7129A7F7BB3E}" dt="2021-12-11T13:45:06.906" v="1783"/>
          <ac:inkMkLst>
            <pc:docMk/>
            <pc:sldMk cId="2261573957" sldId="283"/>
            <ac:inkMk id="2" creationId="{97A2BDF4-C048-46E2-9287-05FD6BC435D0}"/>
          </ac:inkMkLst>
        </pc:inkChg>
      </pc:sldChg>
      <pc:sldChg chg="new add del">
        <pc:chgData name="Aniket Chhabra" userId="598e0514-bef3-4e71-b6aa-f2edd6441cff" providerId="ADAL" clId="{36D14C0E-B70E-4281-9AD2-7129A7F7BB3E}" dt="2021-12-10T07:56:00.907" v="1527" actId="680"/>
        <pc:sldMkLst>
          <pc:docMk/>
          <pc:sldMk cId="2355711960" sldId="283"/>
        </pc:sldMkLst>
      </pc:sldChg>
      <pc:sldChg chg="new add del">
        <pc:chgData name="Aniket Chhabra" userId="598e0514-bef3-4e71-b6aa-f2edd6441cff" providerId="ADAL" clId="{36D14C0E-B70E-4281-9AD2-7129A7F7BB3E}" dt="2021-12-10T07:56:00.247" v="1526" actId="680"/>
        <pc:sldMkLst>
          <pc:docMk/>
          <pc:sldMk cId="2622063750" sldId="284"/>
        </pc:sldMkLst>
      </pc:sldChg>
      <pc:sldChg chg="addSp delSp modSp add mod">
        <pc:chgData name="Aniket Chhabra" userId="598e0514-bef3-4e71-b6aa-f2edd6441cff" providerId="ADAL" clId="{36D14C0E-B70E-4281-9AD2-7129A7F7BB3E}" dt="2021-12-11T13:45:06.906" v="1783"/>
        <pc:sldMkLst>
          <pc:docMk/>
          <pc:sldMk cId="3775221821" sldId="284"/>
        </pc:sldMkLst>
        <pc:grpChg chg="mod">
          <ac:chgData name="Aniket Chhabra" userId="598e0514-bef3-4e71-b6aa-f2edd6441cff" providerId="ADAL" clId="{36D14C0E-B70E-4281-9AD2-7129A7F7BB3E}" dt="2021-12-10T08:01:15.136" v="1616"/>
          <ac:grpSpMkLst>
            <pc:docMk/>
            <pc:sldMk cId="3775221821" sldId="284"/>
            <ac:grpSpMk id="10" creationId="{7DA88E1A-EBFB-43BD-A8A6-A86ACD413108}"/>
          </ac:grpSpMkLst>
        </pc:grpChg>
        <pc:grpChg chg="del mod">
          <ac:chgData name="Aniket Chhabra" userId="598e0514-bef3-4e71-b6aa-f2edd6441cff" providerId="ADAL" clId="{36D14C0E-B70E-4281-9AD2-7129A7F7BB3E}" dt="2021-12-10T08:02:44.442" v="1659"/>
          <ac:grpSpMkLst>
            <pc:docMk/>
            <pc:sldMk cId="3775221821" sldId="284"/>
            <ac:grpSpMk id="17" creationId="{9CF7DE06-DAA7-4498-BBA9-46654A9B7181}"/>
          </ac:grpSpMkLst>
        </pc:grpChg>
        <pc:grpChg chg="mod">
          <ac:chgData name="Aniket Chhabra" userId="598e0514-bef3-4e71-b6aa-f2edd6441cff" providerId="ADAL" clId="{36D14C0E-B70E-4281-9AD2-7129A7F7BB3E}" dt="2021-12-10T08:01:27.962" v="1632"/>
          <ac:grpSpMkLst>
            <pc:docMk/>
            <pc:sldMk cId="3775221821" sldId="284"/>
            <ac:grpSpMk id="22" creationId="{9A251303-E6CD-4AAD-BB0F-B217E8BC9592}"/>
          </ac:grpSpMkLst>
        </pc:grpChg>
        <pc:grpChg chg="mod">
          <ac:chgData name="Aniket Chhabra" userId="598e0514-bef3-4e71-b6aa-f2edd6441cff" providerId="ADAL" clId="{36D14C0E-B70E-4281-9AD2-7129A7F7BB3E}" dt="2021-12-10T08:02:36.281" v="1652"/>
          <ac:grpSpMkLst>
            <pc:docMk/>
            <pc:sldMk cId="3775221821" sldId="284"/>
            <ac:grpSpMk id="33" creationId="{438E87E5-8065-473D-B38E-B6742E63E413}"/>
          </ac:grpSpMkLst>
        </pc:grpChg>
        <pc:grpChg chg="mod">
          <ac:chgData name="Aniket Chhabra" userId="598e0514-bef3-4e71-b6aa-f2edd6441cff" providerId="ADAL" clId="{36D14C0E-B70E-4281-9AD2-7129A7F7BB3E}" dt="2021-12-10T08:02:44.442" v="1659"/>
          <ac:grpSpMkLst>
            <pc:docMk/>
            <pc:sldMk cId="3775221821" sldId="284"/>
            <ac:grpSpMk id="37" creationId="{93A5E9F1-1606-4632-8606-A74BA93B9FB0}"/>
          </ac:grpSpMkLst>
        </pc:grpChg>
        <pc:grpChg chg="mod">
          <ac:chgData name="Aniket Chhabra" userId="598e0514-bef3-4e71-b6aa-f2edd6441cff" providerId="ADAL" clId="{36D14C0E-B70E-4281-9AD2-7129A7F7BB3E}" dt="2021-12-10T08:03:21.735" v="1671"/>
          <ac:grpSpMkLst>
            <pc:docMk/>
            <pc:sldMk cId="3775221821" sldId="284"/>
            <ac:grpSpMk id="45" creationId="{40C03F3E-CB7F-4B7C-BF77-418516D44545}"/>
          </ac:grpSpMkLst>
        </pc:grpChg>
        <pc:picChg chg="add del">
          <ac:chgData name="Aniket Chhabra" userId="598e0514-bef3-4e71-b6aa-f2edd6441cff" providerId="ADAL" clId="{36D14C0E-B70E-4281-9AD2-7129A7F7BB3E}" dt="2021-12-10T08:01:05.074" v="1607" actId="478"/>
          <ac:picMkLst>
            <pc:docMk/>
            <pc:sldMk cId="3775221821" sldId="284"/>
            <ac:picMk id="3" creationId="{906A2EE9-49AE-4A6D-A549-61BD9D41E13F}"/>
          </ac:picMkLst>
        </pc:picChg>
        <pc:picChg chg="add del mod">
          <ac:chgData name="Aniket Chhabra" userId="598e0514-bef3-4e71-b6aa-f2edd6441cff" providerId="ADAL" clId="{36D14C0E-B70E-4281-9AD2-7129A7F7BB3E}" dt="2021-12-10T08:01:58.291" v="1633" actId="478"/>
          <ac:picMkLst>
            <pc:docMk/>
            <pc:sldMk cId="3775221821" sldId="284"/>
            <ac:picMk id="6" creationId="{3254C079-C142-4A2E-90E2-96B09E7D31D6}"/>
          </ac:picMkLst>
        </pc:picChg>
        <pc:picChg chg="del">
          <ac:chgData name="Aniket Chhabra" userId="598e0514-bef3-4e71-b6aa-f2edd6441cff" providerId="ADAL" clId="{36D14C0E-B70E-4281-9AD2-7129A7F7BB3E}" dt="2021-12-10T08:00:48.297" v="1604" actId="478"/>
          <ac:picMkLst>
            <pc:docMk/>
            <pc:sldMk cId="3775221821" sldId="284"/>
            <ac:picMk id="7" creationId="{CF41B7D4-9C57-417E-B0FF-465A1500B904}"/>
          </ac:picMkLst>
        </pc:picChg>
        <pc:picChg chg="add del mod">
          <ac:chgData name="Aniket Chhabra" userId="598e0514-bef3-4e71-b6aa-f2edd6441cff" providerId="ADAL" clId="{36D14C0E-B70E-4281-9AD2-7129A7F7BB3E}" dt="2021-12-10T08:02:15.320" v="1638" actId="478"/>
          <ac:picMkLst>
            <pc:docMk/>
            <pc:sldMk cId="3775221821" sldId="284"/>
            <ac:picMk id="24" creationId="{A89BBA0B-6E42-4C06-96C4-5403A75BCC3E}"/>
          </ac:picMkLst>
        </pc:picChg>
        <pc:picChg chg="add mod">
          <ac:chgData name="Aniket Chhabra" userId="598e0514-bef3-4e71-b6aa-f2edd6441cff" providerId="ADAL" clId="{36D14C0E-B70E-4281-9AD2-7129A7F7BB3E}" dt="2021-12-10T08:02:19.858" v="1641" actId="1076"/>
          <ac:picMkLst>
            <pc:docMk/>
            <pc:sldMk cId="3775221821" sldId="284"/>
            <ac:picMk id="26" creationId="{602EECC5-AEB7-42BA-A45F-C90DDB47FD9D}"/>
          </ac:picMkLst>
        </pc:picChg>
        <pc:inkChg chg="add">
          <ac:chgData name="Aniket Chhabra" userId="598e0514-bef3-4e71-b6aa-f2edd6441cff" providerId="ADAL" clId="{36D14C0E-B70E-4281-9AD2-7129A7F7BB3E}" dt="2021-12-11T13:45:06.906" v="1783"/>
          <ac:inkMkLst>
            <pc:docMk/>
            <pc:sldMk cId="3775221821" sldId="284"/>
            <ac:inkMk id="2" creationId="{FF244B8F-1912-446D-8F43-8644DEE81C91}"/>
          </ac:inkMkLst>
        </pc:inkChg>
        <pc:inkChg chg="add del mod">
          <ac:chgData name="Aniket Chhabra" userId="598e0514-bef3-4e71-b6aa-f2edd6441cff" providerId="ADAL" clId="{36D14C0E-B70E-4281-9AD2-7129A7F7BB3E}" dt="2021-12-10T08:01:16.482" v="1618" actId="9405"/>
          <ac:inkMkLst>
            <pc:docMk/>
            <pc:sldMk cId="3775221821" sldId="284"/>
            <ac:inkMk id="8" creationId="{387C4357-3ACC-40D3-B9E8-C16B3BEB431E}"/>
          </ac:inkMkLst>
        </pc:inkChg>
        <pc:inkChg chg="add del mod">
          <ac:chgData name="Aniket Chhabra" userId="598e0514-bef3-4e71-b6aa-f2edd6441cff" providerId="ADAL" clId="{36D14C0E-B70E-4281-9AD2-7129A7F7BB3E}" dt="2021-12-10T08:01:16.029" v="1617" actId="9405"/>
          <ac:inkMkLst>
            <pc:docMk/>
            <pc:sldMk cId="3775221821" sldId="284"/>
            <ac:inkMk id="9" creationId="{80A90917-D731-4F6A-932A-96FFFFCAA9DE}"/>
          </ac:inkMkLst>
        </pc:inkChg>
        <pc:inkChg chg="add del">
          <ac:chgData name="Aniket Chhabra" userId="598e0514-bef3-4e71-b6aa-f2edd6441cff" providerId="ADAL" clId="{36D14C0E-B70E-4281-9AD2-7129A7F7BB3E}" dt="2021-12-10T08:01:20.925" v="1621"/>
          <ac:inkMkLst>
            <pc:docMk/>
            <pc:sldMk cId="3775221821" sldId="284"/>
            <ac:inkMk id="11" creationId="{4453D025-3807-4E52-B725-20EE61BED6D8}"/>
          </ac:inkMkLst>
        </pc:inkChg>
        <pc:inkChg chg="add mod">
          <ac:chgData name="Aniket Chhabra" userId="598e0514-bef3-4e71-b6aa-f2edd6441cff" providerId="ADAL" clId="{36D14C0E-B70E-4281-9AD2-7129A7F7BB3E}" dt="2021-12-10T08:02:44.442" v="1659"/>
          <ac:inkMkLst>
            <pc:docMk/>
            <pc:sldMk cId="3775221821" sldId="284"/>
            <ac:inkMk id="12" creationId="{5D6599A3-7BB5-4897-8499-92A34079BECE}"/>
          </ac:inkMkLst>
        </pc:inkChg>
        <pc:inkChg chg="add mod">
          <ac:chgData name="Aniket Chhabra" userId="598e0514-bef3-4e71-b6aa-f2edd6441cff" providerId="ADAL" clId="{36D14C0E-B70E-4281-9AD2-7129A7F7BB3E}" dt="2021-12-10T08:02:44.442" v="1659"/>
          <ac:inkMkLst>
            <pc:docMk/>
            <pc:sldMk cId="3775221821" sldId="284"/>
            <ac:inkMk id="13" creationId="{06B25C5D-50F6-484F-9E22-20CD52F287D0}"/>
          </ac:inkMkLst>
        </pc:inkChg>
        <pc:inkChg chg="add mod">
          <ac:chgData name="Aniket Chhabra" userId="598e0514-bef3-4e71-b6aa-f2edd6441cff" providerId="ADAL" clId="{36D14C0E-B70E-4281-9AD2-7129A7F7BB3E}" dt="2021-12-10T08:02:44.442" v="1659"/>
          <ac:inkMkLst>
            <pc:docMk/>
            <pc:sldMk cId="3775221821" sldId="284"/>
            <ac:inkMk id="14" creationId="{BBC457C1-977D-413B-96D2-3B7DD7C99946}"/>
          </ac:inkMkLst>
        </pc:inkChg>
        <pc:inkChg chg="add mod">
          <ac:chgData name="Aniket Chhabra" userId="598e0514-bef3-4e71-b6aa-f2edd6441cff" providerId="ADAL" clId="{36D14C0E-B70E-4281-9AD2-7129A7F7BB3E}" dt="2021-12-10T08:02:44.442" v="1659"/>
          <ac:inkMkLst>
            <pc:docMk/>
            <pc:sldMk cId="3775221821" sldId="284"/>
            <ac:inkMk id="15" creationId="{DBFE31D1-B8A1-4F6B-96D9-ADA386B1E579}"/>
          </ac:inkMkLst>
        </pc:inkChg>
        <pc:inkChg chg="add mod">
          <ac:chgData name="Aniket Chhabra" userId="598e0514-bef3-4e71-b6aa-f2edd6441cff" providerId="ADAL" clId="{36D14C0E-B70E-4281-9AD2-7129A7F7BB3E}" dt="2021-12-10T08:02:44.442" v="1659"/>
          <ac:inkMkLst>
            <pc:docMk/>
            <pc:sldMk cId="3775221821" sldId="284"/>
            <ac:inkMk id="16" creationId="{A1F87D14-05FE-4674-95B6-C69209519386}"/>
          </ac:inkMkLst>
        </pc:inkChg>
        <pc:inkChg chg="add mod">
          <ac:chgData name="Aniket Chhabra" userId="598e0514-bef3-4e71-b6aa-f2edd6441cff" providerId="ADAL" clId="{36D14C0E-B70E-4281-9AD2-7129A7F7BB3E}" dt="2021-12-10T08:01:27.962" v="1632"/>
          <ac:inkMkLst>
            <pc:docMk/>
            <pc:sldMk cId="3775221821" sldId="284"/>
            <ac:inkMk id="18" creationId="{55069662-36F9-41CF-AD2B-B4EF00F3221B}"/>
          </ac:inkMkLst>
        </pc:inkChg>
        <pc:inkChg chg="add mod">
          <ac:chgData name="Aniket Chhabra" userId="598e0514-bef3-4e71-b6aa-f2edd6441cff" providerId="ADAL" clId="{36D14C0E-B70E-4281-9AD2-7129A7F7BB3E}" dt="2021-12-10T08:01:27.962" v="1632"/>
          <ac:inkMkLst>
            <pc:docMk/>
            <pc:sldMk cId="3775221821" sldId="284"/>
            <ac:inkMk id="19" creationId="{7016C991-DF25-42EE-89B4-A18D07F524B1}"/>
          </ac:inkMkLst>
        </pc:inkChg>
        <pc:inkChg chg="add mod">
          <ac:chgData name="Aniket Chhabra" userId="598e0514-bef3-4e71-b6aa-f2edd6441cff" providerId="ADAL" clId="{36D14C0E-B70E-4281-9AD2-7129A7F7BB3E}" dt="2021-12-10T08:01:27.962" v="1632"/>
          <ac:inkMkLst>
            <pc:docMk/>
            <pc:sldMk cId="3775221821" sldId="284"/>
            <ac:inkMk id="20" creationId="{5182ADBF-578C-4674-B41F-8C447773084B}"/>
          </ac:inkMkLst>
        </pc:inkChg>
        <pc:inkChg chg="add mod">
          <ac:chgData name="Aniket Chhabra" userId="598e0514-bef3-4e71-b6aa-f2edd6441cff" providerId="ADAL" clId="{36D14C0E-B70E-4281-9AD2-7129A7F7BB3E}" dt="2021-12-10T08:01:27.962" v="1632"/>
          <ac:inkMkLst>
            <pc:docMk/>
            <pc:sldMk cId="3775221821" sldId="284"/>
            <ac:inkMk id="21" creationId="{EB8038A0-C7C3-4387-9EE0-3D6CBEC99521}"/>
          </ac:inkMkLst>
        </pc:inkChg>
        <pc:inkChg chg="add del">
          <ac:chgData name="Aniket Chhabra" userId="598e0514-bef3-4e71-b6aa-f2edd6441cff" providerId="ADAL" clId="{36D14C0E-B70E-4281-9AD2-7129A7F7BB3E}" dt="2021-12-10T08:02:25.598" v="1643" actId="9405"/>
          <ac:inkMkLst>
            <pc:docMk/>
            <pc:sldMk cId="3775221821" sldId="284"/>
            <ac:inkMk id="27" creationId="{E5078E3D-FB38-4542-969A-92397E0246AD}"/>
          </ac:inkMkLst>
        </pc:inkChg>
        <pc:inkChg chg="add del">
          <ac:chgData name="Aniket Chhabra" userId="598e0514-bef3-4e71-b6aa-f2edd6441cff" providerId="ADAL" clId="{36D14C0E-B70E-4281-9AD2-7129A7F7BB3E}" dt="2021-12-10T08:02:27.289" v="1645" actId="9405"/>
          <ac:inkMkLst>
            <pc:docMk/>
            <pc:sldMk cId="3775221821" sldId="284"/>
            <ac:inkMk id="28" creationId="{4403D4B7-11D7-4D80-ABC3-42E97EBCE74E}"/>
          </ac:inkMkLst>
        </pc:inkChg>
        <pc:inkChg chg="add del">
          <ac:chgData name="Aniket Chhabra" userId="598e0514-bef3-4e71-b6aa-f2edd6441cff" providerId="ADAL" clId="{36D14C0E-B70E-4281-9AD2-7129A7F7BB3E}" dt="2021-12-10T08:02:28.717" v="1647" actId="9405"/>
          <ac:inkMkLst>
            <pc:docMk/>
            <pc:sldMk cId="3775221821" sldId="284"/>
            <ac:inkMk id="29" creationId="{058790B8-DC6E-495C-AF25-6FB1970D86C4}"/>
          </ac:inkMkLst>
        </pc:inkChg>
        <pc:inkChg chg="add del">
          <ac:chgData name="Aniket Chhabra" userId="598e0514-bef3-4e71-b6aa-f2edd6441cff" providerId="ADAL" clId="{36D14C0E-B70E-4281-9AD2-7129A7F7BB3E}" dt="2021-12-10T08:02:30.020" v="1649" actId="9405"/>
          <ac:inkMkLst>
            <pc:docMk/>
            <pc:sldMk cId="3775221821" sldId="284"/>
            <ac:inkMk id="30" creationId="{1C596A65-4360-4F14-8410-AD3A1677E5C7}"/>
          </ac:inkMkLst>
        </pc:inkChg>
        <pc:inkChg chg="add">
          <ac:chgData name="Aniket Chhabra" userId="598e0514-bef3-4e71-b6aa-f2edd6441cff" providerId="ADAL" clId="{36D14C0E-B70E-4281-9AD2-7129A7F7BB3E}" dt="2021-12-10T08:02:31.643" v="1650" actId="9405"/>
          <ac:inkMkLst>
            <pc:docMk/>
            <pc:sldMk cId="3775221821" sldId="284"/>
            <ac:inkMk id="31" creationId="{9BB9421D-0F8E-46CF-9461-513D33067509}"/>
          </ac:inkMkLst>
        </pc:inkChg>
        <pc:inkChg chg="add del mod">
          <ac:chgData name="Aniket Chhabra" userId="598e0514-bef3-4e71-b6aa-f2edd6441cff" providerId="ADAL" clId="{36D14C0E-B70E-4281-9AD2-7129A7F7BB3E}" dt="2021-12-10T08:02:36.411" v="1653" actId="9405"/>
          <ac:inkMkLst>
            <pc:docMk/>
            <pc:sldMk cId="3775221821" sldId="284"/>
            <ac:inkMk id="32" creationId="{B334C60B-3751-4FC2-9F97-EA0ACDA0BB2D}"/>
          </ac:inkMkLst>
        </pc:inkChg>
        <pc:inkChg chg="add del">
          <ac:chgData name="Aniket Chhabra" userId="598e0514-bef3-4e71-b6aa-f2edd6441cff" providerId="ADAL" clId="{36D14C0E-B70E-4281-9AD2-7129A7F7BB3E}" dt="2021-12-10T08:02:37.967" v="1655" actId="9405"/>
          <ac:inkMkLst>
            <pc:docMk/>
            <pc:sldMk cId="3775221821" sldId="284"/>
            <ac:inkMk id="34" creationId="{CFB5DF42-F5A6-4169-A87E-D2FC8DB505EF}"/>
          </ac:inkMkLst>
        </pc:inkChg>
        <pc:inkChg chg="add del">
          <ac:chgData name="Aniket Chhabra" userId="598e0514-bef3-4e71-b6aa-f2edd6441cff" providerId="ADAL" clId="{36D14C0E-B70E-4281-9AD2-7129A7F7BB3E}" dt="2021-12-10T08:02:41.236" v="1657" actId="9405"/>
          <ac:inkMkLst>
            <pc:docMk/>
            <pc:sldMk cId="3775221821" sldId="284"/>
            <ac:inkMk id="35" creationId="{AEF4B831-8973-4EF1-84FA-F20C01BAF294}"/>
          </ac:inkMkLst>
        </pc:inkChg>
        <pc:inkChg chg="add mod">
          <ac:chgData name="Aniket Chhabra" userId="598e0514-bef3-4e71-b6aa-f2edd6441cff" providerId="ADAL" clId="{36D14C0E-B70E-4281-9AD2-7129A7F7BB3E}" dt="2021-12-10T08:02:44.442" v="1659"/>
          <ac:inkMkLst>
            <pc:docMk/>
            <pc:sldMk cId="3775221821" sldId="284"/>
            <ac:inkMk id="36" creationId="{8D87B44B-DE4C-494F-A0CB-EE5B6873FFA7}"/>
          </ac:inkMkLst>
        </pc:inkChg>
        <pc:inkChg chg="add">
          <ac:chgData name="Aniket Chhabra" userId="598e0514-bef3-4e71-b6aa-f2edd6441cff" providerId="ADAL" clId="{36D14C0E-B70E-4281-9AD2-7129A7F7BB3E}" dt="2021-12-10T08:03:02.577" v="1660" actId="9405"/>
          <ac:inkMkLst>
            <pc:docMk/>
            <pc:sldMk cId="3775221821" sldId="284"/>
            <ac:inkMk id="38" creationId="{5312E80C-8F62-476E-9E02-4D348233B985}"/>
          </ac:inkMkLst>
        </pc:inkChg>
        <pc:inkChg chg="add del">
          <ac:chgData name="Aniket Chhabra" userId="598e0514-bef3-4e71-b6aa-f2edd6441cff" providerId="ADAL" clId="{36D14C0E-B70E-4281-9AD2-7129A7F7BB3E}" dt="2021-12-10T08:03:12.515" v="1664"/>
          <ac:inkMkLst>
            <pc:docMk/>
            <pc:sldMk cId="3775221821" sldId="284"/>
            <ac:inkMk id="39" creationId="{7D503657-6136-4A51-9A2B-7D18F112819B}"/>
          </ac:inkMkLst>
        </pc:inkChg>
        <pc:inkChg chg="add del">
          <ac:chgData name="Aniket Chhabra" userId="598e0514-bef3-4e71-b6aa-f2edd6441cff" providerId="ADAL" clId="{36D14C0E-B70E-4281-9AD2-7129A7F7BB3E}" dt="2021-12-10T08:03:12.513" v="1663"/>
          <ac:inkMkLst>
            <pc:docMk/>
            <pc:sldMk cId="3775221821" sldId="284"/>
            <ac:inkMk id="40" creationId="{0D040902-857A-4842-8E0F-BB5F893E5B73}"/>
          </ac:inkMkLst>
        </pc:inkChg>
        <pc:inkChg chg="add del">
          <ac:chgData name="Aniket Chhabra" userId="598e0514-bef3-4e71-b6aa-f2edd6441cff" providerId="ADAL" clId="{36D14C0E-B70E-4281-9AD2-7129A7F7BB3E}" dt="2021-12-10T08:03:17.577" v="1666" actId="9405"/>
          <ac:inkMkLst>
            <pc:docMk/>
            <pc:sldMk cId="3775221821" sldId="284"/>
            <ac:inkMk id="41" creationId="{C927619F-B363-4ED3-8BCA-8101B1A7BEF0}"/>
          </ac:inkMkLst>
        </pc:inkChg>
        <pc:inkChg chg="add del">
          <ac:chgData name="Aniket Chhabra" userId="598e0514-bef3-4e71-b6aa-f2edd6441cff" providerId="ADAL" clId="{36D14C0E-B70E-4281-9AD2-7129A7F7BB3E}" dt="2021-12-10T08:03:18.934" v="1668" actId="9405"/>
          <ac:inkMkLst>
            <pc:docMk/>
            <pc:sldMk cId="3775221821" sldId="284"/>
            <ac:inkMk id="42" creationId="{F2735756-38A0-41F5-BE8A-72017A62076D}"/>
          </ac:inkMkLst>
        </pc:inkChg>
        <pc:inkChg chg="add mod">
          <ac:chgData name="Aniket Chhabra" userId="598e0514-bef3-4e71-b6aa-f2edd6441cff" providerId="ADAL" clId="{36D14C0E-B70E-4281-9AD2-7129A7F7BB3E}" dt="2021-12-10T08:03:21.735" v="1671"/>
          <ac:inkMkLst>
            <pc:docMk/>
            <pc:sldMk cId="3775221821" sldId="284"/>
            <ac:inkMk id="43" creationId="{5D571C59-C216-4AA3-9D96-7E61D63E2437}"/>
          </ac:inkMkLst>
        </pc:inkChg>
        <pc:inkChg chg="add mod">
          <ac:chgData name="Aniket Chhabra" userId="598e0514-bef3-4e71-b6aa-f2edd6441cff" providerId="ADAL" clId="{36D14C0E-B70E-4281-9AD2-7129A7F7BB3E}" dt="2021-12-10T08:03:21.735" v="1671"/>
          <ac:inkMkLst>
            <pc:docMk/>
            <pc:sldMk cId="3775221821" sldId="284"/>
            <ac:inkMk id="44" creationId="{D1B9998B-3EE7-4712-BDDB-1081C7DD64B4}"/>
          </ac:inkMkLst>
        </pc:inkChg>
        <pc:inkChg chg="add">
          <ac:chgData name="Aniket Chhabra" userId="598e0514-bef3-4e71-b6aa-f2edd6441cff" providerId="ADAL" clId="{36D14C0E-B70E-4281-9AD2-7129A7F7BB3E}" dt="2021-12-10T08:03:24.596" v="1672" actId="9405"/>
          <ac:inkMkLst>
            <pc:docMk/>
            <pc:sldMk cId="3775221821" sldId="284"/>
            <ac:inkMk id="46" creationId="{BBA08493-67AF-4461-81BD-916DB1FDD683}"/>
          </ac:inkMkLst>
        </pc:inkChg>
      </pc:sldChg>
      <pc:sldChg chg="addSp delSp modSp add mod">
        <pc:chgData name="Aniket Chhabra" userId="598e0514-bef3-4e71-b6aa-f2edd6441cff" providerId="ADAL" clId="{36D14C0E-B70E-4281-9AD2-7129A7F7BB3E}" dt="2021-12-11T13:45:06.906" v="1783"/>
        <pc:sldMkLst>
          <pc:docMk/>
          <pc:sldMk cId="908767069" sldId="285"/>
        </pc:sldMkLst>
        <pc:grpChg chg="mod">
          <ac:chgData name="Aniket Chhabra" userId="598e0514-bef3-4e71-b6aa-f2edd6441cff" providerId="ADAL" clId="{36D14C0E-B70E-4281-9AD2-7129A7F7BB3E}" dt="2021-12-10T08:04:24.641" v="1680"/>
          <ac:grpSpMkLst>
            <pc:docMk/>
            <pc:sldMk cId="908767069" sldId="285"/>
            <ac:grpSpMk id="11" creationId="{04168A7A-E6C5-432E-946E-27B7962425E1}"/>
          </ac:grpSpMkLst>
        </pc:grpChg>
        <pc:picChg chg="del">
          <ac:chgData name="Aniket Chhabra" userId="598e0514-bef3-4e71-b6aa-f2edd6441cff" providerId="ADAL" clId="{36D14C0E-B70E-4281-9AD2-7129A7F7BB3E}" dt="2021-12-10T08:04:32.926" v="1682" actId="478"/>
          <ac:picMkLst>
            <pc:docMk/>
            <pc:sldMk cId="908767069" sldId="285"/>
            <ac:picMk id="7" creationId="{CF41B7D4-9C57-417E-B0FF-465A1500B904}"/>
          </ac:picMkLst>
        </pc:picChg>
        <pc:picChg chg="add mod">
          <ac:chgData name="Aniket Chhabra" userId="598e0514-bef3-4e71-b6aa-f2edd6441cff" providerId="ADAL" clId="{36D14C0E-B70E-4281-9AD2-7129A7F7BB3E}" dt="2021-12-10T08:11:19.237" v="1716" actId="1036"/>
          <ac:picMkLst>
            <pc:docMk/>
            <pc:sldMk cId="908767069" sldId="285"/>
            <ac:picMk id="14" creationId="{9D4F519F-C4CC-434B-8676-E2EF65E1EE87}"/>
          </ac:picMkLst>
        </pc:picChg>
        <pc:inkChg chg="add mod">
          <ac:chgData name="Aniket Chhabra" userId="598e0514-bef3-4e71-b6aa-f2edd6441cff" providerId="ADAL" clId="{36D14C0E-B70E-4281-9AD2-7129A7F7BB3E}" dt="2021-12-10T08:04:24.641" v="1680"/>
          <ac:inkMkLst>
            <pc:docMk/>
            <pc:sldMk cId="908767069" sldId="285"/>
            <ac:inkMk id="2" creationId="{C2CD545E-B4F9-4F12-9EBA-524C7BBFD7D0}"/>
          </ac:inkMkLst>
        </pc:inkChg>
        <pc:inkChg chg="add mod">
          <ac:chgData name="Aniket Chhabra" userId="598e0514-bef3-4e71-b6aa-f2edd6441cff" providerId="ADAL" clId="{36D14C0E-B70E-4281-9AD2-7129A7F7BB3E}" dt="2021-12-10T08:04:24.641" v="1680"/>
          <ac:inkMkLst>
            <pc:docMk/>
            <pc:sldMk cId="908767069" sldId="285"/>
            <ac:inkMk id="3" creationId="{351E494C-84BF-467B-AB25-23719C2F9065}"/>
          </ac:inkMkLst>
        </pc:inkChg>
        <pc:inkChg chg="add mod">
          <ac:chgData name="Aniket Chhabra" userId="598e0514-bef3-4e71-b6aa-f2edd6441cff" providerId="ADAL" clId="{36D14C0E-B70E-4281-9AD2-7129A7F7BB3E}" dt="2021-12-10T08:04:24.641" v="1680"/>
          <ac:inkMkLst>
            <pc:docMk/>
            <pc:sldMk cId="908767069" sldId="285"/>
            <ac:inkMk id="5" creationId="{91EB05EC-D59B-400F-8486-43F12EEC9D3B}"/>
          </ac:inkMkLst>
        </pc:inkChg>
        <pc:inkChg chg="add">
          <ac:chgData name="Aniket Chhabra" userId="598e0514-bef3-4e71-b6aa-f2edd6441cff" providerId="ADAL" clId="{36D14C0E-B70E-4281-9AD2-7129A7F7BB3E}" dt="2021-12-10T08:04:22.653" v="1676" actId="9405"/>
          <ac:inkMkLst>
            <pc:docMk/>
            <pc:sldMk cId="908767069" sldId="285"/>
            <ac:inkMk id="6" creationId="{02670508-E2A1-4FD5-8273-5A91048CF00F}"/>
          </ac:inkMkLst>
        </pc:inkChg>
        <pc:inkChg chg="add">
          <ac:chgData name="Aniket Chhabra" userId="598e0514-bef3-4e71-b6aa-f2edd6441cff" providerId="ADAL" clId="{36D14C0E-B70E-4281-9AD2-7129A7F7BB3E}" dt="2021-12-11T13:45:06.906" v="1783"/>
          <ac:inkMkLst>
            <pc:docMk/>
            <pc:sldMk cId="908767069" sldId="285"/>
            <ac:inkMk id="7" creationId="{82E055C4-3D5D-4219-817E-88F07235B5CC}"/>
          </ac:inkMkLst>
        </pc:inkChg>
        <pc:inkChg chg="add">
          <ac:chgData name="Aniket Chhabra" userId="598e0514-bef3-4e71-b6aa-f2edd6441cff" providerId="ADAL" clId="{36D14C0E-B70E-4281-9AD2-7129A7F7BB3E}" dt="2021-12-10T08:04:23.158" v="1677" actId="9405"/>
          <ac:inkMkLst>
            <pc:docMk/>
            <pc:sldMk cId="908767069" sldId="285"/>
            <ac:inkMk id="8" creationId="{FB1045D1-BDB8-4BE9-9278-6547C76C384A}"/>
          </ac:inkMkLst>
        </pc:inkChg>
        <pc:inkChg chg="add">
          <ac:chgData name="Aniket Chhabra" userId="598e0514-bef3-4e71-b6aa-f2edd6441cff" providerId="ADAL" clId="{36D14C0E-B70E-4281-9AD2-7129A7F7BB3E}" dt="2021-12-10T08:04:23.663" v="1678" actId="9405"/>
          <ac:inkMkLst>
            <pc:docMk/>
            <pc:sldMk cId="908767069" sldId="285"/>
            <ac:inkMk id="9" creationId="{0742D0D6-E93A-445B-8B12-0E1D664B677A}"/>
          </ac:inkMkLst>
        </pc:inkChg>
        <pc:inkChg chg="add">
          <ac:chgData name="Aniket Chhabra" userId="598e0514-bef3-4e71-b6aa-f2edd6441cff" providerId="ADAL" clId="{36D14C0E-B70E-4281-9AD2-7129A7F7BB3E}" dt="2021-12-10T08:04:24.011" v="1679" actId="9405"/>
          <ac:inkMkLst>
            <pc:docMk/>
            <pc:sldMk cId="908767069" sldId="285"/>
            <ac:inkMk id="10" creationId="{25A85E52-DEF6-4121-8F6E-42EB75BE80C0}"/>
          </ac:inkMkLst>
        </pc:inkChg>
        <pc:inkChg chg="add">
          <ac:chgData name="Aniket Chhabra" userId="598e0514-bef3-4e71-b6aa-f2edd6441cff" providerId="ADAL" clId="{36D14C0E-B70E-4281-9AD2-7129A7F7BB3E}" dt="2021-12-10T08:04:24.801" v="1681" actId="9405"/>
          <ac:inkMkLst>
            <pc:docMk/>
            <pc:sldMk cId="908767069" sldId="285"/>
            <ac:inkMk id="12" creationId="{E023D39A-09FE-48B3-8371-E70B987D3BDE}"/>
          </ac:inkMkLst>
        </pc:inkChg>
      </pc:sldChg>
      <pc:sldChg chg="addSp delSp modSp add mod ord">
        <pc:chgData name="Aniket Chhabra" userId="598e0514-bef3-4e71-b6aa-f2edd6441cff" providerId="ADAL" clId="{36D14C0E-B70E-4281-9AD2-7129A7F7BB3E}" dt="2021-12-10T08:09:05.832" v="1710" actId="1076"/>
        <pc:sldMkLst>
          <pc:docMk/>
          <pc:sldMk cId="1582688715" sldId="286"/>
        </pc:sldMkLst>
        <pc:picChg chg="add del">
          <ac:chgData name="Aniket Chhabra" userId="598e0514-bef3-4e71-b6aa-f2edd6441cff" providerId="ADAL" clId="{36D14C0E-B70E-4281-9AD2-7129A7F7BB3E}" dt="2021-12-10T08:08:51.415" v="1704" actId="478"/>
          <ac:picMkLst>
            <pc:docMk/>
            <pc:sldMk cId="1582688715" sldId="286"/>
            <ac:picMk id="3" creationId="{9CCBE073-6070-4AA6-936B-8DEB6B0FD486}"/>
          </ac:picMkLst>
        </pc:picChg>
        <pc:picChg chg="add del">
          <ac:chgData name="Aniket Chhabra" userId="598e0514-bef3-4e71-b6aa-f2edd6441cff" providerId="ADAL" clId="{36D14C0E-B70E-4281-9AD2-7129A7F7BB3E}" dt="2021-12-10T08:08:53.135" v="1707" actId="22"/>
          <ac:picMkLst>
            <pc:docMk/>
            <pc:sldMk cId="1582688715" sldId="286"/>
            <ac:picMk id="6" creationId="{AAA80205-70F9-4167-BA9F-DF3E3F7ADC28}"/>
          </ac:picMkLst>
        </pc:picChg>
        <pc:picChg chg="add del">
          <ac:chgData name="Aniket Chhabra" userId="598e0514-bef3-4e71-b6aa-f2edd6441cff" providerId="ADAL" clId="{36D14C0E-B70E-4281-9AD2-7129A7F7BB3E}" dt="2021-12-10T08:06:31.316" v="1687" actId="478"/>
          <ac:picMkLst>
            <pc:docMk/>
            <pc:sldMk cId="1582688715" sldId="286"/>
            <ac:picMk id="7" creationId="{CF41B7D4-9C57-417E-B0FF-465A1500B904}"/>
          </ac:picMkLst>
        </pc:picChg>
        <pc:picChg chg="add mod">
          <ac:chgData name="Aniket Chhabra" userId="598e0514-bef3-4e71-b6aa-f2edd6441cff" providerId="ADAL" clId="{36D14C0E-B70E-4281-9AD2-7129A7F7BB3E}" dt="2021-12-10T08:09:05.832" v="1710" actId="1076"/>
          <ac:picMkLst>
            <pc:docMk/>
            <pc:sldMk cId="1582688715" sldId="286"/>
            <ac:picMk id="9" creationId="{27C1334C-E1F9-48B9-BC0A-4C1DB9F4111D}"/>
          </ac:picMkLst>
        </pc:picChg>
      </pc:sldChg>
      <pc:sldChg chg="add del">
        <pc:chgData name="Aniket Chhabra" userId="598e0514-bef3-4e71-b6aa-f2edd6441cff" providerId="ADAL" clId="{36D14C0E-B70E-4281-9AD2-7129A7F7BB3E}" dt="2021-12-10T08:09:10.013" v="1711" actId="47"/>
        <pc:sldMkLst>
          <pc:docMk/>
          <pc:sldMk cId="2780138251" sldId="287"/>
        </pc:sldMkLst>
      </pc:sldChg>
      <pc:sldChg chg="add del">
        <pc:chgData name="Aniket Chhabra" userId="598e0514-bef3-4e71-b6aa-f2edd6441cff" providerId="ADAL" clId="{36D14C0E-B70E-4281-9AD2-7129A7F7BB3E}" dt="2021-12-10T08:09:10.013" v="1711" actId="47"/>
        <pc:sldMkLst>
          <pc:docMk/>
          <pc:sldMk cId="254760549" sldId="288"/>
        </pc:sldMkLst>
      </pc:sldChg>
      <pc:sldChg chg="addSp delSp modSp add del mod">
        <pc:chgData name="Aniket Chhabra" userId="598e0514-bef3-4e71-b6aa-f2edd6441cff" providerId="ADAL" clId="{36D14C0E-B70E-4281-9AD2-7129A7F7BB3E}" dt="2021-12-10T08:09:10.013" v="1711" actId="47"/>
        <pc:sldMkLst>
          <pc:docMk/>
          <pc:sldMk cId="282279561" sldId="289"/>
        </pc:sldMkLst>
        <pc:picChg chg="add del mod">
          <ac:chgData name="Aniket Chhabra" userId="598e0514-bef3-4e71-b6aa-f2edd6441cff" providerId="ADAL" clId="{36D14C0E-B70E-4281-9AD2-7129A7F7BB3E}" dt="2021-12-10T08:08:24.251" v="1699" actId="478"/>
          <ac:picMkLst>
            <pc:docMk/>
            <pc:sldMk cId="282279561" sldId="289"/>
            <ac:picMk id="26" creationId="{602EECC5-AEB7-42BA-A45F-C90DDB47FD9D}"/>
          </ac:picMkLst>
        </pc:picChg>
      </pc:sldChg>
      <pc:sldChg chg="new add del">
        <pc:chgData name="Aniket Chhabra" userId="598e0514-bef3-4e71-b6aa-f2edd6441cff" providerId="ADAL" clId="{36D14C0E-B70E-4281-9AD2-7129A7F7BB3E}" dt="2021-12-10T08:06:49.952" v="1690" actId="680"/>
        <pc:sldMkLst>
          <pc:docMk/>
          <pc:sldMk cId="3926194376" sldId="289"/>
        </pc:sldMkLst>
      </pc:sldChg>
    </pc:docChg>
  </pc:docChgLst>
</pc:chgInfo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767" units="cm"/>
          <inkml:channel name="Y" type="integer" max="32767" units="cm"/>
          <inkml:channel name="F" type="integer" max="8191" units="dev"/>
          <inkml:channel name="T" type="integer" max="2.14748E9" units="dev"/>
        </inkml:traceFormat>
        <inkml:channelProperties>
          <inkml:channelProperty channel="X" name="resolution" value="1290.03943" units="1/cm"/>
          <inkml:channelProperty channel="Y" name="resolution" value="2064.71338" units="1/cm"/>
          <inkml:channelProperty channel="F" name="resolution" value="0" units="1/dev"/>
          <inkml:channelProperty channel="T" name="resolution" value="1" units="1/dev"/>
        </inkml:channelProperties>
      </inkml:inkSource>
      <inkml:timestamp xml:id="ts0" timeString="2021-12-11T11:39:44.442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25120 6074 281 0,'-4'-6'442'0,"-2"-1"-72"0,-2 3-55 0,2-2-56 16,-3 1-16-16,-3 0-36 0,2 2-38 0,-3-2 7 16,-1 3-32-16,1 2 24 0,-6 1-14 0,3 3-11 15,-4 2 1-15,1 4 3 0,3 1-14 0,-2 3-25 16,4 3-12-16,0 1 3 0,5 0 3 0,1 1-12 16,2 0-23-16,3-1 12 0,3 0 12 0,5 0 8 15,3 1-34-15,1-3 3 0,4 1-29 0,2-2 16 16,0-1-34-16,3-3 18 0,2-1-26 0,0-2 16 15,0-1-24-15,-1-4 23 0,-1 0-24 0,-4-4 19 16,2-1-4-16,0-1-3 0,-3-3-2 0,2-3-12 16,-3 1-7-16,-2-4-5 0,0 0-11 0,-1 0 7 15,-2-1-1-15,-1 0 2 0,-1 2 5 0,0 0 4 16,-1 3-5-16,-1-2-7 0,-1 4 1 0,-2 6 1 16,4-7 3-16,-4 7 0 0,0 0 1 0,5 10 6 15,-2 0-16-15,-1 4 15 0,5 3-11 0,-2 4 20 16,1 6-20-16,3 4 25 0,-1-1-16 0,-2 4 20 15,2 5-4-15,-2-3 3 0,-2-2-3 0,-1 0-5 16,-1 2 21-16,-2-1 6 0,0-1-4 0,-2-1 26 16,-1-2 15-16,-3-2 14 0,-1 0 15 0,-2-4 20 15,-1-3-41-15,-1-4 28 0,0-2-30 0,-4-2 30 16,1-3-9-16,-1-4 22 0,1-2-43 0,-2-4 15 16,1-1-40-16,-3-4 15 0,3-2-40 0,-3-4 25 15,0-2-17-15,1-4-24 0,0-3 14 0,2-3-26 16,0-1 20-16,2 0-35 0,4-2-1 0,-1 3-42 15,5-1-4-15,0 1-3 0,1 0-10 0,3 3-15 16,-2 1-24-16,4 0-21 0,1 1 4 0,0 0-47 16,2 2-25-16,1 2-52 0,2-1 6 0,1 3-41 15,2-1-35-15,0 2-16 0,1 0-76 0,3 1 4 16,2-2-394-16,-4 4-344 0</inkml:trace>
  <inkml:trace contextRef="#ctx0" brushRef="#br0" timeOffset="767.12">25498 6107 261 0,'-4'-8'500'0,"-1"2"-80"0,3 0-66 0,2 6-52 15,-8-9-63-15,8 9-53 0,-2-4-39 0,2 4 12 16,0 0 20-16,2 5-22 0,3 2-25 0,0 1-7 15,2 3-19-15,0 2-17 0,2 3 4 16,0 3-32-16,0-1 6 0,0 1-25 0,1 0 9 0,-3 0-24 16,-2 0 14-16,-3-2-27 0,2 0 18 0,-2-1-15 15,-2-3 41-15,-2 1 3 0,1-2 7 0,-3-1-21 16,0-1 6-16,-1-1-16 0,1-3 19 0,-3-1-22 16,7-5 8-16,-12 4-18 0,12-4 7 0,-11-3-25 15,3 1 16-15,4-4-18 0,-1-1 12 0,4-2-14 16,0 0 7-16,1-1 0 0,2-1-3 0,3-2-3 15,2 1-1-15,3-1-2 0,1 0 0 0,3 0-4 16,2-2 3-16,1 4 1 0,2-2-3 0,1 1 1 0,3-1 1 16,-4 2-2-16,4 0 1 0,1 1-1 15,-2 0-3-15,-1 1 5 0,-1-1 0 0,-1 2 0 16,-1-1-1-16,-1 3 5 0,-5-1-1 0,1 1 0 16,-1 2 12-16,-5-2 30 0,1 2-3 0,1 0-9 15,-9 4-9-15,6-5-6 0,-6 5-10 0,0 0 4 16,0 0-1-16,-16 1-1 0,7 1 1 0,-1 5 3 15,-3-1-2-15,1 1-3 0,-3 3 6 0,4-1-1 0,0 2 3 16,-1-2-9-16,1 2 7 0,4 0-4 0,-2 0 28 16,4 1 20-16,1-3-7 0,1 2-6 0,3-3 0 15,3 1 14-15,1-1-6 0,3 1-11 16,2-2 1-16,3-1-9 0,2-1-4 0,0 0-8 0,-1-4-4 16,3 0 0-16,-2-2-5 0,3-3-2 0,-2 1-4 15,1-2-1-15,-4 0 5 0,2-3-2 16,-3-1 1-16,-5 2-4 0,4-4 0 0,-5 1 6 0,-1 0 27 15,0-2-32-15,-3 2 25 0,-3-1-32 0,-1 2 22 16,-3-1-31-16,-2 1 24 0,-2 0-32 0,0 2 32 16,-3 0-50-16,0 3-4 0,3 0-36 0,-3 3-32 15,2 1-57-15,-1 0-32 0,12 0-7 0,-22 3-23 16,13-1-30-16,-1 2-38 0,10-4-38 0,-9 7 12 16,5-2-59-16,4-5 4 0,2 7-400 0,-2-7-291 15</inkml:trace>
  <inkml:trace contextRef="#ctx0" brushRef="#br0" timeOffset="1513.96">26109 6072 448 0,'8'-7'404'0,"0"1"-29"0,-3 3-36 0,-5 3-33 0,10-9-60 0,-10 9-51 16,6-5-57-16,-6 5-15 0,0 0 15 16,0 0-17-16,4 9 19 0,-5-2-9 0,-1 0-20 0,1 3-38 15,1 0 40-15,0 1 0 0,0 3-1 0,0-2 31 16,0 0-11-16,4 2-39 0,-1-1 9 0,-1 0-29 15,6 2 3-15,-3-3-26 0,1-2 21 0,1 3-6 16,-1-3 17-16,4-2-15 0,-3-3-10 0,0 1-11 16,1-2-5-16,2-1-7 0,-10-3-12 0,18 0 2 15,-8-4-8-15,-1 1 1 0,0-4-5 0,0-1-5 16,0-2 0-16,-1 0-6 0,0-2 4 0,0-2-1 16,-3 1-1-16,2 1-1 0,-1 0 1 0,-2 2-3 15,0 0-10-15,1 3 4 0,-1-2-4 0,-4 9 0 16,5-7-1-16,-5 7 7 0,0 0 0 0,0 0-6 15,5 5 9-15,-5-5-1 0,5 13 3 0,-2-3 11 16,-2 0 3-16,4 1 8 0,0 3-20 0,-1 1 22 16,3-1 2-16,0 1 1 0,-2-2-4 0,4 1-3 15,-4 0-4-15,4-1-4 0,-2-2-1 0,2 1 1 16,0-3 1-16,-2 0-3 0,2-2 4 0,0-2-1 16,0-2-7-16,0 0 4 0,-9-3-1 0,18 0-6 15,-9-3 1-15,0-2-3 0,2-2 4 0,-2-2-11 16,-1-2 9-16,2-2-4 0,-1-3 0 0,1-2-5 0,-1 0 3 15,0 0 0-15,0 1-5 0,-4 2 17 16,4 1-9-16,-4 3-3 0,-1 1 1 0,1-1 8 16,-1 4-19-16,0-2-3 0,-4 9 7 0,8-6 33 0,-8 6-6 15,0 0 14-15,9 6 13 0,-6 3-4 0,1 0-14 16,-1 3 23-16,-1 4-1 0,2-1 4 0,1 3 3 16,-1 0-1-16,0 2-13 0,-1 2 2 0,-1-4-9 15,3 1 6-15,-3-2-4 0,0 1-15 0,-2-2 5 16,3 0 1-16,-3-2-4 0,0-3 2 0,0 1 2 15,0-1 8-15,-3-2 14 0,1-2 0 0,-1-2-7 16,3-5-7-16,-9 6-4 0,9-6-4 0,-13-3-7 16,8-2-9-16,-1-4 3 0,-1-2-7 0,2-5-1 15,1-4-14-15,1-3-22 0,1-2-15 0,4-2 14 16,0 1-25-16,2-4 25 0,4 0-27 0,1 3 27 16,2 0-28-16,1 3 9 0,-1 3 6 0,-1 4 1 15,2 2 11-15,-2 1 5 0,3 4 3 0,-4 1 2 16,-2 2 4-16,2 3 5 0,-9 4 29 0,12-4-30 15,-12 4 34-15,0 0-32 0,8 6 29 0,-8-6-34 16,-3 9 33-16,-1-2-30 0,-2 0 25 0,-1 1-23 16,-3 0 30-16,-1 2-35 0,0 0 15 0,-3-2-57 15,0 1-30-15,2-2-34 0,-1 1-32 0,-3-2-40 0,5 0-44 16,-1-1-14-16,2-1-57 0,1-1-32 0,1 1-39 16,8-4-119-16,-11 2-475 0,11-2-564 0</inkml:trace>
  <inkml:trace contextRef="#ctx0" brushRef="#br0" timeOffset="1835.92">27110 5939 150 0,'1'-7'585'0,"-1"7"-83"0,0-11-108 16,0 11-24-16,3-11-79 0,-3 11-52 0,2-6-69 0,-2 6 14 16,0 0 19-16,0 0 36 0,6 6-8 15,-2 3 39-15,-1 0-11 0,0 5-4 0,2 1-49 16,-1 1-17-16,1 6-55 0,1-1-1 0,-2 1-54 16,1 0-7-16,-1 1-19 0,0 1-7 0,0 0-7 0,-1-2-7 15,0-1-11-15,-1 0-4 0,-2-3 2 16,2 0-8-16,-2-2-28 0,0 0-32 0,-2-2-31 15,2-2-30-15,-2-2-52 0,-1-1-27 0,2-3-69 0,1-6-15 16,-4 8-34-16,4-8-80 0,0 0-14 0,-4-5-39 16,2-1-417-16,2-3-405 0</inkml:trace>
  <inkml:trace contextRef="#ctx0" brushRef="#br0" timeOffset="2140.36">27167 6045 349 0,'0'-20'383'0,"2"4"-46"15,0-2-11-15,0 1-41 0,-1-1-41 0,4 1 7 16,-3 2-60-16,1-1-38 0,2 0-17 0,-1 2-4 15,2 2-17-15,-1-1 1 0,2 5-45 0,2-2 3 16,-3 3-35-16,1 0 13 0,1 3-31 0,-8 4 16 16,13-3-25-16,-13 3 17 0,13 4-29 0,-5 0 21 15,-2 4-17-15,-1-2 19 0,-1 4-25 0,-1-1 24 16,-1 2-25-16,2-2 21 0,-3 4-24 0,4-2 24 16,-3 0-24-16,-1 3 23 0,3-1-1 0,0 1-3 15,1 1-25-15,0 0 23 0,2 0-20 0,0-1 21 16,-1 0-17-16,3 2 17 0,-4-2-23 0,3 0 25 15,-2-1-28-15,-2 0 30 0,1-2-24 0,-3 0 26 16,-2 0 24-16,-2-1 45 0,0 1-13 0,-3-3 2 16,-3 3-21-16,-2-3 5 0,-2 1-24 0,1-2 3 0,-3 1-16 15,0-1 11-15,-3-3-19 0,0 2 3 16,-2-2-68-16,0 1-19 0,1-2-63 0,-1 0-43 16,2 0-59-16,-1-1-114 0,4-1-48 0,2-1-445 15,1-1-384-15</inkml:trace>
  <inkml:trace contextRef="#ctx0" brushRef="#br0" timeOffset="3126.17">27293 5446 64 0,'-3'-17'444'0,"-1"0"-126"0,0 3-45 16,-5-4-88-16,-1 1-14 0,-1 0-51 0,-6 0 15 0,-2 1-45 16,-3 0 11-16,-5 0-21 0,-1 3 17 15,-2 1-37-15,-8-1 10 0,-1 4-34 0,-5-1 18 16,1 3-33-16,-7 0 20 0,0 3-27 0,-2 0 12 0,-4 3-23 15,-4 1 22-15,-3 1-21 0,-13 3 15 16,-3 1-20-16,-1 1 14 0,-5 1-18 0,0 1 19 16,-1 1-19-16,-1 2-5 0,3-2 8 0,-2 3 6 15,2 1 20-15,0 0 46 0,0 2-10 0,3 0 1 0,-2 1-19 16,2 2-1-16,3-1-16 0,0 2 13 0,4 0-14 16,1 2 6-16,2-2-11 0,3 2 10 0,3 2-28 15,2 0 11-15,4 2-4 0,6-2 9 0,2 2-12 16,10-5 7-16,1 3-9 0,6-2 13 0,3 1-18 15,2 0 11-15,8-3-10 0,1 3 10 0,2-2-9 16,2 4 7-16,2-1-6 0,3 0 12 0,2 1-1 16,1 0 4-16,2-1-8 0,1 3 2 15,2 2-12-15,2-2 12 0,0 4-13 0,1-1 9 0,1 6-8 16,0 0 15-16,0 1-19 0,3 1 14 0,0-1-15 16,1 5 17-16,0 1-20 0,4 0 23 0,-2 1-16 15,2-2 17-15,3 1 2 0,-1 0-1 0,4 1-2 16,0-1-25-16,2 1 34 0,0 0-15 0,3-1-1 15,4 5 5-15,3 1-1 0,-1-4-3 0,3 1-3 16,2-2 2-16,1 0-1 0,3-3-1 0,0 1 5 16,3 0-7-16,1-2-2 0,3-2 5 0,-1-1 1 15,2 0 0-15,2-3-1 0,1 1-30 0,0-2 39 16,1 1-32-16,2-5 12 0,-3 1 33 16,4-2-38-16,-1-2 30 0,1 0 19 0,1-3 51 0,-6-4-29 15,5-1 3-15,0-3-2 0,1-2 8 0,3-2 35 16,-1-3-27-16,2-2-2 0,2-3-24 0,-1-2 44 15,1-2-19-15,1-2-9 0,-1-1-24 0,12-4 0 16,-2-1-18-16,-1-2 7 0,1 0-21 0,0-1 8 16,0-1-12-16,-1 0 12 0,1-1 6 0,-1-1-2 15,-2-2-3-15,1 0-4 0,0-1-3 0,-2-2 0 16,0 1-3-16,-1-4-4 0,0 1 0 0,0-1-3 16,-2-3-9-16,0 0 8 0,-2-3 2 0,-1 1-4 15,0-3-22-15,-4-1 26 0,0 1 0 0,-5-3-5 16,1 0 0-16,-4-1 2 0,-1 0-1 0,-4 0-7 0,-2-1 8 15,-2 0-4-15,-5 4-2 0,3-6 4 0,-7 5-19 16,-1 0 25-16,-1-1 3 0,-2 1 22 16,-2-2-23-16,-1 1 17 0,-1 0-8 0,-2 0 29 0,-2 1-23 15,-2-1 15-15,-3-1-27 0,-1 5 19 0,-4-2-12 16,-1 1 1-16,-4 0-3 0,0-2-7 0,-2 0 2 16,-4 2-1-16,-1-7-3 0,-5 1-6 0,-2 0-14 15,-2-1 28-15,-4-1-30 0,-7-6 25 0,-2 1-19 16,-3 0 25-16,-4 2-15 0,-4-2 23 0,-3 3-20 15,-4 2 18-15,-3 2-22 0,-7 3 16 0,-3 1-30 16,-4 5 18-16,-4 0-29 0,-5 1 16 0,-2 3-51 16,-4 1 4-16,-1 4-34 0,0 0-4 0,-2 2-37 15,0 4-20-15,3 1-35 0,0 2-38 16,1 3-57-16,2 0-39 0,-3 5-123 0,6 1-423 0,9 2-420 16</inkml:trace>
  <inkml:trace contextRef="#ctx0" brushRef="#br0" timeOffset="11095">14110 12297 138 0,'37'-15'121'0,"5"-2"-7"0,0-1-44 0,4 0 10 15,-2 0 0-15,3 0-11 0,-2 3-17 0,-3 0-7 0,3 0-6 16,-4 4-14-16,-7 3-3 0,-1 1-1 0,-4 4-25 16,-3 0-55-16,-1 3-197 0,-4 0 81 0</inkml:trace>
  <inkml:trace contextRef="#ctx0" brushRef="#br0" timeOffset="11601.1">15033 12668 483 0,'-17'3'448'0,"0"-2"-66"0,6 2-72 15,-2-2-37-15,4 1-14 0,-1-1-20 0,10-1-45 16,-15 3-10-16,15-3-6 0,-7 4 8 0,7-4 5 16,12 5-30-16,2-1-13 0,5-2-30 0,9 2 1 15,7 0-30-15,7-1-2 0,6 1-30 0,6 0-3 16,2 0-18-16,2 2 4 0,-1-2-13 0,-3-1 0 15,0 1-19-15,-1-2-23 0,-4 0-38 0,-7 1-24 16,-2 0-50-16,-2-2-21 0,-7 1-100 0,-2-1-18 16,-1 1-50-16,-7 0-16 0,-1-1-17 0,-6 2-58 0,-1 0-209 15,-4 1-127-15</inkml:trace>
  <inkml:trace contextRef="#ctx0" brushRef="#br0" timeOffset="11806.33">15437 12955 320 0,'-41'14'389'0,"0"-3"-7"0,1 2-90 0,10-4 15 0,3 1-108 16,5-3 17-16,3 2-14 0,6-4 55 0,4 1-56 16,5-1 2-16,4-5-16 0,3 10-3 0,6-7-41 15,2 1-12-15,8-3-35 0,2 1-9 0,8-4-29 16,2 1 0-16,6-3-20 0,2 2 5 0,6-4-22 16,1 0 10-16,-1 0-18 0,-8 1 11 0,0-1-38 15,-4 0-34-15,-1 1-41 0,-5 1-47 0,-4-1-47 16,-2 1-62-16,-2 0-63 0,-5 2-47 0,-1 0-119 15,-3-1-233-15,-10 3-215 0</inkml:trace>
  <inkml:trace contextRef="#ctx0" brushRef="#br0" timeOffset="79144.78">15150 3634 113 0,'3'-6'272'0,"-2"1"-71"0,4-3-21 0,-1 1 30 16,4 0-21-16,-2-2 2 0,2 0-28 0,2-1 0 16,1 1 7-16,1-1 10 0,-3 1-63 0,4 0 16 15,-6 2-45-15,1-1 24 0,0 3-55 0,-2 0 16 16,-1 1-49-16,-1-1 26 0,-4 5-46 0,0 0 37 16,0 0 31-16,12 5 52 0,-15 1-63 0,2 2 10 15,-3 2-41-15,-4 4 16 0,0-2-6 0,-4 6-5 16,-5 2-5-16,-2 3 28 0,-4 2-6 0,0 0-10 15,-4 2-3-15,2-2 4 0,-2-2-5 0,1 4-5 0,-2-3-9 16,1 0 10-16,2 1-16 0,-1-1 8 0,1-1-20 16,2-3-18-16,3 0-18 0,0-2 9 15,0 0-38-15,4-3 18 0,1 0-50 0,1-2 18 0,0-1-49 16,2-1 20-16,3-4-26 0,-1 0 24 0,4-1-84 16,-1-2-29-16,7-4-73 0,-10 2-73 0,10-2-202 15,-9-6-81-15</inkml:trace>
  <inkml:trace contextRef="#ctx0" brushRef="#br0" timeOffset="79464.78">14734 3667 145 0,'1'-8'214'0,"-1"8"-60"0,5-6-31 15,-5 6-21-15,0 0 13 0,11-1-16 0,-11 1-15 0,12 5-3 16,-2-1-6-16,-1 1-5 0,0 3-16 15,3-2 8-15,-1 2 9 0,2 2 0 0,1-1-25 16,0 4 11-16,1 0 16 0,1 0 12 0,0 1-30 16,0 1 17-16,0-1-3 0,0 3 4 0,0-3-34 0,-2 2 13 15,2 0-2-15,-2-1 30 0,2 1-48 16,-4 0 26-16,2-2-32 0,-4 0 57 0,4 1-3 0,-5-3-10 16,0-2-44-16,-1 0 23 0,1-2-9 0,-4 0-30 15,1-1 71-15,-2-1-8 0,1 0 53 0,-1-1 13 16,-4-5 32-16,9 7 3 0,-9-7-20 0,6 5-33 15,-6-5-25-15,0 0-20 0,0 0-35 0,13 0-86 16,-13 0-71-16,6-6-58 0,-6 6-87 0,7-7-166 16,-7 7-506-16,6-10-507 0</inkml:trace>
  <inkml:trace contextRef="#ctx0" brushRef="#br0" timeOffset="80930.82">27198 6448 134 0,'0'0'332'0,"-9"-6"-3"16,9 6 19-16,-8-4-58 0,8 4-36 0,-8-6-5 15,8 6-19-15,-7-5-28 0,7 5-4 0,-4-6-14 16,4 6-38-16,0 0-31 0,3-9-22 0,3 4-5 16,4 2-32-16,1-1-12 0,5 1-5 0,2 1-10 15,2 0-5-15,1 1-1 0,7 1-4 0,0-1-4 0,-1 1-4 16,1-2 1-16,-1 2-4 0,-4-1 2 0,-2 1-1 16,-1-1-11-16,-1 0 14 0,-5 1-1 0,0-1-17 15,0 0-45-15,-3-1-25 0,-11 2-38 0,20-1-50 16,-20 1-70-16,13 0-31 0,-13 0-23 15,0 0-70-15,9 3-257 0,-9-3-125 0</inkml:trace>
  <inkml:trace contextRef="#ctx0" brushRef="#br0" timeOffset="81136.81">27149 6556 281 0,'-8'6'445'16,"1"-1"-70"-16,7-5-63 0,-5 6-74 0,5-6-37 15,5 4-29-15,-5-4-20 0,19 1-5 0,-5-1-19 16,4 0-31-16,0 0-11 0,4-1-12 0,-1-2-15 16,0 2-12-16,3 0-10 0,2-1-7 0,-1-1-5 15,2 1-16-15,-6 1 13 0,-1-1-5 0,-1 1-30 16,-2 0-61-16,-2-2-82 0,-3 2-82 0,-12 1-33 16,20 1-54-16,-20-1-262 0,16 2-102 0</inkml:trace>
  <inkml:trace contextRef="#ctx0" brushRef="#br0" timeOffset="83342.63">6667 7165 212 0,'-14'1'291'16,"14"-1"-42"-16,0 0-39 0,0 0-27 15,-12 0-30-15,12 0-33 0,0 0-22 0,0 0-22 16,0 0-16-16,-11 2-13 0,11-2-3 0,0 0 21 0,0 0 3 15,10 2 6-15,-10-2 8 0,14 1-5 0,-1-1-5 16,2 1-10-16,3-1-14 0,3 1 7 16,2 0-1-16,3 0-11 0,4 2-9 0,-1-2-3 0,3 1 6 15,-1-1-4-15,5 1 5 0,-4-1 0 0,-2-1-7 16,0 1-4-16,-1 1 1 0,-1-2-3 0,-2 1 7 16,-6 0-11-16,2-1-2 0,-3 0-3 0,-5 0 11 15,0 1 15-15,0-1-1 0,-14 0 5 0,21 0-12 16,-21 0-2-16,16 0-6 0,-16 0-2 0,14-1 0 15,-14 1-11-15,0 0-2 0,0 0-43 0,0 0-21 16,0 0-47-16,-6-6-37 0,6 6-54 0,-9-3-43 16,9 3-64-16,-10-7-85 0,3 4-163 0,1-2-52 15</inkml:trace>
  <inkml:trace contextRef="#ctx0" brushRef="#br0" timeOffset="84084.86">7709 6060 112 0,'0'-9'193'16,"0"0"-54"-16,0 1-29 0,-2-2-20 0,1 1-8 15,0-1 4-15,-1 2-17 0,0-2-16 0,-1 2-10 16,1-2-7-16,-2 3-9 0,1-2-5 0,-3 2-4 15,0 0-4-15,-1 0 0 0,1 2-10 0,-3-1 6 16,-1 1-5-16,-2 0 0 0,-3 2-2 0,-2 1-1 16,1-2-1-16,-4 3-1 0,0 0 1 0,-2 1 1 15,-1-1-1-15,-4 2-1 0,2-1-4 0,-3 1 5 16,1 1 6-16,0 1-9 0,0-2-4 0,3 0 2 16,-2 0 0-16,5 1-1 0,0 1 4 0,1-1-2 0,-1 1 2 15,0-1-2-15,1 2 4 0,2-2 1 16,2-1-5-16,-1 2 1 0,1-1 2 0,3 2-3 15,1-3 2-15,-2 3-1 0,3-3-4 0,-1 1 3 16,2-1 2-16,1 2 0 0,9-3 1 0,-17 2-4 0,17-2 5 16,-15 5 1-16,15-5 4 0,-15 4 1 0,15-4 3 15,-14 4-4-15,14-4 0 0,-14 4-6 0,6-1 0 16,-1 1 2-16,0 1-3 0,0-1 2 0,0 0 0 16,-1 3 3-16,-1 0 5 0,0 1 0 0,0 2-1 15,-2-1 4-15,0 4 32 0,-1 2-12 0,1 0-4 16,-1 2-6-16,0 5 2 0,-1-1 32 15,1 3 15-15,-3 3-21 0,1 4 6 0,-2 0 28 0,1 3 9 16,-1 0-32-16,3-1 31 0,0 0 3 0,-1 2-14 16,2-1 5-16,1-6-18 0,3 0-9 0,-1 0 3 15,-1 1 1-15,2-4-1 0,4-1-18 16,-1-1 6-16,1-2 4 0,2 1-9 0,-1-1-10 0,1-3-6 16,0-1-11-16,4 0-1 0,-2-1 4 0,2-3-4 15,0 1-5-15,0-2-3 0,2-1 5 0,-2 1-6 16,3-2 4-16,-1-1 0 0,3 0 1 0,-1 0-4 15,3-3-29-15,-1-2-27 0,3 2-61 0,1-2-26 16,2-2-51-16,2 0-49 0,0-1-55 0,2-1-296 16,4-3-97-16</inkml:trace>
  <inkml:trace contextRef="#ctx0" brushRef="#br0" timeOffset="84702.07">7775 5991 119 0,'5'-6'265'0,"-5"6"-51"15,5-10-46-15,-5 10-41 0,5-9-22 0,-5 9-19 16,7-7-7-16,-7 7-11 0,4-8-9 0,-4 8-17 16,2-6-3-16,-2 6-22 0,0 0-6 0,6-6-9 15,-6 6 2-15,0 0-3 0,0 0-1 0,0 0-1 16,0 0 1-16,8 5 4 0,-8-5 1 0,0 6 2 0,0-6 10 15,-1 12 0-15,1-12 1 0,-3 13 0 16,3-3 5-16,-1 0 30 0,0 1-4 0,-1 1-11 0,1 2-5 16,1 1 20-16,-2 3-1 0,0 0-10 15,1 3-3-15,1 2-15 0,-2 2 62 0,-1-2-7 0,-1 5-14 16,0 1-9-16,0 2-11 0,-1-2 5 0,-4 2 17 16,3-1-7-16,-3 1-6 0,1-2-6 0,-1 0 5 15,2 0 1-15,-2 0-9 0,-1-2-10 0,2-1-5 16,0 1-4-16,-1-5-2 0,0 1-4 0,3-2-2 15,-2 1 2-15,2-1-9 0,-2 0-2 0,3-1-1 16,-1 2 1-16,-1-3-8 0,2 2 7 0,0-1 9 16,0-2 33-16,1 0-25 0,2 0 11 0,-2 0-22 15,1-1 11-15,1-1-19 0,-1 1 13 0,2-1-12 16,-2-2 7-16,3 1-15 0,-1-2 10 0,1-1-11 16,-1 1 13-16,1-1-10 0,-2-1 14 0,1 0-15 15,1-2 9-15,0 1-13 0,0-3 17 0,0 3-20 16,0-4 20-16,0 1-38 0,-2 0-16 0,2-7-9 15,-3 11-28-15,2-5-33 0,1-6-39 0,-7 8-57 0,2-3-61 16,-1 0-87-16,-3-1-228 0,0-2-96 16</inkml:trace>
  <inkml:trace contextRef="#ctx0" brushRef="#br0" timeOffset="85508.05">6464 6793 9 0,'0'0'241'0,"0"0"-62"15,0 0-48-15,-8 3-9 0,8-3-21 0,1 10-18 16,-1-10 26-16,7 12-18 0,-4-2-16 0,3-1 21 15,-1 2-17-15,2 1-13 0,1 1-8 0,-2 0 30 16,2 2-10-16,1-1-17 0,-1 0-5 0,-1 2 5 16,1-1-7-16,1 0-11 0,-3-1-7 0,1 1-3 15,-2-2-10-15,1 3-2 0,1-4-5 0,-2 2-2 16,-1-2-1-16,-2 0 3 0,2-2 2 0,-1 2 4 16,-1-4 54-16,-1 2-11 0,1-3-17 0,-1 0-7 15,3 1-11-15,-4-8-8 0,1 10-4 0,2-4 2 16,-3-6-1-16,5 9 27 0,-5-9 1 0,10 5-7 0,-10-5-3 15,19 4-13-15,-6-2-3 0,2-2-4 16,3-2-3-16,5 1-3 0,4-2-3 0,1 2-1 16,1-1-5-16,6 0 4 0,2-1-6 0,0 1 1 0,4 0 2 15,-3-1 1-15,2-1-3 0,8 2 1 16,0-2 1-16,-6 2-2 0,-1 1 2 0,-1-1-19 0,-2-1 14 16,1 0 9-16,-1 1-7 0,-8 1 3 15,0 0-2-15,-5 0 3 0,-3 1-10 0,-2-2-3 0,-2 2 13 16,-2-1-4-16,-1 0 4 0,-4 1 30 0,1-1 13 15,-12 1 3-15,19 0 27 0,-19 0-9 0,18-1 14 16,-18 1-21-16,13 0 18 0,-13 0-27 0,10-1 4 16,-10 1-26-16,0 0 6 0,13-2-19 0,-13 2 13 15,0 0-24-15,10-1 14 0,-10 1-40 0,0 0-67 16,0 0-72-16,9-1-65 0,-9 1-66 0,0 0-136 16,6 5-291-16,-6-5-224 0</inkml:trace>
  <inkml:trace contextRef="#ctx0" brushRef="#br0" timeOffset="86397.88">8030 5812 231 0,'-8'2'264'0,"8"-2"-52"0,-13 4-31 0,13-4-45 16,-9 3-22-16,9-3-18 0,0 0 14 0,0 0 3 15,0 0-4-15,6 6 4 0,2-9-12 0,7 1-9 16,3-1 7-16,5-2-6 0,3 2-3 0,3-5-14 0,3 2-15 15,0 1-7-15,1-3-13 0,-1 1-7 16,0 2-8-16,-4-1-3 0,-5 0-2 0,0 3-2 16,-2-2 0-16,-5 1 2 0,1 1 28 0,-3 0-3 0,-4 1 0 15,0 0-14-15,1-2-5 0,-11 4-6 0,10-5-6 16,-10 5-4-16,0 0-40 0,0 0-38 16,0 0-37-16,-8-5-48 0,8 5-69 0,-13 3-75 15,13-3-309-15,-15 3-116 0</inkml:trace>
  <inkml:trace contextRef="#ctx0" brushRef="#br0" timeOffset="100529.71">28689 1590 209 0,'0'-8'212'0,"-2"2"-38"0,1-1 9 0,1 7-30 16,-3-13-2-16,3 13-29 0,0-9-32 0,0 9-29 15,-1-7-7-15,1 7-13 0,0 0 64 0,0 0-2 16,0 0-24-16,-5 6-23 0,3 1 3 0,0 2-27 16,1 5 32-16,-2 1 42 0,-1 8-22 0,0 2 2 15,-2 8-35-15,-2 8 8 0,-1 2 10 0,0 4-5 16,-2 3-10-16,-1 10 23 0,0 4-37 0,-1 3 29 16,1 2-53-16,-2 5 3 0,3 0-6 0,-1 2 31 15,1 1-8-15,0 0 24 0,1 1-47 0,4-1 41 16,-2 2-47-16,4 3 34 0,-2 0-26 0,0 1 25 15,1 0-38-15,-2 0 31 0,1-4-25 0,-1 3 30 16,0-2 0-16,0 1-9 0,1 0-3 0,-2-2-28 16,3-2 27-16,-4-1-24 0,4-4 26 0,-1-3-30 15,-1-4 27-15,0-11-8 0,2-3 1 0,-1-4-1 16,1-2 1-16,-1-3 1 0,1-7 18 0,-2-3-19 16,2-2 8-16,0-4-87 0,-1-5-27 0,-1-2-68 15,0-3-88-15,0-4-115 0,0-4-449 0,-2-2-341 16</inkml:trace>
  <inkml:trace contextRef="#ctx0" brushRef="#br0" timeOffset="101074.29">26260 3355 259 0,'-19'2'276'15,"3"-2"-25"-15,4 2-25 0,1-1-31 0,-1 0-44 0,12-1-16 16,-14 1-21-16,14-1-8 0,0 0-7 16,0 0 19-16,11-2-31 0,7-1 20 0,6 1-17 0,12-2 38 15,11-2-53-15,10 2 24 0,18-4-55 16,7 2 40-16,9-1-43 0,7 0 34 0,9 1-44 0,28-1 34 16,8 1-30-16,9 1 32 0,2 0-25 0,5 2 21 15,6 1-31-15,3 1 33 0,4 1-14 0,-1 2 9 16,1 0-29-16,2 4-4 0,4-2-7 0,-2 3-3 15,-1 1 27-15,0 0-34 0,3 2 0 0,-2-1 0 16,-4 2-1-16,-1-1 23 0,-1 1-31 0,-3 0 15 16,1-2 19-16,-7 2-4 0,-5-2 5 0,-3 1-6 15,-5 1-5-15,-2 0-1 0,-7-2-6 0,-5 2-2 16,-6 0 2-16,-25-4-6 0,-5 1-2 0,-6-1-1 16,-5 0 32-16,-7-3-37 0,-20 1 32 0,-2-2-41 15,-11-1 37-15,-7 0-33 0,-10-2 40 0,-3 0-44 16,-6 0 37-16,-2 0-56 0,-6-2-32 0,-4 0-107 15,-9 2-13-15,7-5-41 0,-7 5-47 0,-12-7-25 16,1 3-68-16,-8-1-41 0,-6-1-228 0,-9-1-138 0</inkml:trace>
  <inkml:trace contextRef="#ctx0" brushRef="#br0" timeOffset="102879.44">29432 2010 245 0,'-13'2'233'0,"7"2"24"0,-5 4-29 0,-1 0 0 15,-2 2-19-15,-3 1-13 0,-1 2-32 0,0 0-16 16,-3 1 27-16,1 2-56 0,-1-2 7 0,0 2-64 15,5-2 31-15,-2-1-60 0,2 2 21 0,0-1-31 16,0 0-6-16,1-2-2 0,4 2 1 0,0-3 2 16,0-1-8-16,2-1 1 0,1 0-21 0,-1-3-15 15,4 2 3-15,0-5-19 0,5-3-43 0,-8 6-35 16,8-6-64-16,0 0-44 0,0 0-35 0,0 0-272 16,-2-9-38-16</inkml:trace>
  <inkml:trace contextRef="#ctx0" brushRef="#br0" timeOffset="103130.26">29113 2067 230 0,'0'0'291'0,"1"-10"-81"0,-1 10-26 15,1-8-63-15,-1 8-9 0,1-7-56 0,-1 7 7 0,0 0-34 16,0 0 38-16,0 0-23 0,8 3 46 0,-8-3 28 16,6 11-22-16,-3-3-13 0,-1 1 23 0,4 2 2 15,-3 0-12-15,4 3 12 0,-2 0-25 0,1 2 22 16,-2 0-62-16,4 2-7 0,-1 0-5 0,0 0-5 15,-1 0-8-15,1-2 1 0,-2 0-15 0,2-1 13 16,-3 0-7-16,1-1 43 0,-1-1 3 0,1-2-15 16,-1 0-11-16,-3-1 3 0,3-2-7 0,-1 0 1 15,-1-2 3-15,-2-6 2 0,3 12-11 16,-3-12-46-16,0 0-92 0,-3 7-100 0,3-7-147 16,0 0-343-16,-10-2-215 0</inkml:trace>
  <inkml:trace contextRef="#ctx0" brushRef="#br0" timeOffset="103956.62">29594 2603 290 0,'0'0'429'0,"0"0"-85"0,0 0-49 15,-5 4-39-15,5-4-19 0,0 0-27 16,0 0-16-16,0 0-29 0,0 0-25 0,0 0-27 16,-5 3-24-16,5-3-14 0,0 0-12 0,0 0-20 0,0 0-10 15,0 0-4-15,0 0-4 0,-6 6 4 0,6-6-10 16,0 0-57-16,-5 4-39 0,5-4-53 0,0 0-66 15,-7 6-72-15,7-6-112 0,0 0-245 0,0 0-138 16</inkml:trace>
  <inkml:trace contextRef="#ctx0" brushRef="#br0" timeOffset="104114.26">29836 2662 462 0,'6'4'454'15,"-6"-4"-73"-15,0 0-94 0,0 0-47 0,8 3-49 0,-8-3-38 16,0 0-30-16,0 0-29 0,0 0-19 0,0 0-22 16,0 0-14-16,0 0-72 0,0 0-65 0,10 3-48 15,-10-3-62-15,0 0-76 0,0 0-25 16,0 0-155-16,0 0 55 0</inkml:trace>
  <inkml:trace contextRef="#ctx0" brushRef="#br0" timeOffset="104300.69">30137 2564 311 0,'0'0'459'0,"0"0"-97"0,7-5-73 0,-7 5-55 0,0 0-54 16,0 0-24-16,5-5-38 0,-5 5-33 0,0 0-12 15,0 0-46-15,0 0-54 0,0 0-67 16,0 0-47-16,0 0-120 0,0 0-34 0,0 0-169 15,0 0 53-15</inkml:trace>
  <inkml:trace contextRef="#ctx0" brushRef="#br0" timeOffset="104457.74">30272 2572 23 0,'0'0'226'0,"0"0"-22"0,-7-7-80 0,7 7-6 16,0 0-116-16,-9-6-44 0,9 6-167 0,-7-5 66 16</inkml:trace>
  <inkml:trace contextRef="#ctx0" brushRef="#br0" timeOffset="104628.44">30038 2371 2 0,'-12'-7'388'0,"3"0"-98"16,0 1-64-16,2 0-45 0,0 0-36 0,-2 0-32 15,2 1-26-15,0 1-26 0,7 4-29 0,-9-9-83 0,9 9-69 16,-7-6-51-16,7 6-16 0,-7-3-125 0,7 3 229 16</inkml:trace>
  <inkml:trace contextRef="#ctx0" brushRef="#br0" timeOffset="104770.34">29888 2328 28 0,'0'0'102'0,"-7"4"-67"0,7-4 24 0,0 0-96 0,0 0 13 0,0 0-33 0,0 0 20 15</inkml:trace>
  <inkml:trace contextRef="#ctx0" brushRef="#br0" timeOffset="105035.29">29783 2477 39 0,'0'0'168'0,"-7"5"-59"0,7-5 4 16,-7 4-62-16,7-4-1 0,-5 6-109 0,5-6 12 15,-2 4-91-15,2-4 39 0</inkml:trace>
  <inkml:trace contextRef="#ctx0" brushRef="#br0" timeOffset="105141.7">29801 2535 208 0,'0'0'205'0,"0"0"-86"0,0 0 3 0,0 0-70 0,0 0-32 16,0 0-92-16,0 7-136 0,0-7 65 0</inkml:trace>
  <inkml:trace contextRef="#ctx0" brushRef="#br0" timeOffset="105287.7">29924 2594 249 0,'0'0'339'0,"0"0"-16"0,0 0-49 0,0 0-64 16,10-3-43-16,-10 3-42 0,0 0-12 0,0 0-43 15,5-6-106-15,-5 6-156 0,0 0-93 0,-5-5-144 16,5 5 102-16</inkml:trace>
  <inkml:trace contextRef="#ctx0" brushRef="#br0" timeOffset="105501.82">29507 2312 130 0,'-5'-5'346'0,"-1"1"-100"0,6 4-66 0,-7-6-37 15,7 6-89-15,-7-5-86 0,7 5-23 0,0 0-46 16,0 0-184-16,0 0 260 0</inkml:trace>
  <inkml:trace contextRef="#ctx0" brushRef="#br0" timeOffset="105621.07">29579 2320 61 0,'-4'-5'276'0,"4"5"-78"0,0 0-49 0,0 0-68 16,-1-7-112-16,1 7-201 0,4-5 75 0</inkml:trace>
  <inkml:trace contextRef="#ctx0" brushRef="#br0" timeOffset="105756.98">29729 2245 15 0,'0'0'288'0,"0"0"-88"0,0-9-61 0,0 9-68 16,0 0-72-16,3-8-41 0,-3 8-172 0,9-5 69 16</inkml:trace>
  <inkml:trace contextRef="#ctx0" brushRef="#br0" timeOffset="105872.6">29934 2218 72 0,'0'0'225'15,"9"3"-64"-15,-9-3-62 0,0 0-36 0,0 0-45 16,10 3-61-16,-10-3-57 0,8 3-55 0,-8-3 38 16</inkml:trace>
  <inkml:trace contextRef="#ctx0" brushRef="#br0" timeOffset="106004.28">30116 2298 100 0,'0'0'130'0,"9"5"7"15,-3-1-63-15,-6-4 15 0,13 6-47 0,-7-2 25 16,3 0-80-16,-1 1-27 0,-1-1-145 0,1-1 52 16</inkml:trace>
  <inkml:trace contextRef="#ctx0" brushRef="#br0" timeOffset="106670.24">31101 2195 91 0,'0'0'174'16,"0"0"-75"-16,9 4 9 0,-9-4-55 0,6 3 19 15,-6-3-39-15,9 9 25 0,-2-6-47 0,0 3-50 16,1 1-172-16,1-2 67 0</inkml:trace>
  <inkml:trace contextRef="#ctx0" brushRef="#br0" timeOffset="106812.36">31308 2501 113 0,'0'0'440'0,"-9"5"-132"0,9-5-33 15,0 0-50-15,-8 6-27 0,8-6-50 0,0 0-32 16,-5 2-23-16,5-2-64 0,0 0-93 0,-4 6-85 15,4-6-156-15,0 0-145 0,0 8 74 0</inkml:trace>
  <inkml:trace contextRef="#ctx0" brushRef="#br0" timeOffset="106965.78">30982 2730 204 0,'-6'3'290'0,"-1"1"-58"0,7-4-80 0,-8 4-6 16,8-4-62-16,-6 5-37 0,6-5-99 0,-5 7-91 16,5-7-156-16,0 0 239 0</inkml:trace>
  <inkml:trace contextRef="#ctx0" brushRef="#br0" timeOffset="107124.39">30666 2878 414 0,'-15'2'360'0,"6"-1"-50"0,9-1-29 0,-16 2-91 15,16-2-12-15,-12 0-123 0,12 0-92 0,0 0-130 16,-8-3-330-16,8 3 11 0</inkml:trace>
  <inkml:trace contextRef="#ctx0" brushRef="#br0" timeOffset="107263.72">30882 2849 154 0,'0'0'215'0,"0"0"-104"0,17 0-129 16,-17 0-129-16,19-2 39 0</inkml:trace>
  <inkml:trace contextRef="#ctx0" brushRef="#br0" timeOffset="107542.04">31038 2212 37 0,'0'0'234'0,"-5"-10"-109"0,5 10-61 0,-4-7-130 16,4 7-65-16,-5-6 40 0</inkml:trace>
  <inkml:trace contextRef="#ctx0" brushRef="#br0" timeOffset="107686.68">30794 2175 104 0,'0'0'111'0,"0"0"-19"0,-1-9-102 15,1 9-37-15,9-4-39 0,-1 0 30 0</inkml:trace>
  <inkml:trace contextRef="#ctx0" brushRef="#br0" timeOffset="107802.07">31120 2099 19 0,'10'-4'425'0,"-10"4"-109"16,13-4-34-16,-13 4-76 0,13-4-28 0,-13 4-62 0,8-3-9 15,-8 3-39-15,0 0-9 0,9-2-96 0,-9 2-55 16,0 0-117-16,0 0-49 0,0 10-117 15,0-10 171-15</inkml:trace>
  <inkml:trace contextRef="#ctx0" brushRef="#br0" timeOffset="109290.39">29459 2785 128 0,'0'0'338'0,"0"0"-45"0,0 0-63 15,-3 9-49-15,3-9-14 0,-5 11 29 0,1-4-8 16,-1 1-60-16,1 0 20 0,-2 1-20 0,0 0 21 16,1 0-70-16,-1 1 20 0,1-1-70 0,1 1 50 15,-1 0-26-15,-1-1-39 0,1 1 31 16,0 0-39-16,1-2 33 0,-1 0-36 0,1 1 34 16,1-1-63-16,-2-1-8 0,0-1-69 0,5-6-15 0,-4 9-60 15,4-9-99-15,-2 4-84 0,2-4-158 0,0 0-21 16</inkml:trace>
  <inkml:trace contextRef="#ctx0" brushRef="#br0" timeOffset="109607.64">29419 2818 5 0,'0'0'259'0,"0"0"-16"0,2 6-14 15,-2-6-39-15,1 8-40 0,-1-8 3 0,2 12-30 16,-2-6 53-16,4 2-27 0,-1 0 5 0,-2 2-57 15,3 1 10-15,0-2-48 0,-2 2 24 0,3 0-44 0,-1-1 13 16,1 3-26-16,1-2 17 0,1 0 8 0,-2 0 46 16,2-1-53-16,-2 0 27 0,2-2-46 15,-2 0 52-15,2-2-7 0,-1 0 59 0,-1-1-23 16,3 0 10-16,-2-2 41 0,-6-3 25 0,12 3-42 16,-12-3-11-16,13-1 46 0,-13 1 14 0,11-6-42 0,-6 2-16 15,0-2 11-15,2-1-26 0,-2 0-27 0,-1-2 11 16,0 0-14-16,-1 0-18 0,1-1-12 15,-1-1-5-15,-1 1-15 0,3-1 0 0,-3 1-17 16,0 0-12-16,1 0-63 0,-2 2-56 0,0 0-54 16,1 3-118-16,0-2-54 0,-2 7-100 0,-1-10-43 0,1 10-55 15,-3-8-336-15,3 8-423 0</inkml:trace>
  <inkml:trace contextRef="#ctx0" brushRef="#br0" timeOffset="111427.49">29826 1916 30 0,'3'-11'203'0,"-1"4"12"15,-1-1-57-15,0 1-10 0,2 0-61 0,-2-2 12 16,0 2-53-16,-1 0 24 0,2-2-41 0,-2 3 32 15,0-3-46-15,0 2 46 0,0-2-10 0,0 2 13 16,-2 2-35-16,1-3 19 0,0 0-35 0,-2 1 21 16,1 0-30-16,-3 0 23 0,0-1-30 0,-2 1 29 0,-1-1-35 15,-1 0 31-15,-3-2-36 0,0 3 30 16,-2 0-27-16,0-1 24 0,-2-1-27 0,-1 1 26 16,-2 0-28-16,-2 0 30 0,3-1-26 0,-3 2 28 15,1-1-33-15,-3 2 33 0,2-1-26 0,-1 1 25 16,0 1-33-16,3 2 32 0,-4-1-28 15,4-1 26-15,0 3-29 0,0-1 33 0,1 1-33 0,-1 1 32 0,-1 0-36 16,1 1 34-16,6-1-30 0,-3 2 36 16,0 0-39-16,2 0 37 0,0 0-33 0,-2 2 25 15,2 0-23-15,-2 2 35 0,1-1-36 0,-2 0 30 16,3 1-30-16,-2 0 30 0,2 1-23 0,-2 1 24 16,1-1-30-16,0 2 25 0,2-3-24 0,-2 3 22 15,2-1-30-15,0 0 32 0,0 2-28 0,2-2 35 16,-2 1-39-16,1 0 36 0,0 1-32 0,1-1 16 15,0 0-14-15,-1 1 34 0,2-1-36 0,2 2 34 16,-2-1-37-16,1 1 37 0,0 0-34 0,2 0 31 16,-1-1-27-16,0 2 35 0,1 0-35 0,3-2 27 15,-3 2-27-15,0 1 28 0,0-1-31 0,4-2 30 16,-3 2-37-16,3 0 41 0,-1-1-33 0,0 1 35 16,0-1-33-16,2 1 30 0,-2 0 3 0,1 0-14 15,1 0 6-15,-1-1-3 0,-1 1-4 0,3 0-2 16,0-1 4-16,-1 1-2 0,-3-2 1 0,4 1-2 15,0-1 7-15,-2 1 17 0,3 0-11 0,-2 0 6 16,0 0-6-16,2 0-3 0,-1-1 3 0,0 1-16 16,-2-2 2-16,3 2 10 0,0-3-11 0,-1 1 1 15,0 2 6-15,-1 0-11 0,2-3 2 0,-1 1 3 16,0-1-2-16,1 1 0 0,-2 2 2 0,2-3-3 16,-1 2 0-16,1-1 0 0,0-1 2 0,1 2 0 15,-1-2 1-15,2 0-10 0,-1 2 4 0,0-2 7 16,1 0 3-16,0 0-13 0,-1 1 37 0,3-1 13 15,0 1-9-15,-1-1-4 0,-1 0-1 0,3 1-9 16,-1-1-6-16,1-1-2 0,-1 1-1 0,1-1 2 16,0 2 51-16,2-1-13 0,-1-2-7 15,1 2-10-15,-1 0-5 0,0-1 2 0,3 0-14 0,0 0-3 16,-1 0 2-16,2 0-10 0,0 1-7 0,-1-2 11 16,0 1-10-16,5 0 5 0,-3 0 0 0,1 0 3 15,1 0-4-15,0 0-2 0,0-2-2 0,-2 3 3 16,4-2-5-16,-2 1-3 0,1 0 10 15,-1-1-11-15,-1 0 9 0,2 0 0 0,-1 1-1 0,-1-1 5 16,2-1 0-16,-2 0-1 0,-1 1 4 0,0 0-10 16,1-3 2-16,-2 3 9 0,3-1-12 0,-1-1 7 15,-1 1-2-15,1-1 0 0,-1 1 2 0,0 0-1 16,0-1 7-16,-1 1 0 0,2-2 7 0,-1 0-9 16,-2 2 3-16,1-1 21 0,2-1 2 0,-3 0 9 15,0 0 4-15,2 0-8 0,-11-2-3 0,18 1 7 16,-18-1 2-16,19 2-13 0,-19-2-2 0,20 2-4 15,-8-1 1-15,-12-1-13 0,23 0-3 0,-12 0-1 16,-11 0 18-16,22-1 38 0,-22 1 1 0,22-2-13 16,-10 1-9-16,-1 0-9 0,1 1 3 0,-1-2-6 15,0-1-6-15,1 2-8 0,-1-1 2 0,-2 0-3 16,2-1-4-16,-1 0-1 0,-1 2 22 0,3-1 30 16,-3 0-11-16,0-2-8 0,1 2-1 0,-10 2 9 15,15-5-8-15,-15 5-7 0,15-5-1 0,-15 5-9 16,13-6-8-16,-4 3-7 0,-2-1-3 0,-7 4 2 15,14-6-3-15,-8 3-14 0,-6 3 10 0,15-7-5 16,-8 3 1-16,0 0-3 0,1 1 3 0,2-1 0 16,-3-2 1-16,0 3-2 0,1-1 4 0,1 0 17 15,-1-1 5-15,-1 0 0 0,1 0 24 0,1-1-8 16,-3 1-9-16,2-1-6 0,-2 2-4 0,3-2-4 16,-4-2-4-16,3 3-2 0,-3-2-2 15,2 0-4-15,0 0-1 0,0 0-1 0,-2 0-2 16,1 0-1-16,-1-1-1 0,2 1 2 0,-2 0-5 0,0 0-2 15,1 0-2-15,-2-1 4 0,1 0 0 0,0 0 0 16,0 1 1-16,-1-1 3 0,1 1 24 0,-1 0-2 16,-1-2-10-16,1 2-1 0,1-2 5 0,-3 1-6 15,1 0 8-15,-1-1-7 0,0 1-6 0,0 0-3 16,-2 1 5-16,3-2-8 0,-3 1 2 0,2 1-4 16,-2-2 2-16,0 1 0 0,0-1-3 0,2 1 2 15,-2-1-2-15,0 1-2 0,0-1-3 0,0 1-1 0,0-2 7 16,0 2-6-16,0-2 3 0,0 1 2 0,0-1-1 15,-2 1-1-15,2-1-1 0,0 1 0 16,-1-2 1-16,0 1 1 0,-2 0-3 0,2 1-1 0,0-1-2 16,-1 0 2-16,-2 0 0 0,3 1 53 0,-3-2-61 15,-1 1 48-15,2 0-59 0,-1 0 58 0,-1 0-60 16,-1-1 62-16,1 1-64 0,-5-3 51 0,4 1-73 16,-3 0 51-16,0 1-56 0,-3 1 46 0,2-2-60 15,-3 1-27-15,-1-1 15 0,0 0-75 0,-4 1-47 16,-1 2-44-16,1-1-30 0,-5 2-94 0,-4-2-131 15,-3 1-383-15,-4 1-442 0</inkml:trace>
  <inkml:trace contextRef="#ctx0" brushRef="#br0" timeOffset="114064.75">29837 2216 93 0,'0'0'282'16,"-1"-6"-57"-16,1 6-25 0,0 0-8 0,0-9-33 16,0 9-36-16,0 0-28 0,-2-9-3 0,2 9 21 15,0 0-6-15,-1-9-1 0,1 9-1 0,0 0-24 16,-2-7-20-16,2 7-14 0,0 0-12 0,-2-7-9 16,2 7-5-16,-5-5-10 0,5 5-5 0,0 0 4 15,-7-7-7-15,7 7 3 0,-7-2-2 0,7 2 0 16,-11-4 0-16,11 4-1 0,-12-2-3 0,12 2 1 15,-13-1-3-15,13 1 0 0,-15-1 0 0,15 1 5 16,-13 0-4-16,13 0 4 0,-17 1-3 0,17-1 7 16,-17 1-14-16,17-1 3 0,-17 3 4 0,17-3 2 0,-15 3-1 15,5-1-6-15,10-2 4 0,-14 2-1 16,14-2-2-16,-16 4 1 0,16-4 3 0,-14 3-2 16,14-3 4-16,-11 7-6 0,11-7-1 0,-13 5 10 15,7-1-16-15,6-4 12 0,-11 7 1 0,5-2-7 16,1-1 4-16,0 0 6 0,1 1-9 0,-1 1 3 0,1-1-1 15,0 2-6-15,-2-1 11 0,3 0-10 16,-1 2-1-16,-1-1 11 0,3-2-1 0,-2 3 1 16,1-1 0-16,1 0-2 0,-3-1-1 0,3 1-1 15,0-1 1-15,-1 2-1 0,1-2 1 0,-1-1-5 16,0 3 8-16,2-3 5 0,1-5-4 0,-4 12-2 16,4-6 48-16,-2-1-14 0,2-5-5 0,-3 13-5 15,3-13-12-15,0 11 5 0,0-11-7 0,0 11 5 16,0-11 3-16,0 13-2 0,0-13-2 0,1 11-5 15,-1-11 0-15,4 10 5 0,-2-4-5 0,0 0-2 16,1 0-5-16,-1-1 11 0,2 1-2 0,-1 0 21 16,1-1-6-16,1-1-1 0,0 1-8 0,-1 0-2 15,1-1 1-15,-5-4-1 0,9 8-5 0,-2-4-4 16,-7-4 3-16,9 6-4 0,-9-6 6 0,13 5 1 16,-13-5-5-16,10 6 4 0,-10-6-1 0,13 3-2 15,-13-3-1-15,15 1-2 0,-15-1-4 16,13 1 4-16,-13-1-4 0,14 2 4 0,-14-2-3 0,16-2-2 15,-16 2-4-15,12 0 0 0,-12 0 0 0,18-1 7 16,-18 1-4-16,13-2-5 0,-13 2 5 0,17-4 2 16,-17 4-2-16,14-2 1 0,-14 2 0 0,15-4 0 15,-15 4-2-15,14-3 1 0,-14 3-3 0,15-4 0 16,-8 2 5-16,1-1-1 0,-8 3 2 0,13-5 1 16,-5 2 1-16,-1 0 14 0,0 1 8 0,-7 2-6 15,14-7-3-15,-7 4-4 0,-1-1 0 0,-6 4 1 16,13-6 42-16,-7 2-13 0,1-1-11 0,-1 2-1 15,-1-2-12-15,1 1 6 0,0 0-6 0,-1 0-6 16,0-1-1-16,-5 5 34 0,10-7-4 0,-10 7 1 16,9-10-15-16,-4 6-9 0,-2-1 0 0,2 0 0 15,-3 0-1-15,2 0-5 0,1 0-1 0,-1-2-2 16,-1 1-4-16,-1 0 0 0,2 1 7 0,-1-1-9 16,-1 1 0-16,0-2-2 0,-2 7 3 0,3-10-3 15,-3 10 0-15,4-12 21 0,-4 12-27 0,3-11 17 16,-3 11-23-16,0-10 22 0,0 10-22 0,-3-11 17 15,3 11-18-15,-1-10 25 0,1 10-31 0,-4-10 23 16,4 10-18-16,-2-8 18 0,2 8-22 0,-7-9 25 16,7 9-24-16,-4-7 26 0,4 7-26 0,-6-7 24 15,6 7-22-15,-8-6 20 0,8 6-22 0,-7-6 26 0,7 6-24 16,-9-5 20-16,9 5-22 0,-9-6 24 16,9 6-24-16,-12-5 26 0,12 5-24 0,-9-5 22 15,9 5-22-15,-10-4 7 0,10 4 1 0,-11-5-10 0,11 5 24 16,-11-4-23-16,11 4 22 0,-9-3-20 0,9 3 21 15,-10-4-24-15,10 4 22 0,-11-2-24 0,11 2 23 16,-11-4-27-16,11 4 30 0,-12-3-23 0,12 3 18 16,-11-1-15-16,11 1-5 0,-12-1 26 0,12 1-30 15,-11-1 22-15,11 1-16 0,0 0 18 0,-14 0-20 16,14 0 25-16,-12 1-32 0,12-1 25 0,-11 2-17 16,11-2 28-16,-10 4-33 0,3 0 25 0,7-4-22 0,-12 6 23 15,4-2-18-15,2 0 19 0,-2 2-23 0,1-1 29 16,0 1-25-16,1-1 26 0,-3 1-32 15,1 0 3-15,2 0 2 0,-1 1 5 0,-2 0 4 16,3 1-2-16,0-2-2 0,-2 2 5 0,0-1-2 16,3 1-2-16,-2 0-3 0,1-1 6 0,1 0 1 0,-2 1-3 15,2-1 5-15,1 2 4 0,0-3-5 0,-1 3-2 16,2-2 1-16,-1-2 0 0,2 2 1 0,-1 0 0 16,1-1 2-16,-1 0 1 0,3 0-5 15,0-6 1-15,-4 11 6 0,4-11-1 0,0 9-4 16,0-9 6-16,2 10 0 0,-2-10 3 0,5 8-6 15,-5-8 0-15,9 9 2 0,-9-9-5 0,9 7 4 0,-2-2 2 16,0-2-4-16,3 0-3 0,-2 0 3 0,2 1-2 16,0-2 2-16,0 1-2 0,2-2 1 15,0 1-1-15,0 1 0 0,1-2 0 0,-2-1 3 16,1 1-4-16,2-1-1 0,-3 0 2 0,3 0 0 16,-1 0 4-16,-1-1 2 0,0 0-5 0,1-1-1 0,0 0 0 15,-2 0-3-15,1 0 12 0,-1 0 38 0,0 0-1 16,0-3-5-16,-1 3-10 0,1-3 47 0,-2 1-3 15,1 1-9-15,-1-2-10 0,0 0-14 16,0 0 14-16,-2-1 19 0,2 2-16 0,-2-3-10 16,2 3 4-16,-2-3-4 0,0 0-12 0,-1 2-1 15,2-1-1-15,-2-2 0 0,-1 3-5 0,2-2-7 0,-2 0-8 16,-1 1 7-16,2 0 13 0,-2 0-5 16,-2 0-9-16,2 0-4 0,-1 0-4 0,-1 0-3 15,0 0 2-15,-2 6-6 0,1-12-1 0,-1 12-4 16,-1-12 0-16,1 12-8 0,-3-12 5 0,-1 6-3 0,0 0 5 15,-1 0-10-15,-1 1 8 0,0 0-3 0,-2 0-4 16,0 1-4-16,-2 0 7 0,0 0-7 0,-1 1 5 16,-3-1 2-16,4 2 4 0,-3 0-11 0,-1-1 9 15,0 2-2-15,0-1 5 0,1 1-4 0,-1 0 1 16,3 1 3-16,-1-1 0 0,-2 1-5 0,14 0 9 16,-21 0-8-16,21 0-1 0,-17 0 2 0,17 0-5 15,-17 0-39-15,17 0-7 0,-12 0-23 0,12 0 20 16,-11 1-73-16,11-1-35 0,-12 2-67 0,12-2 39 15,-9 4-102-15,9-4-36 0,-8 5-61 0,8-5-432 16,-10 5-363-16</inkml:trace>
  <inkml:trace contextRef="#ctx0" brushRef="#br0" timeOffset="115344.15">29454 2034 164 0,'0'0'267'0,"-2"-13"-24"15,1 6-82-15,-1 0 24 0,0-1-45 0,-2 0 11 16,1-1-44-16,0 3 5 0,-2-3-49 0,-1 2 11 16,1 0-34-16,-1-1 3 0,1 1-22 0,-1 1 12 15,-1-1-26-15,0 2 20 0,-1 1-30 0,0-1 20 16,-2 0-23-16,-1 1 29 0,-1 2-33 0,1 0 28 16,-3-1-31-16,-2 3 25 0,2-1-26 0,-2 2 30 15,-2-1-29-15,-1 3 24 0,-1-1-25 0,1 0 29 16,-1 2-30-16,-1 1 32 0,-2 1-32 0,3 0 30 15,-1 1-5-15,0 0-3 0,0 1 3 0,2 1-7 16,-1 0 0-16,1 1-7 0,2 1 8 0,0 1 0 16,1-1 6-16,0 2-10 0,2-1 2 0,3 1-3 15,-1-1 2-15,4 1 1 0,0 2 8 0,1-2 15 16,1 1-25-16,1 2 0 0,1-2 18 0,1 2-4 16,1 0 2-16,-1-2-2 0,1 1-9 0,2 0 4 15,0-1 1-15,0 3-3 0,2-1 2 0,1-1-5 16,-1 1 10-16,1 0 1 0,-1-2-6 0,2 2 6 15,0-2 2-15,1-1 9 0,-1 2-4 0,4-2 0 16,-3 0-7-16,1-1 3 0,1 0-7 0,-1-1 2 16,3 1 1-16,-1-3 18 0,1 1 7 0,-2-2-4 15,5 1-1-15,-2-2-1 0,3-1-3 0,-2 1-4 16,2-2 9-16,2 0 1 0,-2-1 2 0,4-2 1 16,-4 0-1-16,2-1-2 0,0-1 18 0,2 0-4 15,0-1 3-15,2-2-5 0,0-1 4 0,-1-1-12 16,3-1 12-16,-1-2-5 0,1-1-6 0,-2 1-9 15,-2-3-3-15,4 0 48 0,-4 1-2 0,-3-2-21 16,3 0 13-16,-4 0 19 0,0-3-12 0,-1 1-14 16,-1 0 38-16,-4 0-13 0,2 1 8 0,-2-2 22 15,-1 3-29-15,-1-4-10 0,-2 1-21 0,-1 0-15 16,-2 0-5-16,0 1-5 0,-2-2 8 0,-1 0-6 16,-1-1-5-16,-1 1 0 0,-1-3-7 0,-3 0 7 15,1 1-20-15,-2-2 1 0,0 2-3 0,-2 2-1 16,1-2 3-16,-3 0-6 0,2 2 50 0,-1 0-65 15,-1 0 0-15,0 1-78 0,-2 2 10 0,2 0-93 0,-2 0-36 16,1 1-28-16,-2 2-10 0,3 0-5 16,-1 2-59-16,0 1-8 0,-6 0-99 0,3 2-314 0,-2-1-238 15</inkml:trace>
  <inkml:trace contextRef="#ctx0" brushRef="#br0" timeOffset="125403.62">25751 2804 119 0,'76'-6'108'0,"3"1"-23"16,3 0-14-16,3 1-20 0,2 1-12 0,2 0-6 16,3 1-8-16,0 1-6 0,2-1-4 15,-1 2-13-15,1 0-72 0,0 0-86 0,-2 2 39 0</inkml:trace>
  <inkml:trace contextRef="#ctx0" brushRef="#br0" timeOffset="126388.32">28785 2301 100 0,'0'0'323'0,"5"-5"-71"0,-5 5-64 16,0 0-41-16,4-6-27 0,-4 6-11 0,0 0-12 15,-2-8-20-15,2 8-21 0,-7-9-11 0,0 6-5 0,0-3 2 16,-4 1 4-16,-2-2 19 0,-2 1-29 16,-3-1 5-16,-3 0-13 0,-4 0-4 0,-5 0 0 15,-2 1-16-15,-2-1 8 0,-1 1 5 0,-11-1-10 16,1 0-2-16,-2 3 0 0,-1-1 3 0,-2 0-6 0,-2 0 0 15,-1 1 1-15,-1-1 1 16,1 1-6-16,-1 0 2 0,2 1 2 0,1-2-2 0,0 2 0 0,4-3-18 16,0 3 22-16,9 0-2 0,1-1-6 0,2 2-20 15,8-3-11-15,-1 1-4 0,4 0-32 16,0 2-18-16,6-1 1 0,1 2-6 0,2-3-33 0,2 1-37 16,2 1-66-16,2-2-112 0,2 1 205 0</inkml:trace>
  <inkml:trace contextRef="#ctx0" brushRef="#br0" timeOffset="126662.58">27635 1888 35 0,'0'0'133'0,"-4"-7"12"0,4 7-73 0,-9-5 17 0,9 5-61 15,-16 1 52-15,5 0-48 0,0 4 37 0,-4 0-28 16,0 2 18-16,-2 3-32 0,1-1 90 0,0 2-48 15,0 1 1-15,2 0-30 0,0 0 26 0,4-1-18 16,1 1 20-16,1 1 0 0,1-1 11 0,2 0-16 16,2 0-8-16,1-1-3 0,2 1-13 0,1 0-1 15,0-1-5-15,4-1 9 0,3 3-19 0,-2-3 19 0,3 1-25 16,-1-2 22-16,1 1-28 0,0-1-12 16,1-1-56-16,0-1-52 0,-2 0-50 0,0-3-48 15,-1 1-222-15,3-2 103 0</inkml:trace>
  <inkml:trace contextRef="#ctx0" brushRef="#br0" timeOffset="127767.55">25474 1140 145 0,'-5'5'293'0,"1"1"-91"15,-2 1 34-15,-1 2-64 0,2 4 6 0,-1 0 9 16,-1 0-15-16,2 1-33 0,1 2-2 0,1-1-29 16,0-2-14-16,1 0-21 0,0-1-10 0,2 0-4 15,-1 0-10-15,0-2 57 0,1-1-45 0,0 0 19 16,0-2-32-16,0 0 65 0,0-7-15 0,0 12 24 15,0-12-52-15,2 7 17 0,-2-7-40 0,0 0-13 16,0 0-5-16,14-5-6 0,-9-1-4 0,0-1-8 16,3-4-2-16,0-1-1 0,-1-1 3 0,1 0-7 15,0-2 34-15,1 1-44 0,0 1 37 0,-3 1-46 16,-1 0 38-16,0 4-47 0,2-1 33 0,-5 2-43 16,3 2 41-16,-5 5-45 0,4-6 48 0,-4 6-42 15,0 0 5-15,0 0 6 0,7 4 0 0,-7-4 7 16,3 8 5-16,-3-8-1 0,7 10 6 0,-5-4 1 15,2-1 1-15,1 2 3 0,0 0-3 0,1-1 26 16,-1-1-19-16,2 0-4 0,-2 0 5 0,1-1-2 16,1 0 2-16,-7-4 2 0,17 5 1 0,-17-5-1 15,19 1-3-15,-8-2 12 0,1-1-18 0,1-1 5 16,-2-1 45-16,0 0-56 0,1 0 45 0,-3 0 20 16,0 1 60-16,1-1-51 0,-1 1 21 0,-4 0-61 15,-5 3 35-15,12-4-62 0,-12 4 34 0,0 0-43 16,0 0 37-16,13 3-38 0,-13-3 38 0,2 8-38 15,-2-8-4-15,-2 11 5 0,2-11 6 0,-3 13 1 16,3-5 4-16,-1 0-4 0,1 0 2 0,0 0-81 0,0 1-4 16,0-1-29-16,0 1 34 0,1-1-46 15,2 1 19-15,1-1-35 0,-2-1-15 0,3 0-4 16,-1-1-11-16,4-1 3 0,-1 0-27 0,0-1-12 16,1-2-17-16,-8-2 13 0,19 1-58 0,-8-2-133 15,1-3 139-15</inkml:trace>
  <inkml:trace contextRef="#ctx0" brushRef="#br0" timeOffset="128001.55">25956 1351 153 0,'10'-6'224'0,"-2"0"-13"15,-1 1 38-15,-2 2-37 0,-5 3-4 16,9-6-46-16,-9 6-36 0,7-5-44 0,-7 5 1 16,0 0-32-16,0 0 6 0,0 0-33 0,0 0 18 15,0 0-31-15,-8 6 15 0,8-6 2 0,-1 7 0 0,1-7 35 16,0 8 11-16,0-8 2 0,1 9-21 16,-1-9 0-16,7 9-13 0,-2-5 3 0,1 0-8 15,0-1-7-15,-1 1-3 0,-5-4-6 0,12 6-2 0,-12-6 3 16,17 3-7-16,-17-3-1 0,14 1-5 0,-14-1-1 15,14-3 2-15,-14 3 0 0,13-7 1 16,-8 2-6-16,1-1-1 0,-4 1-1 0,1-2 1 16,-3 0-4-16,-1 0-1 0,-2 0-2 0,-2-2-43 15,0 2-27-15,-1 0-34 0,-1 0-5 0,0 1-63 0,-2 0-12 16,2 0-47-16,-2 0 10 0,2 1-240 0,-1 0 55 16</inkml:trace>
  <inkml:trace contextRef="#ctx0" brushRef="#br0" timeOffset="128381.62">26238 1244 87 0,'5'7'291'0,"-1"2"-108"0,-1-2-12 0,-2 2-70 16,2 0 54-16,0 0-21 0,-1 0 1 0,0 1-16 0,1-2 3 16,-1 1-1-16,1-1-24 0,-2 0-18 15,3-2 3-15,-1 1 32 0,-1-2 3 0,-1 1 30 16,-1-6 54-16,7 9-51 0,-7-9 4 0,7 4-63 0,-7-4-13 15,0 0-19-15,13-2-2 0,-13 2-6 16,12-5-17-16,-6-1-6 0,-1-1-2 0,3 0-6 16,-3-1-5-16,4-2-4 0,-1-1-28 0,-1-1-2 0,0 2-55 15,2-1 2-15,-4 1-24 0,1 2-58 0,-1-1-34 16,-1 1-11-16,1 1-25 0,0 1-18 0,0-2 36 16,-1 5 4-16,-4 3 74 0,7-7-3 15,-7 7 47-15,7-7-25 0,-7 7 55 0,9-2-19 0,-9 2 51 16,0 0 39-16,12 4 40 0,-12-4-24 0,6 5 50 15,-6-5-37-15,5 9 66 0,-5-9-39 0,7 12 49 16,-6-5-29-16,0 2 1 0,2-1-32 0,-1 2 5 16,-2-1-9-16,2 2-10 0,-1-1-6 0,0 1-1 15,-1-1-16-15,0 1-11 0,1-1-28 0,-2 1-67 16,1-1-38-16,0-1-46 0,-1-2-45 0,1 0-42 16,-1 0-122-16,1-7 167 0</inkml:trace>
  <inkml:trace contextRef="#ctx0" brushRef="#br0" timeOffset="128526.62">26463 1246 63 0,'1'-13'348'0,"1"1"-67"15,-2 2-58-15,1 0-46 0,-1 1-37 0,1-1-36 16,-1 2-19-16,3-1-30 0,-2 2-80 0,-1 7-83 16,3-11-54-16,-3 11-40 0,5-8-104 0,-5 8 234 15</inkml:trace>
  <inkml:trace contextRef="#ctx0" brushRef="#br0" timeOffset="128968.04">26675 1269 180 0,'0'0'240'0,"0"0"-8"0,16 1-88 0,-16-1 6 16,11-4-57-16,-3 2-13 0,1-3-16 0,-2 0-10 15,1 0-16-15,-1 0-11 0,1-2 8 0,-4 1-2 16,1 2-7-16,-5 4-5 0,4-8-7 0,-4 8-7 15,-4-5-4-15,4 5-1 0,-15 0-4 0,15 0 2 16,-17 6 5-16,7-2 17 0,3 1-31 0,-2 2 31 16,1 1-22-16,0 0 44 0,3 0-29 0,1 2 88 15,0-1 2-15,3 1-8 0,1 1-10 0,3-2-17 16,1 1 17-16,1-2 5 0,2 1-11 0,0-2-12 16,2 0-13-16,0-2-9 0,3 0-11 0,0-2-6 15,-1 0-2-15,2-2-6 0,-1-1 0 0,0-3-3 16,1 1-2-16,-1-1-4 0,-1-5-2 0,1 1-4 15,-1-1-2-15,1-3-20 0,-3 0 20 0,1 0 1 16,-1 0-5-16,-1 2-2 0,-1-1-2 0,1 2 30 16,-3-1 21-16,0 4-28 0,0-2 5 0,-1 1-23 15,0 3 10-15,-4 3-14 0,7-6 14 0,-7 6-15 16,0 0 16-16,13 2-18 0,-13-2 12 0,7 6-9 16,-3-1 0-16,-1 1 1 0,0 0 0 15,1 3 2-15,-2-1-1 0,0 0 3 0,-2 1 4 16,0-1-2-16,-2 2-2 0,0-1 1 0,-1 1-31 0,-1-2-10 15,-3 2-31-15,0-2-21 0,1 1-11 0,-2-2-40 16,-2 0-33-16,4 0-41 0,-3-1-34 0,2 1-25 16,-3-4-181-16,2 2 68 0</inkml:trace>
  <inkml:trace contextRef="#ctx0" brushRef="#br0" timeOffset="131442.7">27491 1157 180 0,'0'0'207'0,"0"0"-64"15,0 0-4-15,0 0 4 0,0 7-19 16,0-7-11-16,-3 13 75 0,-1-5-52 0,1 2 9 0,0 1-52 16,0 1 38-16,-2-1-14 0,3 2-30 0,-2 0-9 15,0 1-14-15,1-2-31 0,-3-1 17 0,4 0-13 16,-2 0-5-16,1 0-10 0,1-2 1 16,-2 1-5-16,2-1-3 0,-2 0 1 0,3-2 3 15,-1 1-1-15,-1-2-7 0,1-1 1 0,2-5 3 0,-3 10-3 16,3-10-40-16,-2 7-18 0,2-7-50 0,0 0-68 15,0 0 1-15,0 0-43 0,0 0-58 0,0 0-194 16,0 0 63-16</inkml:trace>
  <inkml:trace contextRef="#ctx0" brushRef="#br0" timeOffset="131788.21">27447 1176 12 0,'0'0'330'0,"-5"-3"-105"0,5 3-61 16,0 0-37-16,0 0 18 0,-9 1 2 16,9-1 34-16,-1 8-25 0,1-8 11 0,2 13-7 0,2-3-23 15,-1-1-26-15,3 4 18 0,2-2-13 0,2 3-32 16,-2-2-10-16,2 1-15 0,1 1-11 0,0 0-8 16,-2-3-4-16,1 3-7 0,-2-2 14 0,-1 1-78 15,0-1-64-15,-1 0-81 0,-5-3-117 16,3 2-369-16,-4-2-176 0</inkml:trace>
  <inkml:trace contextRef="#ctx0" brushRef="#br0" timeOffset="133575.85">29579 2656 1 0</inkml:trace>
  <inkml:trace contextRef="#ctx0" brushRef="#br0" timeOffset="135365.69">29386 2936 102 0,'0'0'262'0,"0"0"-53"15,0 0-17-15,0 0-31 0,0 0-4 0,0 0-33 16,0 0-2-16,0 0-38 0,0 0-5 0,0 0-29 15,0 0-6-15,0 0-20 0,0 0 0 0,0 0-24 16,0 0 13-16,-5 5-22 0,5-5 14 0,0 0-18 16,0 0 10-16,-1 7-6 0,1-7 6 0,-2 6-2 15,2-6 4-15,-2 9-12 0,2-9 13 0,-2 11-2 16,0-4 4-16,-1 0-14 0,3 1 12 0,-5 0-4 16,3 2 19-16,-1 1 24 0,-1-3-3 0,-1 3-7 15,3 1-9-15,-4-2-4 0,3 0 1 0,-1 1-10 16,-3 0 4-16,2-2-3 0,0 1 5 0,0 0-9 15,-1 0 5-15,-2-2 7 0,2-1 18 0,-3 0 0 16,2 0 3-16,-3 0-4 0,1-2 6 0,0 0-5 16,-2 0-3-16,-1-2 1 0,2 0-10 0,-3-1-5 15,0 0 3-15,-3 0-4 0,0-2 12 0,-3 0-20 16,1 0 26-16,-3-1-36 0,-1-2 26 0,-5 2-30 16,3-2 29-16,-4 0-35 0,-2 1 25 0,3-2-17 15,-2 1 22-15,0-1-29 0,-5 1 30 0,6-1-35 16,-1 0 20-16,0 1-18 0,-1 0 36 0,1 0-31 15,1 0 25-15,-2 0-23 0,2 0 25 0,0 1-36 16,2-1 33-16,0 0-28 0,-1 2 25 0,1-2-25 16,-1 0 26-16,3 1-26 0,0 0 28 0,3-1-30 15,0 2 31-15,-1-1-23 0,1 1 15 0,1-1-22 16,-2-1 28-16,3 1-25 0,-1 1 30 0,-1-2-31 16,2 2 28-16,-1-2-27 0,2 1 27 0,-1 0-32 15,-2 0 30-15,3 0-34 0,-2-1 34 0,-1 1-25 16,3 0 27-16,-2-1-27 0,1 1 27 0,0 0-31 15,0-1 29-15,-1 0-30 0,1 2 27 0,1 0-27 16,2-1 32-16,-2-1-29 0,2 2 27 0,1 0-28 16,2 0 32-16,-1-1-32 0,0 0 29 0,1 1-30 15,-1 0 15-15,0 0-9 0,-1-1 25 0,1 1-32 16,0 0 29-16,0 0-24 0,0-2 29 0,2 2-30 16,-1 0 24-16,-1 0-31 0,1-1 38 0,1 0-31 15,0 1 28-15,2-1-22 0,-1 0 26 0,0 0-30 16,2 1 29-16,-2-3-34 0,2 2 26 0,0 0-33 15,-1-1 39-15,1 0-31 0,0-1 34 0,-1 0-32 16,3 1 31-16,-2-1-35 0,0 1 33 0,-1-1-31 16,2 0 22-16,1 0-21 0,-3 0 26 0,3-1-23 15,0 2 28-15,0-1-12 0,7 4 43 0,-13-6-41 16,13 6 34-16,-10-8-42 0,10 8 24 0,-9-5-28 16,9 5 28-16,-6-7-37 0,6 7 34 0,-8-7-28 15,8 7 24-15,-6-7-32 0,6 7 59 0,-5-7-36 16,5 7 33-16,-4-8-44 0,4 8 35 0,-4-9-52 0,4 9 49 15,-3-11-40-15,0 6 35 0,3 5-40 16,-3-13 39-16,3 6-35 0,-1 0 31 0,0-1-35 16,-1-2 14-16,1 1-12 0,0-3 35 0,-1 2-37 15,2-2 1-15,0 0-8 0,-1 0 18 0,0 0-3 16,1-2 1-16,0 2 5 0,-2-2-3 0,4 1 1 0,-2-2-3 16,0 1 3-16,0-1 3 0,1 0-1 15,0 1-3-15,-1-1 2 0,0 2 1 0,2 0-1 16,-1 0 2-16,0 1 2 0,1 0-3 0,-1 1 2 15,0 0-4-15,0 1 3 0,1 1-2 0,1 0-2 16,-3 2 5-16,2 0-4 0,-1 0 2 0,-1 7 4 16,1-12 3-16,-1 12-4 0,1-10 3 0,-1 10-2 15,3-8-1-15,-3 8-1 0,1-7-8 0,-1 7 19 16,2-7-17-16,-2 7 7 0,0 0-4 0,2-9 4 16,-2 9 0-16,0 0 0 0,0-7 2 0,0 7-7 15,0 0 6-15,3-6 1 0,-3 6-10 0,0 0 8 16,0 0 0-16,0 0-6 0,0 0 4 0,0-7-5 15,0 7-4-15,0 0 5 0,0 0-1 0,0 0-3 16,0 0 6-16,0 0-3 0,0 0 5 0,-7 5 0 16,7-5 0-16,-9 6-4 0,9-6 8 0,-10 7-4 15,4-4-2-15,1 1 1 0,-2 1-5 0,0-1 8 16,0 0-6-16,0 1 7 0,1 0 0 0,-1-2-3 16,-1 2 2-16,0-1 1 0,2 1-1 0,0-2 1 15,6-3-2-15,-12 6 0 0,12-6-4 0,-9 5 4 16,9-5 5-16,-9 5 1 0,9-5-3 0,-7 3 2 15,7-3 25-15,0 0 24 0,-8 5 42 0,8-5-31 16,0 0-16-16,0 0 25 0,0 0-52 0,0 0 31 16,4-9-46-16,3 3-1 0,-2 2-3 0,3-3-5 15,1 1 2-15,0-2 5 0,1 1-1 0,1-1-1 16,0 1-4-16,-1-2 1 0,2 2-5 0,-1 0 35 16,-2 1-37-16,0 0 34 0,1 1-47 0,-3 1 40 15,-1-1-31-15,-6 5 22 0,12-6-36 0,-12 6 41 16,10-4-40-16,-10 4 41 0,0 0-36 0,14-1 6 15,-14 1-6-15,9 5 12 0,-9-5 0 0,9 4 2 16,-4 1 0-16,-1 0-17 0,0 0-16 0,0-1-31 16,-2 4-40-16,4-1-7 0,-2 0-36 0,-1 0-62 15,-1 0-4-15,1 1-24 0,-2 0-68 0,2-1-139 16,-1-1 74-16</inkml:trace>
  <inkml:trace contextRef="#ctx0" brushRef="#br0" timeOffset="136361.35">27498 2225 165 0,'-1'6'155'0,"1"-6"-25"0,0 0 5 0,-4 5-28 15,4-5-4-15,-4 5 1 0,4-5-8 0,-8 5-5 16,8-5 15-16,-11 5-13 0,11-5 0 0,-13 5-10 0,3-2 6 16,1-2-11-16,0 1-17 0,-3 0-7 0,1-1-14 15,-3 0 1-15,3 0-5 0,-2-1-5 16,0 0 24-16,0-1-25 0,-2 0 13 0,2 0-27 0,-1-1 28 15,0-1-39-15,3 0 27 0,-3-1-30 16,1-2 26-16,0-1-22 0,2 2 16 0,0-4-26 0,0 1-4 16,2-2 2-16,0-1 2 0,1 0 1 15,3 1-4-15,0-5 5 0,1 2-1 0,0 0 5 0,3 0-4 16,0-2-3-16,1 2-2 0,1-2 3 0,0-1 1 16,3-1-12-16,-1 2 14 0,2-1-17 0,1-1 7 15,-1 1-9-15,2 1 28 0,0-2-28 0,1 3 23 16,0-1-15-16,-1 2 12 0,1 0-15 0,1 1 15 15,1 1-17-15,-1 0 22 0,0 2-19 0,3-1 20 0,-2 2-15 16,0-1 10-16,2 2-15 0,-3 1 27 0,0 0-25 16,1 2 15-16,-1-2-17 0,1 2 20 15,1 0-15-15,-2 2 9 0,0-2-17 0,0 1 31 0,-9 3-29 16,18-2 23-16,-18 2-19 0,19 0 29 0,-19 0-27 16,16 0 20-16,-16 0-24 0,16 2 22 0,-16-2-22 15,14 2 26-15,-14-2-30 0,12 1 26 0,-12-1-17 16,10 2 11-16,-10-2-18 0,0 0 34 0,12 1-28 15,-12-1 28-15,0 0-30 0,11 1 28 0,-11-1-24 16,0 0 20-16,0 0-25 0,0 0-5 0,12 0-27 16,-12 0 9-16,0 0-49 0,0 0 8 0,0 0-60 0,0 0 0 15,0 0-49-15,0 0-4 0,0 0-143 16,0 0 209-16</inkml:trace>
  <inkml:trace contextRef="#ctx0" brushRef="#br0" timeOffset="137184.57">27681 1676 87 0,'0'0'43'0,"0"0"29"0,-4-6-59 0,4 6 43 16,-5-7-37-16,5 7 31 0,-9-4-48 0,9 4 43 15,-9-5-43-15,9 5 34 0,-13-4-38 0,7 0 38 16,6 4-42-16,-15-2 38 0,15 2-34 0,-19-3 27 16,8 3-35-16,-1-2 38 0,0 2-45 0,-1-1 43 15,1 2-35-15,-1-1 37 0,0 0-31 0,0 2 43 16,0-1-34-16,1 0 34 0,-1 0-39 0,0 1 27 0,2 2-34 15,-1-1 34-15,1 2-41 0,0-2 34 16,2 2-31-16,-2 1 25 0,3 1-28 0,-1-1 30 16,-1 3-33-16,4-1 31 0,-1 0-36 0,3 2 42 0,-1 0-39 15,3-1 36-15,-2 1-35 0,0-1 34 0,4 2-26 16,0 0 37-16,0 0 6 0,0 0 26 0,0-1-40 16,3 1 28-16,0 0-42 0,0 0 34 0,-1 1-37 15,2-3 70-15,0 1-32 0,1 1 19 0,1-2-42 16,-1-2 33-16,1 3-41 0,-1-3 30 0,0 1-30 15,2 0 23-15,0-2-24 0,1 0 33 0,0 0-43 16,-1 0 24-16,2-2-26 0,1 2 36 0,-3-3-26 16,2 1 19-16,2-2-30 0,-2 1 35 0,-2 2-12 15,0-4 31-15,-7-1-39 0,18 2 31 0,-18-2-32 16,19 1 43-16,-19-1-31 0,18 0 18 0,-6 0-30 0,-2-1 41 16,0-1-26-16,2-1 12 0,-1 0-21 15,-2 1 14-15,4-2-33 0,-3 0 25 0,3-1-21 0,-2 0 45 16,0 0-16-16,0 0 12 0,-1-3-21 0,1 1 12 15,0-2-19-15,-2 1 24 0,0 0-4 0,-1-2-8 16,0 2 27-16,0-3 14 0,-3 2-19 0,2-2-5 16,-3 0-13-16,1 0-3 0,-3 0-8 0,1 0 17 15,-1-2-5-15,-2 1-12 0,-2 1-3 0,-1-2 2 16,-1 0-6-16,-2 0-1 0,0 1-7 0,-1 0-4 16,-2 0 10-16,-1 0-6 0,-1 1 1 0,-1 2-11 15,-1-1-11-15,-1 2-13 0,-2 0-17 0,1 1-30 0,0 1-29 16,0 0-56-16,-2 1-18 0,2 2-47 0,0 0 5 15,0 1-260-15,3 1 33 0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05:40.68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93 644 0 0,'4'-6'6913'0'0,"-1"9"-6759"0"0,-1 0 1 0 0,1 0-1 0 0,-1 0 1 0 0,0 0-1 0 0,0 0 1 0 0,-1 0-1 0 0,1 1 0 0 0,0-1 1 0 0,-1 1-1 0 0,0-1 1 0 0,1 5-1 0 0,11 50 966 0 0,-10-43-877 0 0,1 6 83 0 0,6 33 444 0 0,2-1-1 0 0,21 54 1 0 0,-28-93-602 0 0,1 0 0 0 0,0-1 0 0 0,1 0 0 0 0,0 0 0 0 0,1 0 1 0 0,1-1-1 0 0,0 0 0 0 0,0-1 0 0 0,1 0 0 0 0,1 0 0 0 0,0-1 0 0 0,20 14 0 0 0,-27-21-137 0 0,0 0-1 0 0,1-1 1 0 0,0 0-1 0 0,0 1 0 0 0,0-2 1 0 0,0 1-1 0 0,0 0 1 0 0,0-1-1 0 0,0 0 0 0 0,0 0 1 0 0,0-1-1 0 0,1 0 0 0 0,-1 1 1 0 0,0-2-1 0 0,1 1 1 0 0,-1-1-1 0 0,0 1 0 0 0,0-1 1 0 0,0-1-1 0 0,0 1 1 0 0,0-1-1 0 0,0 0 0 0 0,0 0 1 0 0,0 0-1 0 0,7-6 1 0 0,-5 3 10 0 0,0-1 1 0 0,0 1-1 0 0,-1-1 1 0 0,0 0 0 0 0,-1-1-1 0 0,1 0 1 0 0,-1 0 0 0 0,0 0-1 0 0,-1 0 1 0 0,0-1-1 0 0,0 1 1 0 0,-1-1 0 0 0,0 0-1 0 0,0 0 1 0 0,2-10 0 0 0,-1-4 146 0 0,-2 1 0 0 0,0-1 0 0 0,-1-1 1 0 0,-1 1-1 0 0,-1 0 0 0 0,-2 0 0 0 0,0 0 1 0 0,-9-35-1 0 0,-8-10 673 0 0,-39-86-1 0 0,49 127-720 0 0,7 16-350 0 0,5 13-825 0 0,-2-1 702 0 0,8 9-1602 0 0,5 25-2370 0 0,-8-9-2149 0 0</inkml:trace>
</inkml:ink>
</file>

<file path=ppt/ink/ink1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10.70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6 157 1360 0 0,'3'-1'1450'0'0,"-3"1"-1237"0"0,20-3 2752 0 0,-19 3-2930 0 0,-1 0 1 0 0,0 0 0 0 0,1 0-1 0 0,-1 0 1 0 0,1 0-1 0 0,-1 0 1 0 0,0 0 0 0 0,1 0-1 0 0,-1 0 1 0 0,0 0 0 0 0,1 0-1 0 0,-1 0 1 0 0,1 1 0 0 0,-1-1-1 0 0,0 0 1 0 0,1 0 0 0 0,-1 0-1 0 0,0 1 1 0 0,1-1 0 0 0,-1 0-1 0 0,0 0 1 0 0,0 1 0 0 0,1-1-1 0 0,-1 0 1 0 0,0 1 0 0 0,0-1-1 0 0,1 0 1 0 0,-1 1-1 0 0,0-1 1 0 0,0 0 0 0 0,0 1-1 0 0,0-1 1 0 0,0 0 0 0 0,1 1-1 0 0,-1-1 1 0 0,0 0 0 0 0,0 1-1 0 0,0-1 1 0 0,0 1 0 0 0,0-1-1 0 0,0 0 1 0 0,0 1 0 0 0,0-1-1 0 0,0 1 1 0 0,-1-1 0 0 0,1 0-1 0 0,0 1 1 0 0,0-1 0 0 0,0 0-1 0 0,0 1 1 0 0,0-1-1 0 0,-1 0 1 0 0,1 1 0 0 0,0-1-1 0 0,0 0 1 0 0,-1 1 0 0 0,1-1-1 0 0,-6 12 216 0 0,2 1-1 0 0,-1 0 1 0 0,1-1 0 0 0,1 1-1 0 0,0 0 1 0 0,1 1-1 0 0,1-1 1 0 0,0 0-1 0 0,1 0 1 0 0,1 16-1 0 0,-1-22-161 0 0,1 1-1 0 0,0-1 1 0 0,0 0 0 0 0,1 1-1 0 0,0-1 1 0 0,1 0 0 0 0,-1 0-1 0 0,1 0 1 0 0,0 0-1 0 0,1-1 1 0 0,0 1 0 0 0,0-1-1 0 0,0 0 1 0 0,1 0 0 0 0,0-1-1 0 0,0 1 1 0 0,0-1 0 0 0,1 0-1 0 0,11 8 1 0 0,-15-12-43 0 0,0 0 0 0 0,1 1 1 0 0,-1-1-1 0 0,1 0 0 0 0,-1 0 1 0 0,1 0-1 0 0,-1-1 0 0 0,1 1 1 0 0,0 0-1 0 0,-1-1 0 0 0,1 0 1 0 0,0 0-1 0 0,-1 0 0 0 0,1 0 0 0 0,0 0 1 0 0,0 0-1 0 0,-1-1 0 0 0,1 1 1 0 0,0-1-1 0 0,4-2 0 0 0,-4 2-30 0 0,-1-1-1 0 0,1 1 0 0 0,0-1 1 0 0,-1 0-1 0 0,0 0 0 0 0,1-1 1 0 0,-1 1-1 0 0,0 0 0 0 0,0-1 0 0 0,0 1 1 0 0,-1-1-1 0 0,1 0 0 0 0,0 1 1 0 0,-1-1-1 0 0,0 0 0 0 0,0 0 1 0 0,0 0-1 0 0,1-4 0 0 0,0 0-1 0 0,-1 0 0 0 0,-1 1 0 0 0,1-1 0 0 0,-1 0 0 0 0,0 0 0 0 0,-1 0 0 0 0,0 0 0 0 0,0 0 0 0 0,0 0 0 0 0,-1 1 0 0 0,0-1 0 0 0,0 1 0 0 0,0-1 0 0 0,-1 1 0 0 0,0 0 0 0 0,-1 0 0 0 0,1 0 0 0 0,-1 0 0 0 0,0 0 0 0 0,0 1 0 0 0,-1 0 0 0 0,-5-5 0 0 0,-5-5-696 0 0,-1 1 0 0 0,-1 1 0 0 0,0 0 0 0 0,-1 1 0 0 0,-34-17 0 0 0,43 22-771 0 0,12 1-11 0 0,18-3-49 0 0,5 2 1583 0 0,0 1 1 0 0,0 1-1 0 0,1 2 1 0 0,0 0-1 0 0,-1 2 1 0 0,1 1-1 0 0,0 1 1 0 0,27 5-1 0 0,-39-4 175 0 0,0 2-1 0 0,0 0 0 0 0,0 0 1 0 0,0 2-1 0 0,-1 0 1 0 0,24 13-1 0 0,-29-13-91 0 0,0 0 0 0 0,-1 0 1 0 0,0 1-1 0 0,0 0 0 0 0,-1 0 0 0 0,0 1 0 0 0,0 0 0 0 0,-1 0 0 0 0,0 1 0 0 0,10 17 0 0 0,-14-19 3 0 0,1 1-1 0 0,-1-1 0 0 0,0 0 1 0 0,0 1-1 0 0,-1-1 1 0 0,0 1-1 0 0,0-1 0 0 0,-1 1 1 0 0,0-1-1 0 0,0 1 1 0 0,-1 0-1 0 0,0-1 0 0 0,-2 10 1 0 0,2-12 137 0 0,-4 10 1663 0 0,5-14-1925 0 0,-1-1 1 0 0,1 0 0 0 0,0 0 0 0 0,-1 1 0 0 0,1-1 0 0 0,-1 0 0 0 0,1 0 0 0 0,-1 0 0 0 0,1 0-1 0 0,0 0 1 0 0,-1 0 0 0 0,1 0 0 0 0,-1 1 0 0 0,1-1 0 0 0,-1 0 0 0 0,1-1 0 0 0,-1 1-1 0 0,1 0 1 0 0,-1 0 0 0 0,1 0 0 0 0,0 0 0 0 0,-1 0 0 0 0,1 0 0 0 0,-1 0 0 0 0,1-1 0 0 0,-1 1-1 0 0,1-1 1 0 0,-1 1-15 0 0,1-1-1 0 0,-1 0 1 0 0,1 1-1 0 0,-1-1 1 0 0,1 0-1 0 0,0 0 1 0 0,0 0-1 0 0,-1 1 1 0 0,1-1-1 0 0,0 0 1 0 0,0 0-1 0 0,0 0 1 0 0,0 0-1 0 0,0 1 1 0 0,0-1-1 0 0,0 0 1 0 0,0 0-1 0 0,0 0 0 0 0,0 0 1 0 0,1 1-1 0 0,-1-1 1 0 0,1-1-1 0 0,5-19 53 0 0,0 11-62 0 0,0 0 0 0 0,1 1 0 0 0,0 0 1 0 0,1 1-1 0 0,0 0 0 0 0,0 0 0 0 0,1 0 0 0 0,11-7 1 0 0,81-48-40 0 0,-49 35 3 0 0,65-39 67 0 0,-98 55-41 0 0,0-2 0 0 0,-1 0-1 0 0,28-29 1 0 0,-44 41-9 0 0,-1 0 0 0 0,1 1 1 0 0,-1-1-1 0 0,0-1 0 0 0,1 1 0 0 0,-1 0 0 0 0,0 0 0 0 0,-1 0 1 0 0,1-1-1 0 0,0 1 0 0 0,0 0 0 0 0,-1-1 0 0 0,1-2 0 0 0,-1 5 9 0 0,0 0 0 0 0,0-1 0 0 0,0 1 0 0 0,0-1 0 0 0,0 1 0 0 0,-1 0 0 0 0,1-1-1 0 0,0 1 1 0 0,0-1 0 0 0,0 1 0 0 0,0 0 0 0 0,0-1 0 0 0,-1 1 0 0 0,1 0 0 0 0,0-1-1 0 0,0 1 1 0 0,0 0 0 0 0,-1-1 0 0 0,1 1 0 0 0,0 0 0 0 0,-1 0 0 0 0,1-1 0 0 0,0 1-1 0 0,-1 0 1 0 0,1 0 0 0 0,0-1 0 0 0,-1 1 0 0 0,1 0 0 0 0,0 0 0 0 0,-1 0 0 0 0,0 0-1 0 0,0-1-5 0 0,-1 2 0 0 0,0-1 0 0 0,0 0 0 0 0,1 0 0 0 0,-1 0 0 0 0,0 1 0 0 0,0-1 0 0 0,1 1 0 0 0,-1-1 0 0 0,0 1 0 0 0,1 0 0 0 0,-3 1 0 0 0,0 0 0 0 0,0 0 0 0 0,0 1 1 0 0,0 0-1 0 0,1-1 0 0 0,-1 1 0 0 0,1 1 0 0 0,-1-1 0 0 0,1 0 0 0 0,0 1 0 0 0,1 0 0 0 0,-1 0 0 0 0,0-1 0 0 0,1 1 0 0 0,0 1 0 0 0,0-1 0 0 0,0 0 0 0 0,1 1 0 0 0,-1-1 0 0 0,1 0 0 0 0,0 1 0 0 0,0 0 0 0 0,1-1 1 0 0,-1 1-1 0 0,1-1 0 0 0,0 1 0 0 0,2 9 0 0 0,1 10 9 0 0,1-1 0 0 0,2 1 0 0 0,0-1 1 0 0,11 26-1 0 0,-1 0 40 0 0,-14-43-38 0 0,1 3 13 0 0,-1 0-1 0 0,0-1 1 0 0,0 1-1 0 0,-1 1 0 0 0,1 10 1 0 0,-2-17-9 0 0,0 0 1 0 0,-1 0-1 0 0,1 0 0 0 0,-1 0 1 0 0,0 0-1 0 0,0-1 1 0 0,0 1-1 0 0,0 0 0 0 0,0-1 1 0 0,-1 1-1 0 0,1 0 0 0 0,-1-1 1 0 0,1 0-1 0 0,-1 1 1 0 0,0-1-1 0 0,0 0 0 0 0,0 0 1 0 0,0 0-1 0 0,-1 0 1 0 0,-3 2-1 0 0,-1 1 19 0 0,-1-1 0 0 0,0-1 0 0 0,0 1 1 0 0,1-1-1 0 0,-2-1 0 0 0,1 0 0 0 0,0 0 0 0 0,0 0 0 0 0,-1-1 0 0 0,1 0 0 0 0,-1-1 0 0 0,-15-1 1 0 0,9 0-436 0 0,0-1 1 0 0,0 0 0 0 0,0-1-1 0 0,0-1 1 0 0,1 0 0 0 0,-18-9-1 0 0,31 13 167 0 0,-1-1 1 0 0,1 0-1 0 0,-1 1 0 0 0,1-1 1 0 0,-1 0-1 0 0,1 0 0 0 0,0 0 1 0 0,-1-1-1 0 0,1 1 0 0 0,0 0 1 0 0,-1-2-1 0 0,1 2 83 0 0,1 1-1 0 0,0-1 1 0 0,-1 0 0 0 0,1 1-1 0 0,0-1 1 0 0,0 0-1 0 0,-1 1 1 0 0,1-1 0 0 0,0 0-1 0 0,0 0 1 0 0,0 1-1 0 0,0-1 1 0 0,0 0 0 0 0,0 1-1 0 0,0-1 1 0 0,0 0 0 0 0,1 1-1 0 0,-1-1 1 0 0,0 0-1 0 0,0 0 1 0 0,0 1 0 0 0,1-1-1 0 0,-1 1 1 0 0,0-1 0 0 0,1 0-1 0 0,6-8-2924 0 0</inkml:trace>
</inkml:ink>
</file>

<file path=ppt/ink/ink1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11.06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0 1848 0 0,'13'-9'1256'0'0,"-11"7"-980"0"0,0 0 0 0 0,1 0 1 0 0,-1 0-1 0 0,1 0 0 0 0,-1 1 1 0 0,1-1-1 0 0,0 1 0 0 0,-1 0 1 0 0,1-1-1 0 0,0 1 0 0 0,0 1 1 0 0,0-1-1 0 0,0 0 0 0 0,0 1 1 0 0,0-1-1 0 0,0 1 0 0 0,0 0 1 0 0,4 0-1 0 0,-5 1-166 0 0,-1 0 0 0 0,1 0-1 0 0,-1-1 1 0 0,1 1 0 0 0,-1 0-1 0 0,1 0 1 0 0,-1 1 0 0 0,1-1 0 0 0,-1 0-1 0 0,0 0 1 0 0,0 1 0 0 0,0-1-1 0 0,0 0 1 0 0,0 1 0 0 0,0-1 0 0 0,0 1-1 0 0,0 0 1 0 0,0 1 0 0 0,10 30 911 0 0,-11-32-983 0 0,42 204 1881 0 0,-38-167-2250 0 0,-1 0 0 0 0,-2 1-1 0 0,-5 54 1 0 0,-3-58-1171 0 0,7-33 1193 0 0,0 0 0 0 0,-1 0 0 0 0,0-1 0 0 0,1 1 0 0 0,-1 0 0 0 0,0-1 0 0 0,0 1-1 0 0,0-1 1 0 0,0 1 0 0 0,0-1 0 0 0,0 1 0 0 0,0-1 0 0 0,0 0 0 0 0,-1 1 0 0 0,1-1-1 0 0,-1 0 1 0 0,1 0 0 0 0,-4 1 0 0 0,-8 3-2004 0 0</inkml:trace>
</inkml:ink>
</file>

<file path=ppt/ink/ink1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11.44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 165 1184 0 0,'-1'-3'306'0'0,"0"1"-1"0"0,1-1 1 0 0,-1 1-1 0 0,0-1 0 0 0,1 0 1 0 0,0 1-1 0 0,-1-1 1 0 0,1 1-1 0 0,0-1 1 0 0,0 0-1 0 0,1 1 1 0 0,-1-1-1 0 0,1 1 1 0 0,-1-1-1 0 0,1 0 1 0 0,0 1-1 0 0,0 0 1 0 0,1-4-1 0 0,0 3-84 0 0,0-1-1 0 0,1 1 1 0 0,0 0-1 0 0,-1 0 1 0 0,1 0-1 0 0,0 0 1 0 0,0 0-1 0 0,1 1 1 0 0,-1-1 0 0 0,6-2-1 0 0,5-2 61 0 0,1 0-1 0 0,0 2 0 0 0,1-1 1 0 0,27-5-1 0 0,24 0-555 0 0,-1 2-1 0 0,119 0 1 0 0,-181 9-214 0 0,0 0-79 0 0,-2 0 637 0 0,0 1-410 0 0,0-1 0 0 0,0 0 0 0 0,0 0 0 0 0,1 0-1 0 0,-1 0 1 0 0,0 0 0 0 0,0-1 0 0 0,0 1 0 0 0,0-1 0 0 0,0 1 0 0 0,0-1-1 0 0,0 0 1 0 0,0 0 0 0 0,2-1 0 0 0,3-4-1140 0 0</inkml:trace>
</inkml:ink>
</file>

<file path=ppt/ink/ink1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11.81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3 155 1672 0 0,'15'-3'3411'0'0,"-14"4"-3305"0"0,0-1-1 0 0,1 1 1 0 0,-1-1-1 0 0,0 1 0 0 0,0-1 1 0 0,1 1-1 0 0,-1 0 1 0 0,0 0-1 0 0,0 0 1 0 0,0-1-1 0 0,0 1 1 0 0,0 0-1 0 0,0 0 1 0 0,0 1-1 0 0,0-1 0 0 0,-1 0 1 0 0,1 0-1 0 0,0 0 1 0 0,-1 0-1 0 0,1 1 1 0 0,0-1-1 0 0,-1 0 1 0 0,0 1-1 0 0,1-1 1 0 0,-1 0-1 0 0,0 1 1 0 0,0-1-1 0 0,0 2 0 0 0,6 34 1123 0 0,-2-1-1 0 0,-2 70 0 0 0,-2-82-1026 0 0,-1 30 28 0 0,-2 0-1 0 0,-2 0 0 0 0,-3-1 0 0 0,-15 53 0 0 0,23-104-242 0 0,0-1-1 0 0,0 0 0 0 0,-1 1 1 0 0,1-1-1 0 0,-1 1 1 0 0,0-1-1 0 0,1 0 0 0 0,-1 0 1 0 0,0 1-1 0 0,1-1 0 0 0,-1 0 1 0 0,0 0-1 0 0,-2 2 1 0 0,3-3-4 0 0,0 0 0 0 0,-1 0 0 0 0,1 0 0 0 0,0 0 0 0 0,-1 0 0 0 0,1 0 1 0 0,0 0-1 0 0,-1 0 0 0 0,1 0 0 0 0,0 0 0 0 0,-1 0 0 0 0,1 0 0 0 0,0 0 0 0 0,-1 0 1 0 0,1 0-1 0 0,0 0 0 0 0,-1 0 0 0 0,1 0 0 0 0,0 0 0 0 0,0-1 0 0 0,-1 1 1 0 0,1 0-1 0 0,0 0 0 0 0,-1 0 0 0 0,1 0 0 0 0,0-1 0 0 0,0 1 0 0 0,-1 0 0 0 0,1 0 1 0 0,0-1-1 0 0,0 1 0 0 0,0 0 0 0 0,-1-1 0 0 0,-1-2-96 0 0,0-1 0 0 0,0 1-1 0 0,1-1 1 0 0,-1 1 0 0 0,1-1 0 0 0,0 1-1 0 0,-2-8 1 0 0,-1-19-3 0 0,2 0 0 0 0,0 1 0 0 0,2-1 0 0 0,1 0 0 0 0,1 0 0 0 0,2 0 0 0 0,1 1 0 0 0,1 0 0 0 0,11-31 0 0 0,-8 35 91 0 0,0 0 0 0 0,2 0 1 0 0,1 1-1 0 0,1 0 0 0 0,1 1 1 0 0,1 0-1 0 0,0 2 0 0 0,2 0 1 0 0,1 0-1 0 0,24-21 0 0 0,-28 30-7 0 0,0 1-1 0 0,1 1 1 0 0,0 0 0 0 0,1 1-1 0 0,25-11 1 0 0,-35 17 40 0 0,-1 1 0 0 0,1 0-1 0 0,0 0 1 0 0,0 0 0 0 0,0 1 0 0 0,-1 0 0 0 0,1 0-1 0 0,0 1 1 0 0,1 0 0 0 0,-1 0 0 0 0,0 0 0 0 0,0 0-1 0 0,0 1 1 0 0,0 0 0 0 0,-1 0 0 0 0,1 1 0 0 0,0 0-1 0 0,0 0 1 0 0,-1 0 0 0 0,9 5 0 0 0,-12-5 10 0 0,0-1 1 0 0,0 0 0 0 0,0 1-1 0 0,-1-1 1 0 0,1 1-1 0 0,0 0 1 0 0,-1-1 0 0 0,1 1-1 0 0,-1 0 1 0 0,0 0-1 0 0,1 0 1 0 0,-1 0-1 0 0,0 0 1 0 0,0 0 0 0 0,-1 0-1 0 0,1 1 1 0 0,0-1-1 0 0,-1 0 1 0 0,1 0-1 0 0,-1 4 1 0 0,0-2 3 0 0,0 0 1 0 0,-1 0-1 0 0,1 0 0 0 0,-1 0 1 0 0,0 0-1 0 0,0 0 0 0 0,-1 0 1 0 0,1 0-1 0 0,-1-1 0 0 0,0 1 0 0 0,-2 3 1 0 0,-3 4 13 0 0,-1 0 1 0 0,-1-1-1 0 0,0 0 0 0 0,0-1 1 0 0,0 0-1 0 0,-15 10 1 0 0,-16 10-504 0 0,-1-3 1 0 0,-50 24 0 0 0,57-32-4432 0 0</inkml:trace>
  <inkml:trace contextRef="#ctx0" brushRef="#br0" timeOffset="1">537 231 284 0 0,'0'0'1320'0'0,"1"0"-1121"0"0,-1 1 1 0 0,1-1-1 0 0,-1 1 0 0 0,1-1 1 0 0,0 1-1 0 0,-1-1 0 0 0,0 1 1 0 0,1 0-1 0 0,-1-1 0 0 0,1 1 1 0 0,-1 0-1 0 0,0-1 0 0 0,1 1 0 0 0,-1 0 1 0 0,0 1-1 0 0,-2 5 61 0 0,-1 0-1 0 0,1 1 1 0 0,1-1-1 0 0,-1 1 0 0 0,1-1 1 0 0,1 1-1 0 0,-1 0 1 0 0,1-1-1 0 0,0 1 1 0 0,1 0-1 0 0,0-1 1 0 0,0 1-1 0 0,1-1 1 0 0,0 1-1 0 0,0-1 1 0 0,1 0-1 0 0,-1 0 1 0 0,2 0-1 0 0,-1 0 0 0 0,1 0 1 0 0,0-1-1 0 0,0 0 1 0 0,10 11-1 0 0,-9-11-209 0 0,0-1-1 0 0,0 0 1 0 0,0-1-1 0 0,1 0 0 0 0,-1 1 1 0 0,1-2-1 0 0,0 1 0 0 0,0-1 1 0 0,1 1-1 0 0,-1-2 1 0 0,1 1-1 0 0,-1-1 0 0 0,11 2 1 0 0,-15-3-38 0 0,0-1 0 0 0,0 1 0 0 0,-1-1 0 0 0,1 0 0 0 0,0 0 0 0 0,-1 0 0 0 0,1 0 1 0 0,0 0-1 0 0,0 0 0 0 0,-1 0 0 0 0,1-1 0 0 0,0 1 0 0 0,-1-1 0 0 0,1 1 0 0 0,0-1 0 0 0,-1 0 0 0 0,1 1 1 0 0,-1-1-1 0 0,1 0 0 0 0,-1 0 0 0 0,1 0 0 0 0,-1 0 0 0 0,0 0 0 0 0,1 0 0 0 0,-1-1 0 0 0,0 1 0 0 0,0 0 1 0 0,0-1-1 0 0,0 1 0 0 0,0-1 0 0 0,0 1 0 0 0,0-1 0 0 0,-1 1 0 0 0,1-1 0 0 0,-1 0 0 0 0,1 1 0 0 0,0-4 1 0 0,0 1-1 0 0,-1 0 0 0 0,0 0 1 0 0,0 0-1 0 0,0 0 1 0 0,0-1-1 0 0,0 1 1 0 0,-1 0-1 0 0,0 0 1 0 0,0 0-1 0 0,0 0 0 0 0,0 0 1 0 0,-1 0-1 0 0,-2-6 1 0 0,-2 2-59 0 0,0-1 1 0 0,0 1-1 0 0,-1 0 1 0 0,0 0-1 0 0,0 1 0 0 0,-1 0 1 0 0,0 0-1 0 0,0 1 1 0 0,-1 0-1 0 0,0 0 1 0 0,-14-6-1 0 0,-5 0-2156 0 0,-1 1-1 0 0,-45-11 1 0 0,69 20 711 0 0,-5-2 194 0 0</inkml:trace>
</inkml:ink>
</file>

<file path=ppt/ink/ink1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12.14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6 29 992 0 0,'46'-24'5363'0'0,"-44"23"-4787"0"0,4-3 48 0 0,-4 4 242 0 0,-6 6-802 0 0,0-1 1 0 0,0 1-1 0 0,0 0 1 0 0,1 0-1 0 0,0 0 0 0 0,0 0 1 0 0,0 1-1 0 0,1-1 1 0 0,0 1-1 0 0,0-1 1 0 0,1 1-1 0 0,0 0 0 0 0,0 0 1 0 0,0 0-1 0 0,1 0 1 0 0,0-1-1 0 0,0 1 1 0 0,1 0-1 0 0,3 13 1 0 0,4 10 385 0 0,14 33 0 0 0,0 3-69 0 0,-21-64-347 0 0,0 0 1 0 0,-1 0-1 0 0,1 1 0 0 0,-1-1 0 0 0,0 0 1 0 0,1 1-1 0 0,-1-1 0 0 0,0 0 1 0 0,-1 0-1 0 0,1 1 0 0 0,0-1 1 0 0,-1 0-1 0 0,1 0 0 0 0,-1 1 0 0 0,0-1 1 0 0,1 0-1 0 0,-1 0 0 0 0,0 0 1 0 0,0 0-1 0 0,-1 0 0 0 0,1 0 0 0 0,0 0 1 0 0,-1 0-1 0 0,1-1 0 0 0,-1 1 1 0 0,-2 2-1 0 0,1-2-13 0 0,0 0 0 0 0,-1 0 0 0 0,1-1-1 0 0,0 1 1 0 0,-1-1 0 0 0,1 1 0 0 0,-1-1 0 0 0,1 0 0 0 0,-1-1 0 0 0,0 1 0 0 0,1-1 0 0 0,-1 1 0 0 0,0-1 0 0 0,0 0-1 0 0,1 0 1 0 0,-1-1 0 0 0,-4 0 0 0 0,4 0-216 0 0,0 0 0 0 0,0 0-1 0 0,1 0 1 0 0,-1 0 0 0 0,0-1 0 0 0,1 1-1 0 0,-1-1 1 0 0,-4-3 0 0 0,8 5 102 0 0,-1-1 0 0 0,0 1 0 0 0,1-1 0 0 0,-1 0 0 0 0,0 1 0 0 0,1-1 0 0 0,-1 0 0 0 0,1 0 0 0 0,-1 1 0 0 0,1-1 0 0 0,-1 0-1 0 0,1 0 1 0 0,0 0 0 0 0,-1 1 0 0 0,1-1 0 0 0,0 0 0 0 0,0 0 0 0 0,0 0 0 0 0,0 0 0 0 0,-1 0 0 0 0,1 0 0 0 0,0 0 0 0 0,1 0 0 0 0,-1 1 0 0 0,0-1 0 0 0,0 0 0 0 0,0 0 0 0 0,0 0 0 0 0,1 0 0 0 0,-1 0 0 0 0,0 0 0 0 0,1 1 0 0 0,-1-1 0 0 0,1 0 0 0 0,-1 0-1 0 0,1 1 1 0 0,-1-1 0 0 0,1 0 0 0 0,0 1 0 0 0,0-2 0 0 0,8-8-1929 0 0,4-5-273 0 0</inkml:trace>
</inkml:ink>
</file>

<file path=ppt/ink/ink1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12.49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51 36 568 0 0,'24'-25'4693'0'0,"-24"25"-4625"0"0,0-1 0 0 0,0 1 1 0 0,0-1-1 0 0,0 1 0 0 0,0 0 0 0 0,0-1 0 0 0,0 1 0 0 0,0-1 0 0 0,0 1 0 0 0,-1 0 1 0 0,1-1-1 0 0,0 1 0 0 0,0-1 0 0 0,0 1 0 0 0,-1 0 0 0 0,1-1 0 0 0,0 1 1 0 0,0 0-1 0 0,-1-1 0 0 0,1 1 0 0 0,0 0 0 0 0,-1 0 0 0 0,1-1 0 0 0,0 1 1 0 0,-1 0-1 0 0,1 0 0 0 0,0-1 0 0 0,-1 1 0 0 0,1 0 0 0 0,-1 0 0 0 0,-2 0-23 0 0,1 1-1 0 0,0 0 1 0 0,0 0-1 0 0,-1 0 1 0 0,1 0-1 0 0,0 0 1 0 0,0 0 0 0 0,0 1-1 0 0,0-1 1 0 0,0 0-1 0 0,1 1 1 0 0,-1 0-1 0 0,0-1 1 0 0,1 1-1 0 0,-1 0 1 0 0,1 0-1 0 0,-1 0 1 0 0,1 0-1 0 0,0 0 1 0 0,0 0-1 0 0,0 1 1 0 0,-1 1-1 0 0,1 1 45 0 0,1 0-1 0 0,-1 0 1 0 0,1 0-1 0 0,-1 1 1 0 0,1-1-1 0 0,1 0 1 0 0,-1 0-1 0 0,1 0 1 0 0,0 0-1 0 0,0 0 1 0 0,0 0-1 0 0,4 7 1 0 0,3 8 80 0 0,19 31 0 0 0,-15-28-67 0 0,-8-16-48 0 0,-1-1 0 0 0,0 1 1 0 0,0 0-1 0 0,-1 0 1 0 0,3 10-1 0 0,-5-15-34 0 0,0-1-1 0 0,0 1 1 0 0,0 0-1 0 0,1-1 0 0 0,-2 1 1 0 0,1-1-1 0 0,0 1 1 0 0,0 0-1 0 0,0-1 1 0 0,-1 1-1 0 0,1 0 1 0 0,-1-1-1 0 0,1 1 0 0 0,-1-1 1 0 0,0 1-1 0 0,1-1 1 0 0,-1 0-1 0 0,0 1 1 0 0,0-1-1 0 0,0 0 1 0 0,0 1-1 0 0,0-1 1 0 0,-1 0-1 0 0,1 0 0 0 0,0 0 1 0 0,0 0-1 0 0,-1 0 1 0 0,1 0-1 0 0,-3 1 1 0 0,-4 1-19 0 0,0-1 1 0 0,-1 1-1 0 0,1-2 1 0 0,0 1-1 0 0,-1-1 1 0 0,1 0-1 0 0,-1-1 1 0 0,1 0-1 0 0,0 0 0 0 0,-1-1 1 0 0,1 0-1 0 0,-1 0 1 0 0,1-1-1 0 0,0 0 1 0 0,0-1-1 0 0,0 0 1 0 0,-13-6-1 0 0,20 8-157 0 0,0 0 1 0 0,-1 0-1 0 0,1 0 0 0 0,0 0 0 0 0,0 0 0 0 0,0 0 0 0 0,0 0 0 0 0,0 0 0 0 0,0 0 1 0 0,1 0-1 0 0,-1 0 0 0 0,0-1 0 0 0,0 1 0 0 0,1 0 0 0 0,-1-1 0 0 0,1 1 1 0 0,-1-1-1 0 0,1 1 0 0 0,0 0 0 0 0,0-1 0 0 0,-1 1 0 0 0,1-1 0 0 0,0 1 0 0 0,0-1 1 0 0,0 1-1 0 0,0-1 0 0 0,1 1 0 0 0,-1 0 0 0 0,0-1 0 0 0,1 1 0 0 0,-1-1 0 0 0,1 1 1 0 0,-1 0-1 0 0,1-1 0 0 0,0 1 0 0 0,-1 0 0 0 0,1 0 0 0 0,0-1 0 0 0,0 1 0 0 0,0 0 1 0 0,1-1-1 0 0,10-12-1818 0 0</inkml:trace>
</inkml:ink>
</file>

<file path=ppt/ink/ink1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12.82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76 297 764 0 0,'3'1'1483'0'0,"1"-1"-1157"0"0,-1 1 0 0 0,0 0 0 0 0,0-1 0 0 0,0 1 0 0 0,0 1 0 0 0,-1-1 1 0 0,1 0-1 0 0,0 1 0 0 0,0-1 0 0 0,-1 1 0 0 0,1 0 0 0 0,-1 0 0 0 0,1 0 0 0 0,-1 0 0 0 0,0 0 1 0 0,0 1-1 0 0,3 4 0 0 0,0 3-146 0 0,-1 1 1 0 0,0 1 0 0 0,0-1 0 0 0,-2 0-1 0 0,1 1 1 0 0,-1 0 0 0 0,-1-1 0 0 0,0 1-1 0 0,-1 0 1 0 0,0 0 0 0 0,-1-1 0 0 0,0 1-1 0 0,-4 12 1 0 0,0-10-976 0 0,4-12 382 0 0,0-1 0 0 0,1 1 1 0 0,-1-1-1 0 0,0 1 0 0 0,1-1 0 0 0,-1 1 0 0 0,1 0 1 0 0,0-1-1 0 0,-1 1 0 0 0,1-1 0 0 0,0 3 0 0 0</inkml:trace>
  <inkml:trace contextRef="#ctx0" brushRef="#br0" timeOffset="1">68 150 1760 0 0,'-17'-31'3929'0'0,"-17"-46"-1"0"0,18 40-2888 0 0,15 36-1199 0 0,16-2-4454 0 0,18 7 1720 0 0,-29-3 2305 0 0</inkml:trace>
</inkml:ink>
</file>

<file path=ppt/ink/ink1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13.16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 2148 0 0,'23'-1'829'0'0,"-4"1"175"0"0,1 0 1 0 0,26 5-1 0 0,-39-4-776 0 0,0 1 0 0 0,-1-1 0 0 0,1 2 0 0 0,0-1-1 0 0,-1 1 1 0 0,0 0 0 0 0,1 0 0 0 0,-1 1 0 0 0,0 0-1 0 0,7 6 1 0 0,-3-1 74 0 0,0 1 1 0 0,-1 1-1 0 0,0 0 0 0 0,0 0 0 0 0,-1 0 1 0 0,-1 1-1 0 0,0 1 0 0 0,-1-1 0 0 0,6 15 1 0 0,0 5 77 0 0,-2 1 0 0 0,9 53-1 0 0,-18-83-424 0 0,5 19 1172 0 0,-6-21-1102 0 0,0-1 0 0 0,1 1-1 0 0,-1 0 1 0 0,0-1 0 0 0,1 1 0 0 0,-1-1 0 0 0,1 1-1 0 0,-1-1 1 0 0,0 0 0 0 0,1 1 0 0 0,-1-1 0 0 0,1 1-1 0 0,-1-1 1 0 0,1 0 0 0 0,-1 1 0 0 0,1-1 0 0 0,0 0-1 0 0,-1 0 1 0 0,1 1 0 0 0,-1-1 0 0 0,1 0 0 0 0,0 0-1 0 0,-1 0 1 0 0,1 0 0 0 0,0 0 0 0 0,-1 0 0 0 0,1 0-1 0 0,-1 0 1 0 0,1 0 0 0 0,0 0 0 0 0,-1 0 0 0 0,1 0-1 0 0,0 0 1 0 0,0-1 0 0 0,28-9 82 0 0,5-1-64 0 0,60-14 1 0 0,-84 23-59 0 0,-1 1 1 0 0,0 0-1 0 0,0 0 0 0 0,0 1 0 0 0,1 0 1 0 0,-1 1-1 0 0,0 0 0 0 0,0 0 1 0 0,1 1-1 0 0,-1 0 0 0 0,0 1 0 0 0,9 4 1 0 0,-16-6 11 0 0,0 0 1 0 0,1 0 0 0 0,-1 0 0 0 0,0 1 0 0 0,0-1-1 0 0,0 1 1 0 0,0-1 0 0 0,0 1 0 0 0,-1 0 0 0 0,1 0-1 0 0,0 0 1 0 0,-1 0 0 0 0,1 0 0 0 0,-1 0 0 0 0,0 0-1 0 0,0 1 1 0 0,0-1 0 0 0,0 0 0 0 0,0 1 0 0 0,1 2-1 0 0,-2-3 7 0 0,0 1-1 0 0,0-1 0 0 0,0 0 0 0 0,0 0 0 0 0,-1 0 0 0 0,1 0 1 0 0,-1 0-1 0 0,1 0 0 0 0,-1 0 0 0 0,0 0 0 0 0,1 0 0 0 0,-1-1 1 0 0,0 1-1 0 0,0 0 0 0 0,-1 0 0 0 0,1-1 0 0 0,0 1 0 0 0,0-1 1 0 0,-1 1-1 0 0,1-1 0 0 0,-1 1 0 0 0,1-1 0 0 0,-1 0 0 0 0,0 0 1 0 0,-2 2-1 0 0,-9 4-43 0 0,-1 1-1 0 0,0-2 1 0 0,-1 0 0 0 0,1 0 0 0 0,-1-2 0 0 0,-1 1 0 0 0,1-2 0 0 0,0 0 0 0 0,-1-1 0 0 0,1-1 0 0 0,-1 0 0 0 0,0-1-1 0 0,1-1 1 0 0,-17-2 0 0 0,29 2-220 0 0,0 1-1 0 0,0-1 1 0 0,0 0-1 0 0,-1 0 0 0 0,1 0 1 0 0,0-1-1 0 0,0 1 1 0 0,0-1-1 0 0,1 1 1 0 0,-1-1-1 0 0,0 0 1 0 0,-4-4-1 0 0,6 4-123 0 0,-1 0 0 0 0,1 0-1 0 0,0 1 1 0 0,0-1 0 0 0,0 0 0 0 0,0 0-1 0 0,0-1 1 0 0,0 1 0 0 0,0 0 0 0 0,0 0 0 0 0,1 0-1 0 0,-1-4 1 0 0,-1-9-2875 0 0</inkml:trace>
</inkml:ink>
</file>

<file path=ppt/ink/ink1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13.49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216 0 0,'3'1'299'0'0,"1"-1"-1"0"0,-1 0 1 0 0,0 1-1 0 0,0 0 1 0 0,0 0-1 0 0,0 0 1 0 0,0 0-1 0 0,0 0 1 0 0,0 1-1 0 0,0-1 1 0 0,0 1 0 0 0,0 0-1 0 0,-1 0 1 0 0,1 0-1 0 0,-1 0 1 0 0,1 0-1 0 0,-1 0 1 0 0,0 1-1 0 0,0-1 1 0 0,0 1-1 0 0,0 0 1 0 0,-1-1 0 0 0,1 1-1 0 0,0 0 1 0 0,-1 0-1 0 0,1 4 1 0 0,17 43 1843 0 0,15 67 1 0 0,-29-101-1953 0 0,1 12-2 0 0,0-1 0 0 0,-2 1 1 0 0,1 34-1 0 0,-8 36-3599 0 0,4-90 2606 0 0,-3 8-3420 0 0,-1-7 1565 0 0</inkml:trace>
  <inkml:trace contextRef="#ctx0" brushRef="#br0" timeOffset="1">240 371 8 0 0,'14'-8'1210'0'0,"0"0"0"0"0,1 1 1 0 0,0 1-1 0 0,0 0 0 0 0,1 1 0 0 0,28-5 0 0 0,-17 3-558 0 0,28-10 0 0 0,-47 14-502 0 0,0-1 0 0 0,0 0-1 0 0,-1 0 1 0 0,1 0-1 0 0,-1-1 1 0 0,0 0 0 0 0,10-10-1 0 0,-16 14-134 0 0,0 0 0 0 0,0-1 0 0 0,0 1 0 0 0,0 0 0 0 0,0 0 0 0 0,0-1 0 0 0,-1 1 0 0 0,1 0 0 0 0,-1-1 0 0 0,1 1 0 0 0,-1 0 0 0 0,1-1 0 0 0,-1 1 0 0 0,0-1 0 0 0,0 1 1 0 0,1-4-1 0 0,-2 4-11 0 0,1 0 0 0 0,0 1 0 0 0,0-1 1 0 0,-1 0-1 0 0,1 0 0 0 0,0 0 0 0 0,-1 0 1 0 0,1 0-1 0 0,-1 1 0 0 0,1-1 1 0 0,-1 0-1 0 0,1 0 0 0 0,-1 1 0 0 0,0-1 1 0 0,1 0-1 0 0,-1 1 0 0 0,0-1 1 0 0,0 0-1 0 0,1 1 0 0 0,-1-1 0 0 0,0 1 1 0 0,0 0-1 0 0,0-1 0 0 0,0 1 0 0 0,1 0 1 0 0,-1-1-1 0 0,0 1 0 0 0,0 0 1 0 0,0 0-1 0 0,0 0 0 0 0,-1 0 0 0 0,-6-1 3 0 0,1 0-1 0 0,-1 1 1 0 0,1 1-1 0 0,-1-1 1 0 0,0 1-1 0 0,1 1 1 0 0,-1-1-1 0 0,1 1 1 0 0,0 0-1 0 0,-1 1 1 0 0,1 0-1 0 0,0 0 1 0 0,1 0-1 0 0,-9 6 1 0 0,12-7 17 0 0,0 0 1 0 0,0 0-1 0 0,1 0 0 0 0,-1 1 1 0 0,1-1-1 0 0,-1 1 0 0 0,1 0 1 0 0,0 0-1 0 0,0-1 0 0 0,0 1 1 0 0,0 1-1 0 0,0-1 0 0 0,1 0 1 0 0,0 0-1 0 0,-1 0 1 0 0,1 1-1 0 0,0-1 0 0 0,1 1 1 0 0,-1-1-1 0 0,1 1 0 0 0,-1-1 1 0 0,1 1-1 0 0,0-1 0 0 0,0 1 1 0 0,1-1-1 0 0,-1 1 0 0 0,1 0 1 0 0,-1-1-1 0 0,1 0 0 0 0,0 1 1 0 0,1-1-1 0 0,-1 0 0 0 0,4 6 1 0 0,3 7-23 0 0,1-1 1 0 0,0 0 0 0 0,1-1-1 0 0,1 0 1 0 0,0-1-1 0 0,1 0 1 0 0,15 14 0 0 0,-16-19-721 0 0,0 0 1 0 0,0 0 0 0 0,1-1-1 0 0,-1 0 1 0 0,23 9 0 0 0,-33-16 485 0 0,1 1 0 0 0,-1-1 0 0 0,1 1-1 0 0,-1-1 1 0 0,1 0 0 0 0,0 1 0 0 0,-1-1 0 0 0,1 0 0 0 0,0 0 0 0 0,-1 0 0 0 0,4-1 0 0 0,1 1-411 0 0,10-1-1540 0 0</inkml:trace>
</inkml:ink>
</file>

<file path=ppt/ink/ink1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14.35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56 1684 0 0,'0'0'1406'0'0,"4"0"-116"0"0,3 2-855 0 0,0 1 1 0 0,0-1 0 0 0,0 1-1 0 0,-1 1 1 0 0,1-1 0 0 0,-1 1-1 0 0,0 0 1 0 0,0 1 0 0 0,0-1-1 0 0,0 1 1 0 0,-1 0 0 0 0,9 11-1 0 0,7 9 546 0 0,27 43 0 0 0,-39-55-811 0 0,-1 1-1 0 0,-1 0 1 0 0,-1 0 0 0 0,0 0-1 0 0,5 20 1 0 0,-9-29-136 0 0,-1 0 0 0 0,1 0 0 0 0,-1 0 0 0 0,-1 0 0 0 0,1 0 0 0 0,-1 0 0 0 0,0 0 0 0 0,0 0 0 0 0,0 0 0 0 0,-1 0 0 0 0,0 0 0 0 0,0 0 0 0 0,0-1 0 0 0,0 1 0 0 0,-1 0 0 0 0,0 0 0 0 0,0-1 0 0 0,0 1 0 0 0,0-1 0 0 0,-4 5 0 0 0,5-7-24 0 0,0-1 0 0 0,0 0 0 0 0,-1 0 0 0 0,1 1 0 0 0,0-1 0 0 0,0 0 0 0 0,-1 0 0 0 0,1 0 0 0 0,0 0 0 0 0,-1 0 1 0 0,1-1-1 0 0,-1 1 0 0 0,1 0 0 0 0,-1-1 0 0 0,1 1 0 0 0,-1-1 0 0 0,0 1 0 0 0,1-1 0 0 0,-1 0 0 0 0,0 0 0 0 0,1 0 1 0 0,-1 0-1 0 0,0 0 0 0 0,1 0 0 0 0,-1 0 0 0 0,0 0 0 0 0,1-1 0 0 0,-1 1 0 0 0,0-1 0 0 0,-1 0 0 0 0,1 0-7 0 0,1-1-1 0 0,0 1 0 0 0,0 0 1 0 0,0-1-1 0 0,0 1 0 0 0,0-1 1 0 0,0 1-1 0 0,0-1 0 0 0,0 1 0 0 0,1-1 1 0 0,-1 1-1 0 0,1-1 0 0 0,-1 0 1 0 0,1 1-1 0 0,0-1 0 0 0,-1 0 1 0 0,1 0-1 0 0,0 1 0 0 0,0-1 1 0 0,0 0-1 0 0,0 0 0 0 0,1 1 1 0 0,-1-1-1 0 0,0 0 0 0 0,1 1 1 0 0,0-4-1 0 0,2-1-42 0 0,1 0 1 0 0,-1 0-1 0 0,1 0 1 0 0,0 1-1 0 0,0-1 1 0 0,0 1-1 0 0,1 0 1 0 0,0 0-1 0 0,0 1 1 0 0,0-1-1 0 0,1 1 1 0 0,0 0-1 0 0,-1 0 1 0 0,1 1-1 0 0,11-5 1 0 0,10-3-106 0 0,1 1 0 0 0,37-9 0 0 0,-52 16 119 0 0,114-24-177 0 0,36-11 212 0 0,-159 37-15 0 0,1 0 1 0 0,-1-1-1 0 0,0 0 1 0 0,-1 1-1 0 0,1-1 1 0 0,0 0 0 0 0,-1-1-1 0 0,1 1 1 0 0,-1-1-1 0 0,1 0 1 0 0,-1 1 0 0 0,0-2-1 0 0,0 1 1 0 0,-1 0-1 0 0,1 0 1 0 0,2-5-1 0 0,-5 7 6 0 0,1 0 0 0 0,-1 0 0 0 0,0 1-1 0 0,0-1 1 0 0,0 0 0 0 0,0 0-1 0 0,0 0 1 0 0,0 1 0 0 0,-1-1-1 0 0,1 0 1 0 0,0 0 0 0 0,0 1-1 0 0,0-1 1 0 0,-1 0 0 0 0,1 0-1 0 0,0 1 1 0 0,-1-1 0 0 0,1 0-1 0 0,-1 1 1 0 0,1-1 0 0 0,-1 1-1 0 0,1-1 1 0 0,-1 0 0 0 0,1 1-1 0 0,-1-1 1 0 0,0 1 0 0 0,1 0-1 0 0,-2-2 1 0 0,-18-9-21 0 0,13 9 18 0 0,0 0 0 0 0,0 0 1 0 0,0 0-1 0 0,0 1 0 0 0,0 1 1 0 0,0-1-1 0 0,-1 1 0 0 0,1 0 1 0 0,0 1-1 0 0,0-1 0 0 0,0 1 0 0 0,-12 4 1 0 0,5-1 8 0 0,0 1-1 0 0,0 0 1 0 0,0 1 0 0 0,1 1-1 0 0,-14 8 1 0 0,23-12 10 0 0,1-1-1 0 0,-1 1 1 0 0,0 0 0 0 0,1 0-1 0 0,0 1 1 0 0,-1-1 0 0 0,1 0-1 0 0,1 1 1 0 0,-1 0-1 0 0,0 0 1 0 0,1 0 0 0 0,0 0-1 0 0,0 0 1 0 0,0 0-1 0 0,-2 10 1 0 0,3-11-1 0 0,1 0 1 0 0,-1 1-1 0 0,1-1 0 0 0,0 1 0 0 0,0-1 1 0 0,0 0-1 0 0,1 1 0 0 0,-1-1 0 0 0,1 0 1 0 0,0 1-1 0 0,0-1 0 0 0,0 0 0 0 0,0 0 1 0 0,1 1-1 0 0,-1-1 0 0 0,1 0 0 0 0,-1-1 1 0 0,1 1-1 0 0,0 0 0 0 0,1 0 0 0 0,-1-1 1 0 0,3 3-1 0 0,2 2-121 0 0,0-1 1 0 0,0 0 0 0 0,1-1-1 0 0,0 0 1 0 0,0 0 0 0 0,0-1-1 0 0,1 0 1 0 0,0 0-1 0 0,-1-1 1 0 0,1 0 0 0 0,0 0-1 0 0,1-1 1 0 0,-1 0-1 0 0,0-1 1 0 0,1 0 0 0 0,-1-1-1 0 0,0 0 1 0 0,1 0-1 0 0,-1-1 1 0 0,0 0 0 0 0,1 0-1 0 0,-1-1 1 0 0,0-1-1 0 0,0 1 1 0 0,15-8 0 0 0,-5-1-422 0 0,-19 10 530 0 0,1 1 0 0 0,-1 0 1 0 0,0 0-1 0 0,1-1 1 0 0,-1 1-1 0 0,0 0 0 0 0,0-1 1 0 0,1 1-1 0 0,-1 0 1 0 0,0 0-1 0 0,0-1 0 0 0,0 1 1 0 0,1-1-1 0 0,-1 1 1 0 0,0 0-1 0 0,0-1 0 0 0,0 1 1 0 0,0 0-1 0 0,0-1 1 0 0,0 1-1 0 0,0-1 0 0 0,0 1 1 0 0,0 0-1 0 0,0-1 0 0 0,0 1 1 0 0,0-1-1 0 0,0 1 1 0 0,0 0-1 0 0,0-1 0 0 0,0 1 1 0 0,0 0-1 0 0,-1-1 1 0 0,1 1-1 0 0,0 0 0 0 0,0-1 1 0 0,0 1-1 0 0,-1-1 1 0 0,0 0 54 0 0,0 1-28 0 0,1 0 0 0 0,-1 0-1 0 0,1 1 1 0 0,-1-1-1 0 0,1 0 1 0 0,-1 0 0 0 0,1 1-1 0 0,-1-1 1 0 0,1 0 0 0 0,-1 1-1 0 0,1-1 1 0 0,-1 0 0 0 0,1 1-1 0 0,-1-1 1 0 0,1 1-1 0 0,0-1 1 0 0,-1 1 0 0 0,1-1-1 0 0,0 1 1 0 0,0-1 0 0 0,-1 1-1 0 0,1-1 1 0 0,0 1 0 0 0,0-1-1 0 0,0 1 1 0 0,-1 0-1 0 0,1-1 1 0 0,0 1 0 0 0,0-1-1 0 0,0 1 1 0 0,0 0 0 0 0,0-1-1 0 0,0 1 1 0 0,0-1-1 0 0,0 1 1 0 0,1-1 0 0 0,-1 1-1 0 0,0 0 1 0 0,0-1 0 0 0,0 1-1 0 0,1-1 1 0 0,-1 1 0 0 0,0-1-1 0 0,1 2 1 0 0,14 18 678 0 0,-9-16-692 0 0,0 0 0 0 0,1 0 0 0 0,0-1 1 0 0,0 0-1 0 0,0 0 0 0 0,0-1 0 0 0,0 0 0 0 0,0 0 1 0 0,1-1-1 0 0,-1 0 0 0 0,0 0 0 0 0,1 0 0 0 0,-1-1 1 0 0,1-1-1 0 0,-1 1 0 0 0,1-1 0 0 0,-1 0 0 0 0,1-1 1 0 0,-1 1-1 0 0,0-2 0 0 0,0 1 0 0 0,0-1 0 0 0,0 0 1 0 0,0 0-1 0 0,-1-1 0 0 0,1 0 0 0 0,-1 0 0 0 0,0 0 1 0 0,0-1-1 0 0,-1 0 0 0 0,1 0 0 0 0,-1-1 0 0 0,0 1 1 0 0,0-1-1 0 0,-1 0 0 0 0,0-1 0 0 0,0 1 0 0 0,0-1 1 0 0,4-11-1 0 0,0-7-200 0 0,-1-1-1 0 0,-1 0 1 0 0,5-47 0 0 0,-3-83 403 0 0,-6 95 683 0 0,0-44 1164 0 0,-2 103-1709 0 0,-1 4-333 0 0,0 0 0 0 0,1-1 0 0 0,-1 1 0 0 0,1 0 0 0 0,-1 0-1 0 0,1 0 1 0 0,0 0 0 0 0,0 0 0 0 0,0 0 0 0 0,0 0 0 0 0,0 2-1 0 0,0-3-9 0 0,2 29 72 0 0,1 0 0 0 0,2 0 1 0 0,13 45-1 0 0,0 4-3 0 0,-10-35-644 0 0,-2 0 0 0 0,-1 1 1 0 0,-2 63-1 0 0,-4-104 282 0 0,1 1 1 0 0,0 0-1 0 0,-1-1 1 0 0,0 1-1 0 0,0 0 1 0 0,-1-1-1 0 0,1 1 1 0 0,-1-1-1 0 0,0 0 1 0 0,0 1-1 0 0,-1-1 1 0 0,-3 6-1 0 0,3-7-204 0 0,1-1-1 0 0,-1 1 1 0 0,0-1 0 0 0,1 1-1 0 0,-1-1 1 0 0,0 0-1 0 0,0 0 1 0 0,0 0 0 0 0,-1-1-1 0 0,-3 2 1 0 0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05:41.07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80 80 1360 0 0,'1'-3'1370'0'0,"0"0"-1128"0"0,-1 0 1 0 0,1 0-1 0 0,-1 0 0 0 0,0 1 0 0 0,0-1 0 0 0,0 0 0 0 0,0 0 1 0 0,0 0-1 0 0,0 0 0 0 0,-1 1 0 0 0,0-1 0 0 0,1 0 1 0 0,-1 0-1 0 0,0 1 0 0 0,0-1 0 0 0,-1 0 0 0 0,1 1 0 0 0,0-1 1 0 0,-1 1-1 0 0,1 0 0 0 0,-1-1 0 0 0,0 1 0 0 0,0 0 0 0 0,0 0 1 0 0,-4-3-1 0 0,4 4-208 0 0,1 0 0 0 0,-1 0 0 0 0,1 1 0 0 0,-1-1 0 0 0,1 1 0 0 0,-1-1 0 0 0,1 1 0 0 0,-1 0 0 0 0,1-1 0 0 0,-1 1 0 0 0,1 0 0 0 0,-1 0 0 0 0,0 0 0 0 0,1 0 0 0 0,-1 0 0 0 0,1 1 0 0 0,-1-1 0 0 0,1 0 0 0 0,-3 2 0 0 0,-25 12 193 0 0,26-13-197 0 0,0 1-1 0 0,0 0 1 0 0,1 0-1 0 0,-1 1 1 0 0,1-1-1 0 0,0 0 1 0 0,0 1-1 0 0,0 0 1 0 0,0-1-1 0 0,0 1 1 0 0,0 0-1 0 0,1 0 0 0 0,-1 0 1 0 0,1 0-1 0 0,0 0 1 0 0,0 0-1 0 0,-1 5 1 0 0,1-2 27 0 0,1-1 0 0 0,0 1-1 0 0,0-1 1 0 0,0 1 0 0 0,1-1 0 0 0,0 1 0 0 0,0-1 0 0 0,0 0 0 0 0,4 9-1 0 0,3 5 64 0 0,0-1 0 0 0,2-1-1 0 0,0 0 1 0 0,21 26 0 0 0,-20-29-35 0 0,8 10 294 0 0,0 2 1 0 0,-2-1-1 0 0,-1 2 0 0 0,20 43 1 0 0,-36-69-334 0 0,0 1 1 0 0,1-1 0 0 0,-1 1-1 0 0,0-1 1 0 0,0 1-1 0 0,0 0 1 0 0,0-1 0 0 0,0 1-1 0 0,0-1 1 0 0,0 1-1 0 0,-1-1 1 0 0,1 1-1 0 0,-1 0 1 0 0,1-1 0 0 0,-1 1-1 0 0,1-1 1 0 0,-1 0-1 0 0,0 1 1 0 0,0-1-1 0 0,1 1 1 0 0,-1-1 0 0 0,0 0-1 0 0,0 0 1 0 0,-1 0-1 0 0,1 0 1 0 0,0 1-1 0 0,0-1 1 0 0,0-1 0 0 0,-1 1-1 0 0,1 0 1 0 0,-1 0-1 0 0,1 0 1 0 0,-2 0 0 0 0,-4 2 32 0 0,0 0 1 0 0,0 0-1 0 0,0 0 1 0 0,0-1-1 0 0,-11 2 1 0 0,7-3-211 0 0,1 0 0 0 0,-1 0 0 0 0,1-1 0 0 0,-1 0 0 0 0,-13-3 1 0 0,16 2-413 0 0,0-1 0 0 0,1 0 1 0 0,-1 0-1 0 0,0-1 0 0 0,1 0 1 0 0,-1 0-1 0 0,-10-7 0 0 0,16 8 102 0 0,0 0 0 0 0,0 0 0 0 0,0 0 0 0 0,0 0 0 0 0,0 0 0 0 0,0 0 0 0 0,1 0 0 0 0,-1-1-1 0 0,1 1 1 0 0,0-1 0 0 0,-2-4 0 0 0,-2-8-2410 0 0</inkml:trace>
</inkml:ink>
</file>

<file path=ppt/ink/ink1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14.73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 171 748 0 0,'-1'-3'116'0'0,"-1"0"0"0"0,1 1-1 0 0,0-1 1 0 0,1 0 0 0 0,-1 1 0 0 0,0-1 0 0 0,1 0-1 0 0,-1 0 1 0 0,1 1 0 0 0,0-1 0 0 0,0 0 0 0 0,0 0-1 0 0,0 0 1 0 0,1 0 0 0 0,-1 1 0 0 0,1-1 0 0 0,0 0-1 0 0,0 0 1 0 0,1-3 0 0 0,0 2-31 0 0,1 0 1 0 0,0 0-1 0 0,0 0 0 0 0,0 0 0 0 0,0 1 1 0 0,0-1-1 0 0,1 1 0 0 0,0 0 0 0 0,-1 0 1 0 0,8-4-1 0 0,5-2 154 0 0,1 1 1 0 0,0 1-1 0 0,1 0 0 0 0,32-8 0 0 0,-22 8 482 0 0,0 1 0 0 0,0 2-1 0 0,0 0 1 0 0,1 2 0 0 0,43 2-1 0 0,-63 1-474 0 0,0 1 0 0 0,-1 0 0 0 0,1 0 0 0 0,0 1 0 0 0,-1 0 0 0 0,0 1 0 0 0,0-1-1 0 0,0 2 1 0 0,0-1 0 0 0,0 1 0 0 0,-1 0 0 0 0,0 1 0 0 0,0-1 0 0 0,0 1 0 0 0,-1 1 0 0 0,6 7 0 0 0,-8-9-219 0 0,-1-1 0 0 0,0 1 0 0 0,0 0 1 0 0,-1-1-1 0 0,1 1 0 0 0,-1 1 0 0 0,0-1 1 0 0,-1 0-1 0 0,1 0 0 0 0,-1 1 0 0 0,1 9 1 0 0,-2-10-214 0 0,0 0 1 0 0,-1 0-1 0 0,1-1 1 0 0,-1 1-1 0 0,0 0 1 0 0,0 0-1 0 0,-1-1 1 0 0,1 1-1 0 0,-1-1 1 0 0,0 1-1 0 0,0-1 1 0 0,-1 0-1 0 0,1 0 1 0 0,-1 0-1 0 0,-3 4 1 0 0,4-5-314 0 0,-1 2-135 0 0,-16 7-6891 0 0</inkml:trace>
</inkml:ink>
</file>

<file path=ppt/ink/ink1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15.39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0 127 556 0 0,'-20'-111'8778'0'0,"20"111"-8797"0"0,1-1 0 0 0,-1 0 0 0 0,0 0 0 0 0,0 0 0 0 0,1 1 1 0 0,-1-1-1 0 0,0 0 0 0 0,1 1 0 0 0,-1-1 0 0 0,0 0 1 0 0,1 1-1 0 0,-1-1 0 0 0,1 0 0 0 0,-1 1 0 0 0,1-1 1 0 0,0 1-1 0 0,-1-1 0 0 0,1 1 0 0 0,0-1 0 0 0,-1 1 1 0 0,1-1-1 0 0,0 1 0 0 0,-1 0 0 0 0,1-1 0 0 0,0 1 1 0 0,0 0-1 0 0,-1 0 0 0 0,1-1 0 0 0,0 1 0 0 0,0 0 1 0 0,0 0-1 0 0,-1 0 0 0 0,1 0 0 0 0,0 0 0 0 0,0 0 1 0 0,0 0-1 0 0,-1 1 0 0 0,3-1 0 0 0,27 3-1375 0 0,1 2-1 0 0,-1 1 1 0 0,53 18 0 0 0,-56-15 1675 0 0,0 2 0 0 0,30 17 0 0 0,-49-22 124 0 0,1-1 0 0 0,-1 1-1 0 0,0 1 1 0 0,0 0 0 0 0,-1 0 0 0 0,0 0 0 0 0,0 1 0 0 0,-1 0 0 0 0,0 0 0 0 0,0 1 0 0 0,-1 0 0 0 0,0 0 0 0 0,7 18 0 0 0,-1 5 631 0 0,-2 1 0 0 0,9 62 1 0 0,-7-33-611 0 0,-8-47-123 0 0,-3-14-233 0 0,0 0 0 0 0,0 0-1 0 0,0 0 1 0 0,0 0 0 0 0,0 0 0 0 0,0-1 0 0 0,0 1 0 0 0,0 0-1 0 0,1 0 1 0 0,-1 0 0 0 0,0-1 0 0 0,1 1 0 0 0,-1 0 0 0 0,1 0-1 0 0,-1-1 1 0 0,1 2 0 0 0,0-3-69 0 0,1 1-1 0 0,-1-1 0 0 0,0 0 1 0 0,0 0-1 0 0,0 0 1 0 0,0 0-1 0 0,0 0 1 0 0,0 0-1 0 0,0 0 0 0 0,-1 0 1 0 0,1 0-1 0 0,0 0 1 0 0,-1 0-1 0 0,2-3 1 0 0,6-7-118 0 0,1-1 1 0 0,0 1 0 0 0,0 0-1 0 0,1 1 1 0 0,1 0-1 0 0,0 1 1 0 0,0 0 0 0 0,1 0-1 0 0,0 2 1 0 0,21-12 0 0 0,-30 18 101 0 0,0 0 1 0 0,0 0-1 0 0,0 1 1 0 0,1-1 0 0 0,-1 1-1 0 0,0-1 1 0 0,0 1 0 0 0,1 0-1 0 0,-1 0 1 0 0,0 0 0 0 0,1 1-1 0 0,-1-1 1 0 0,0 1-1 0 0,0 0 1 0 0,1 0 0 0 0,-1 0-1 0 0,0 0 1 0 0,0 1 0 0 0,0-1-1 0 0,0 1 1 0 0,-1 0-1 0 0,1-1 1 0 0,4 5 0 0 0,4 5 68 0 0,0 0-1 0 0,-1 0 1 0 0,0 1 0 0 0,9 15 0 0 0,-11-15 159 0 0,0 0 0 0 0,18 17 0 0 0,-21-24-156 0 0,1-1-1 0 0,-1 0 1 0 0,1 0 0 0 0,0 0-1 0 0,0-1 1 0 0,1 1 0 0 0,-1-2-1 0 0,0 1 1 0 0,1-1 0 0 0,0 0-1 0 0,-1 0 1 0 0,1-1 0 0 0,0 0-1 0 0,0 0 1 0 0,0 0 0 0 0,0-1-1 0 0,0 0 1 0 0,0-1-1 0 0,0 1 1 0 0,0-1 0 0 0,10-3-1 0 0,-7 1-103 0 0,-1-1 0 0 0,0 1 0 0 0,-1-1 0 0 0,1-1-1 0 0,-1 0 1 0 0,1 0 0 0 0,-1 0 0 0 0,-1-1-1 0 0,1 0 1 0 0,-1-1 0 0 0,0 0 0 0 0,-1 0-1 0 0,0 0 1 0 0,0-1 0 0 0,5-9 0 0 0,4-8-134 0 0,-1-2 1 0 0,-1 0-1 0 0,-1-1 1 0 0,-2 0 0 0 0,-1-1-1 0 0,9-45 1 0 0,-18 73 173 0 0,0 0-1 0 0,0 0 1 0 0,0 0 0 0 0,1 1 0 0 0,-1-1-1 0 0,0 0 1 0 0,0 0 0 0 0,0 0 0 0 0,0 0-1 0 0,-1 0 1 0 0,1 1 0 0 0,0-1-1 0 0,0 0 1 0 0,0 0 0 0 0,-1 0 0 0 0,0-1-1 0 0,1 2 4 0 0,0 0 0 0 0,-1 0 1 0 0,1-1-1 0 0,0 1 0 0 0,0 0 0 0 0,-1 0 0 0 0,1 0 0 0 0,0 0 0 0 0,-1 0 0 0 0,1 0 0 0 0,0 0 0 0 0,-1 0 0 0 0,1 0 0 0 0,0 0 0 0 0,-1 0 0 0 0,1 0 0 0 0,0 0 0 0 0,0 0 0 0 0,-1 0 0 0 0,1 0 0 0 0,0 0 0 0 0,-1 1 0 0 0,1-1 0 0 0,0 0 0 0 0,0 0 0 0 0,-1 0 0 0 0,1 0 0 0 0,-1 1 0 0 0,-1 0-6 0 0,0 1 1 0 0,0 0-1 0 0,0 0 0 0 0,1-1 1 0 0,-1 1-1 0 0,0 0 0 0 0,1 1 1 0 0,-1-1-1 0 0,0 2 0 0 0,-8 20 48 0 0,2-1 0 0 0,0 1-1 0 0,-6 38 1 0 0,-3 74 826 0 0,9-61-500 0 0,7-62-321 0 0,-1 4 75 0 0,-1 0 0 0 0,-6 24 1 0 0,8-38-89 0 0,0 1 0 0 0,-1 0 0 0 0,1 0 0 0 0,-1-1 0 0 0,0 1 0 0 0,0-1 0 0 0,0 1 0 0 0,0-1 0 0 0,-1 0 0 0 0,0 0 0 0 0,1 0 0 0 0,-1 0 0 0 0,0 0 0 0 0,0-1 0 0 0,-6 4 0 0 0,6-5-32 0 0,0 0 0 0 0,0 0 0 0 0,0-1 0 0 0,0 1 0 0 0,0-1 0 0 0,-1 0 0 0 0,1 0 1 0 0,0 0-1 0 0,0 0 0 0 0,0-1 0 0 0,0 1 0 0 0,0-1 0 0 0,0 0 0 0 0,0 0 0 0 0,0 0 0 0 0,0 0 1 0 0,1 0-1 0 0,-1 0 0 0 0,0-1 0 0 0,1 0 0 0 0,-1 1 0 0 0,1-1 0 0 0,-1 0 0 0 0,1 0 0 0 0,0-1 1 0 0,0 1-1 0 0,0 0 0 0 0,0-1 0 0 0,-3-4 0 0 0,2-2-141 0 0,-1 0 1 0 0,2 0-1 0 0,-1 0 1 0 0,1 0-1 0 0,0 0 0 0 0,1-1 1 0 0,0 1-1 0 0,1-1 0 0 0,0 1 1 0 0,0-1-1 0 0,3-13 1 0 0,4-15-311 0 0,15-53 1 0 0,-21 87 434 0 0,13-44-174 0 0,-5 19 81 0 0,0-1-1 0 0,-2 0 0 0 0,4-43 1 0 0,-11 70 101 0 0,0 0 1 0 0,0-1 0 0 0,0 1-1 0 0,0 0 1 0 0,-1 0 0 0 0,1 0-1 0 0,-1 0 1 0 0,0 0-1 0 0,0 0 1 0 0,0 0 0 0 0,0 0-1 0 0,0 0 1 0 0,-1 1 0 0 0,1-1-1 0 0,-1 0 1 0 0,0 1-1 0 0,0-1 1 0 0,0 1 0 0 0,0 0-1 0 0,0-1 1 0 0,-4-1 0 0 0,3 2 5 0 0,0 0 1 0 0,0 0-1 0 0,0 1 1 0 0,-1-1-1 0 0,1 1 1 0 0,0 0-1 0 0,-1 0 1 0 0,1 0-1 0 0,-1 1 1 0 0,0-1-1 0 0,1 1 1 0 0,-1 0 0 0 0,1 0-1 0 0,-1 0 1 0 0,0 0-1 0 0,1 1 1 0 0,-1-1-1 0 0,-4 3 1 0 0,3-2 4 0 0,1 0 1 0 0,0 0-1 0 0,0 1 1 0 0,0-1-1 0 0,1 1 1 0 0,-1 0-1 0 0,0 0 1 0 0,1 1-1 0 0,-1-1 1 0 0,1 1-1 0 0,0 0 1 0 0,0 0-1 0 0,0 0 1 0 0,0 0-1 0 0,0 0 1 0 0,1 1-1 0 0,-3 3 1 0 0,3-3 1 0 0,1-1 0 0 0,-1 1 0 0 0,1 0 0 0 0,0-1 1 0 0,0 1-1 0 0,1 0 0 0 0,-1 0 0 0 0,1 0 1 0 0,0 0-1 0 0,0 0 0 0 0,0-1 0 0 0,0 1 0 0 0,1 0 1 0 0,0 0-1 0 0,0 0 0 0 0,0 0 0 0 0,0-1 1 0 0,0 1-1 0 0,3 3 0 0 0,0 2-133 0 0,1-1 1 0 0,0 0-1 0 0,0-1 0 0 0,1 1 0 0 0,0-1 1 0 0,0 0-1 0 0,1 0 0 0 0,0-1 0 0 0,8 6 1 0 0,-1-2-1565 0 0,0-1 0 0 0,17 9 0 0 0,-11-6-1012 0 0</inkml:trace>
</inkml:ink>
</file>

<file path=ppt/ink/ink1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39.07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07 68 0 0,'6'-34'6865'0'0,"-2"0"-4064"0"0,-4 31-2784 0 0,0 0 13 0 0,0 0 0 0 0,0 0-1 0 0,1 0 1 0 0,-1 0 0 0 0,1 0 0 0 0,-1 1 0 0 0,1-1-1 0 0,0 0 1 0 0,3-5 0 0 0,-4 7-48 0 0</inkml:trace>
</inkml:ink>
</file>

<file path=ppt/ink/ink1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40.40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96 85 372 0 0,'0'-2'1110'0'0,"-2"-3"-850"0"0,1 0 0 0 0,-1 1-1 0 0,0-1 1 0 0,-1 1 0 0 0,1 0-1 0 0,0 0 1 0 0,-1 0 0 0 0,0 0-1 0 0,0 0 1 0 0,0 1 0 0 0,-1-1 0 0 0,1 1-1 0 0,-1 0 1 0 0,0 0 0 0 0,0 0-1 0 0,0 0 1 0 0,0 1 0 0 0,0 0 0 0 0,-1-1-1 0 0,1 2 1 0 0,-1-1 0 0 0,1 0-1 0 0,-1 1 1 0 0,-7-1 0 0 0,3 1-114 0 0,-1 0 0 0 0,1 0 1 0 0,0 1-1 0 0,0 1 0 0 0,-1-1 1 0 0,1 2-1 0 0,0-1 0 0 0,0 1 0 0 0,0 1 1 0 0,0-1-1 0 0,0 2 0 0 0,1-1 1 0 0,-1 1-1 0 0,1 0 0 0 0,0 1 1 0 0,-11 8-1 0 0,5-3-56 0 0,0 1 1 0 0,1 0-1 0 0,0 1 0 0 0,1 1 0 0 0,0 0 1 0 0,1 1-1 0 0,-17 28 0 0 0,24-36-77 0 0,0 1 0 0 0,1 0-1 0 0,0 0 1 0 0,1 0 0 0 0,0 0-1 0 0,0 1 1 0 0,0-1 0 0 0,1 1-1 0 0,0-1 1 0 0,0 1 0 0 0,1-1-1 0 0,0 1 1 0 0,1-1 0 0 0,-1 1-1 0 0,1-1 1 0 0,1 1 0 0 0,-1-1-1 0 0,1 0 1 0 0,1 1 0 0 0,-1-1-1 0 0,1 0 1 0 0,1-1 0 0 0,-1 1-1 0 0,1 0 1 0 0,0-1 0 0 0,1 0-1 0 0,-1 0 1 0 0,1 0 0 0 0,0-1-1 0 0,1 1 1 0 0,-1-1 0 0 0,1 0-1 0 0,0-1 1 0 0,0 0 0 0 0,12 7-1 0 0,-10-7-2 0 0,0-1 0 0 0,0 1 0 0 0,0-1 0 0 0,0-1 0 0 0,1 1 0 0 0,-1-1 0 0 0,1-1 0 0 0,-1 0 0 0 0,1 0 0 0 0,-1 0 0 0 0,13-2 0 0 0,-17 1-17 0 0,0-1 0 0 0,0 0-1 0 0,0 0 1 0 0,0 0 0 0 0,0 0 0 0 0,0 0 0 0 0,0-1-1 0 0,0 0 1 0 0,0 0 0 0 0,-1 0 0 0 0,1 0 0 0 0,-1 0 0 0 0,0-1-1 0 0,1 1 1 0 0,-1-1 0 0 0,0 0 0 0 0,0 0 0 0 0,-1-1-1 0 0,1 1 1 0 0,-1 0 0 0 0,0-1 0 0 0,0 1 0 0 0,0-1-1 0 0,0 0 1 0 0,2-5 0 0 0,2-13-38 0 0,-1 0 0 0 0,0-1-1 0 0,1-30 1 0 0,3-15 89 0 0,-8 56 36 0 0,-3 18 120 0 0,-2 22 153 0 0,6-12-300 0 0,0-1 1 0 0,2 0-1 0 0,0 0 0 0 0,0 0 0 0 0,2 0 1 0 0,0-1-1 0 0,0 0 0 0 0,1 0 0 0 0,1 0 1 0 0,0-1-1 0 0,14 15 0 0 0,-12-14-30 0 0,1-1 1 0 0,1-1-1 0 0,0 0 0 0 0,1-1 1 0 0,0 0-1 0 0,1-1 0 0 0,0 0 1 0 0,1-1-1 0 0,0-1 0 0 0,18 8 1 0 0,-28-14-30 0 0,0 0 0 0 0,0-1 0 0 0,0 1 0 0 0,0-1 1 0 0,0 0-1 0 0,0-1 0 0 0,0 1 0 0 0,1-1 0 0 0,-1 0 1 0 0,0 0-1 0 0,0-1 0 0 0,0 1 0 0 0,1-1 1 0 0,-1 0-1 0 0,0-1 0 0 0,0 1 0 0 0,0-1 0 0 0,6-3 1 0 0,-5 1-43 0 0,-1 0 0 0 0,0 0 0 0 0,0 0 0 0 0,0 0 0 0 0,0-1 0 0 0,-1 0 0 0 0,0 0 0 0 0,0 0 0 0 0,0 0 0 0 0,0-1 0 0 0,-1 1 0 0 0,0-1 0 0 0,0 0 0 0 0,2-7 0 0 0,11-36-82 0 0,-2 0 1 0 0,12-85-1 0 0,-22 121 58 0 0,1 18 47 0 0,0 19 71 0 0,-3-11 46 0 0,0 1-1 0 0,1-1 1 0 0,1 0-1 0 0,0 0 0 0 0,1 0 1 0 0,0 0-1 0 0,1-1 1 0 0,0 0-1 0 0,1 0 1 0 0,0 0-1 0 0,1-1 1 0 0,0 0-1 0 0,14 13 1 0 0,-20-23-85 0 0,-1 1 0 0 0,1-1 0 0 0,0 0 0 0 0,0 0 0 0 0,0 0 0 0 0,0 0 0 0 0,0 0 0 0 0,0 0 0 0 0,1 0 0 0 0,-1-1 0 0 0,0 1 0 0 0,0-1-1 0 0,0 0 1 0 0,1 1 0 0 0,-1-1 0 0 0,0 0 0 0 0,0-1 0 0 0,1 1 0 0 0,-1 0 0 0 0,0 0 0 0 0,0-1 0 0 0,0 0 0 0 0,1 1 0 0 0,-1-1 0 0 0,0 0 0 0 0,0 0 0 0 0,0 0 0 0 0,0 0 0 0 0,0 0 0 0 0,-1 0 0 0 0,4-3 0 0 0,5-4-41 0 0,-1 0 0 0 0,0-1 0 0 0,0 0 0 0 0,9-12 0 0 0,-15 18 21 0 0,33-45-100 0 0,-24 30 31 0 0,1 1 0 0 0,25-24 1 0 0,-38 40 96 0 0,1 0 1 0 0,-1 1 0 0 0,1-1-1 0 0,0 0 1 0 0,-1 1 0 0 0,1-1-1 0 0,-1 1 1 0 0,1-1 0 0 0,0 1-1 0 0,0-1 1 0 0,-1 1-1 0 0,1-1 1 0 0,0 1 0 0 0,0 0-1 0 0,-1-1 1 0 0,1 1 0 0 0,0 0-1 0 0,0 0 1 0 0,0 0-1 0 0,0-1 1 0 0,0 1 0 0 0,-1 0-1 0 0,1 0 1 0 0,0 0 0 0 0,0 0-1 0 0,0 1 1 0 0,0-1 0 0 0,0 0-1 0 0,-1 0 1 0 0,1 0-1 0 0,0 1 1 0 0,0-1 0 0 0,0 0-1 0 0,-1 1 1 0 0,1-1 0 0 0,0 1-1 0 0,0-1 1 0 0,-1 1 0 0 0,1-1-1 0 0,0 1 1 0 0,-1-1-1 0 0,1 1 1 0 0,-1 0 0 0 0,1-1-1 0 0,-1 1 1 0 0,1 0 0 0 0,-1 0-1 0 0,1-1 1 0 0,-1 1-1 0 0,0 0 1 0 0,1 0 0 0 0,-1 0-1 0 0,0-1 1 0 0,0 1 0 0 0,1 0-1 0 0,-1 2 1 0 0,2 6 149 0 0,0 1 0 0 0,0 0 0 0 0,0 18 0 0 0,-1-22-157 0 0,9 104 375 0 0,3-40-2865 0 0,-13-69 2269 0 0,0 0 0 0 0,0 0 1 0 0,0 0-1 0 0,0 0 0 0 0,1-1 0 0 0,-1 1 1 0 0,0 0-1 0 0,1 0 0 0 0,-1 0 1 0 0,1-1-1 0 0,-1 1 0 0 0,1 0 0 0 0,-1-1 1 0 0,1 1-1 0 0,-1 0 0 0 0,1-1 1 0 0,0 1-1 0 0,-1-1 0 0 0,1 1 0 0 0,0-1 1 0 0,0 1-1 0 0,-1-1 0 0 0,1 1 0 0 0,0-1 1 0 0,0 0-1 0 0,0 1 0 0 0,-1-1 1 0 0,1 0-1 0 0,2 0 0 0 0,-1 1 26 0 0</inkml:trace>
</inkml:ink>
</file>

<file path=ppt/ink/ink1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40.77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22 1 1272 0 0,'3'3'346'0'0,"1"1"1"0"0,-1 0-1 0 0,-1 1 0 0 0,1-1 1 0 0,-1 0-1 0 0,1 1 0 0 0,-1-1 1 0 0,-1 1-1 0 0,1 0 0 0 0,-1-1 1 0 0,1 1-1 0 0,-2 0 0 0 0,1 0 1 0 0,0 0-1 0 0,-1 0 0 0 0,0 0 1 0 0,0 0-1 0 0,-1 8 0 0 0,-1 7 261 0 0,-2 1-1 0 0,0-1 0 0 0,-7 22 1 0 0,6-27-408 0 0,0 0 0 0 0,-2 0 0 0 0,1-1 1 0 0,-2 0-1 0 0,0 0 0 0 0,0-1 1 0 0,-2 0-1 0 0,1 0 0 0 0,-2-1 0 0 0,1 0 1 0 0,-2-1-1 0 0,0 0 0 0 0,0-1 0 0 0,0 0 1 0 0,-1-1-1 0 0,-16 8 0 0 0,26-16-171 0 0,1-1 0 0 0,0 0 1 0 0,0 1-1 0 0,0-1 0 0 0,-1 0 0 0 0,1 0 0 0 0,0 0 0 0 0,0 0 0 0 0,0-1 0 0 0,-1 1 1 0 0,1-1-1 0 0,0 1 0 0 0,0-1 0 0 0,0 0 0 0 0,0 0 0 0 0,0 0 0 0 0,-3-1 0 0 0,5 2-27 0 0,-1-1 0 0 0,1 1 0 0 0,-1-1-1 0 0,0 0 1 0 0,0 1 0 0 0,1-1 0 0 0,-1 0-1 0 0,0 1 1 0 0,1-1 0 0 0,-1 0 0 0 0,1 0-1 0 0,-1 0 1 0 0,1 0 0 0 0,-1 1 0 0 0,1-1-1 0 0,0 0 1 0 0,0 0 0 0 0,-1 0 0 0 0,1 0 0 0 0,0 0-1 0 0,0 0 1 0 0,0 0 0 0 0,0 0 0 0 0,0 0-1 0 0,0 0 1 0 0,0 0 0 0 0,0 0 0 0 0,0 0-1 0 0,0 0 1 0 0,1 0 0 0 0,-1-1 0 0 0,1-1-4 0 0,0 0 0 0 0,0 0 1 0 0,0 0-1 0 0,1 0 1 0 0,-1 1-1 0 0,1-1 0 0 0,1-3 1 0 0,0 3-11 0 0,0 0 1 0 0,0-1 0 0 0,0 1 0 0 0,0 1-1 0 0,1-1 1 0 0,-1 0 0 0 0,1 1-1 0 0,0-1 1 0 0,-1 1 0 0 0,1 0 0 0 0,0 0-1 0 0,0 1 1 0 0,1-1 0 0 0,-1 1 0 0 0,8-1-1 0 0,-5 1 14 0 0,-1 1 0 0 0,1 0 0 0 0,-1 0 0 0 0,1 1 0 0 0,-1 0 0 0 0,1 0 0 0 0,-1 0 0 0 0,1 1 0 0 0,9 4 0 0 0,1 2-380 0 0,0 1-1 0 0,-1 1 1 0 0,0 0 0 0 0,0 1 0 0 0,-1 0 0 0 0,19 20 0 0 0,10 14-5954 0 0,-34-34 3736 0 0</inkml:trace>
</inkml:ink>
</file>

<file path=ppt/ink/ink1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41.80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5 1 448 0 0,'0'0'4158'0'0,"-3"1"-3053"0"0,0 1-864 0 0,-1 1 1 0 0,1 0 0 0 0,0-1-1 0 0,0 1 1 0 0,0 0 0 0 0,0 1-1 0 0,0-1 1 0 0,1 0 0 0 0,-1 1 0 0 0,1 0-1 0 0,0-1 1 0 0,0 1 0 0 0,0 0-1 0 0,1 0 1 0 0,-1 0 0 0 0,1 0-1 0 0,-1 6 1 0 0,0 1 52 0 0,0-1-1 0 0,0 0 0 0 0,1 1 1 0 0,0-1-1 0 0,1 1 1 0 0,1 15-1 0 0,3-6-69 0 0,0 1 0 0 0,1-1-1 0 0,1 0 1 0 0,10 25 0 0 0,-12-37-171 0 0,-1 0 0 0 0,1 0 0 0 0,1-1 0 0 0,0 1 0 0 0,0-1-1 0 0,0 0 1 0 0,0-1 0 0 0,1 1 0 0 0,1-1 0 0 0,-1 0 0 0 0,1-1 0 0 0,12 9 0 0 0,-18-13-47 0 0,0-1 1 0 0,1 1-1 0 0,-1-1 1 0 0,0 1-1 0 0,0-1 0 0 0,0 0 1 0 0,0 0-1 0 0,0 1 1 0 0,0-1-1 0 0,0 0 1 0 0,0 0-1 0 0,1 0 0 0 0,-1 0 1 0 0,2-1-1 0 0,0 1 11 0 0,1-1-23 0 0,-1 1 0 0 0,0-1 1 0 0,1 0-1 0 0,-1 0 1 0 0,0-1-1 0 0,0 1 0 0 0,0-1 1 0 0,0 1-1 0 0,0-1 1 0 0,0 0-1 0 0,0 0 0 0 0,0 0 1 0 0,-1-1-1 0 0,5-3 1 0 0,5-8-196 0 0,0-1-1 0 0,-1 0 1 0 0,17-30 0 0 0,-10 16-150 0 0,-17 27 281 0 0,1 3-117 0 0,19 21 141 0 0,-14-15 102 0 0,-1 0 1 0 0,1-1-1 0 0,0 1 0 0 0,15 9 0 0 0,-9-8 179 0 0,1-1 0 0 0,-1-1 0 0 0,1 0-1 0 0,1 0 1 0 0,-1-2 0 0 0,25 6 0 0 0,-36-10-179 0 0,1 1 0 0 0,0-1 0 0 0,-1 1-1 0 0,1-1 1 0 0,0 0 0 0 0,-1 0 0 0 0,1-1 0 0 0,-1 1 0 0 0,1-1 0 0 0,0 0 0 0 0,-1 0 0 0 0,1 0 0 0 0,-1 0 0 0 0,0-1 0 0 0,1 1 0 0 0,-1-1 0 0 0,0 0 0 0 0,0 0 0 0 0,0 0 0 0 0,0 0 0 0 0,0-1 0 0 0,-1 1 0 0 0,1-1 0 0 0,-1 0 0 0 0,1 1-1 0 0,-1-1 1 0 0,0 0 0 0 0,0 0 0 0 0,0-1 0 0 0,-1 1 0 0 0,1 0 0 0 0,-1-1 0 0 0,0 1 0 0 0,0-1 0 0 0,0 1 0 0 0,1-7 0 0 0,0-6-175 0 0,0 0 0 0 0,-1-1-1 0 0,-1 1 1 0 0,-1 0 0 0 0,0 0 0 0 0,-6-28 0 0 0,-2 13-1003 0 0,7 24 109 0 0,-1 0 1 0 0,1 0-1 0 0,1-1 0 0 0,-2-11 0 0 0,38 42-915 0 0,-13-12 1792 0 0,1 0 0 0 0,0-1 0 0 0,1-2 0 0 0,0 0 0 0 0,0-1 0 0 0,34 4 0 0 0,-53-11 213 0 0,-1 0 0 0 0,0 0-1 0 0,1 0 1 0 0,-1-1-1 0 0,0 0 1 0 0,0 0 0 0 0,1 0-1 0 0,-1 0 1 0 0,0-1 0 0 0,0 1-1 0 0,0-1 1 0 0,-1 0 0 0 0,1 0-1 0 0,0-1 1 0 0,-1 1 0 0 0,1-1-1 0 0,-1 0 1 0 0,0 0-1 0 0,0 0 1 0 0,0 0 0 0 0,4-6-1 0 0,-6 8-40 0 0,-1-1 0 0 0,1 1-1 0 0,-1 0 1 0 0,0 0 0 0 0,1-1-1 0 0,-1 1 1 0 0,0 0-1 0 0,0-1 1 0 0,0 1 0 0 0,0 0-1 0 0,0-1 1 0 0,0 1 0 0 0,0 0-1 0 0,0-1 1 0 0,0 1-1 0 0,-1 0 1 0 0,1 0 0 0 0,-1-1-1 0 0,1 1 1 0 0,-1 0 0 0 0,1 0-1 0 0,-1 0 1 0 0,0-1-1 0 0,1 1 1 0 0,-1 0 0 0 0,0 0-1 0 0,0 0 1 0 0,0 0 0 0 0,0 0-1 0 0,0 1 1 0 0,0-1-1 0 0,0 0 1 0 0,0 0 0 0 0,0 1-1 0 0,0-1 1 0 0,0 0 0 0 0,-1 1-1 0 0,-1-1 1 0 0,-4 1 84 0 0,1 0 1 0 0,-1 0-1 0 0,0 1 0 0 0,0 0 0 0 0,1 0 1 0 0,-1 1-1 0 0,1 0 0 0 0,-1 0 1 0 0,1 0-1 0 0,0 1 0 0 0,0 0 1 0 0,0 0-1 0 0,0 1 0 0 0,0 0 1 0 0,1 0-1 0 0,-1 0 0 0 0,-6 8 0 0 0,9-9-70 0 0,0 0 0 0 0,0 1 0 0 0,0-1 0 0 0,0 1 0 0 0,1 0 0 0 0,0 0-1 0 0,0 0 1 0 0,0 0 0 0 0,0 0 0 0 0,1 1 0 0 0,-1-1 0 0 0,1 0 0 0 0,0 1 0 0 0,1-1-1 0 0,-1 1 1 0 0,1-1 0 0 0,-1 1 0 0 0,1-1 0 0 0,1 1 0 0 0,-1-1 0 0 0,1 1-1 0 0,0-1 1 0 0,0 1 0 0 0,0-1 0 0 0,0 0 0 0 0,1 1 0 0 0,3 7 0 0 0,0-4-137 0 0,0 0 1 0 0,1 0 0 0 0,-1 0 0 0 0,1-1 0 0 0,1 0-1 0 0,-1 0 1 0 0,1 0 0 0 0,1-1 0 0 0,-1 0 0 0 0,1-1-1 0 0,0 1 1 0 0,9 3 0 0 0,-4-2-1219 0 0,-1-2 0 0 0,2 0 0 0 0,-1 0 0 0 0,21 4 0 0 0,-9-4-1870 0 0</inkml:trace>
</inkml:ink>
</file>

<file path=ppt/ink/ink1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42.67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51 1 1560 0 0,'-17'0'1007'0'0,"1"2"1"0"0,-1 0-1 0 0,1 1 0 0 0,-1 0 0 0 0,-25 10 0 0 0,22-5-537 0 0,-1 0 0 0 0,1 2 0 0 0,1 0 0 0 0,-1 2 0 0 0,2 0 0 0 0,-31 25 0 0 0,43-31-352 0 0,1-1-1 0 0,-1 1 1 0 0,1 1-1 0 0,0-1 1 0 0,0 1 0 0 0,1 0-1 0 0,0 0 1 0 0,0 0 0 0 0,1 1-1 0 0,0-1 1 0 0,-3 12-1 0 0,5-16-86 0 0,1 0-1 0 0,-1 0 0 0 0,1 0 0 0 0,-1 0 0 0 0,1 0 0 0 0,0 0 0 0 0,0 0 1 0 0,1 0-1 0 0,-1 0 0 0 0,1 0 0 0 0,-1 0 0 0 0,1 0 0 0 0,0 0 0 0 0,0 0 1 0 0,0 0-1 0 0,1 0 0 0 0,-1 0 0 0 0,0-1 0 0 0,1 1 0 0 0,0-1 0 0 0,0 1 1 0 0,0-1-1 0 0,0 1 0 0 0,0-1 0 0 0,0 0 0 0 0,1 0 0 0 0,-1 0 0 0 0,1-1 1 0 0,-1 1-1 0 0,1 0 0 0 0,0-1 0 0 0,4 2 0 0 0,-2-1-23 0 0,1 0-1 0 0,-1-1 0 0 0,1 0 1 0 0,-1 0-1 0 0,1 0 0 0 0,-1 0 1 0 0,1-1-1 0 0,-1 0 0 0 0,1 0 0 0 0,0-1 1 0 0,-1 0-1 0 0,1 0 0 0 0,-1 0 1 0 0,1 0-1 0 0,-1-1 0 0 0,0 0 1 0 0,0 0-1 0 0,0-1 0 0 0,0 1 1 0 0,0-1-1 0 0,7-5 0 0 0,9-7-58 0 0,0-2 0 0 0,-1 0-1 0 0,23-26 1 0 0,-23 22 156 0 0,10-4 186 0 0,-20 32-16 0 0,-4 25-321 0 0,-2-7 283 0 0,13 45-1 0 0,-15-63-345 0 0,0-1 0 0 0,0 0 0 0 0,1 0 0 0 0,0 0 0 0 0,1 0 0 0 0,-1-1 0 0 0,1 1 0 0 0,0-1 0 0 0,0 0 1 0 0,1 0-1 0 0,-1-1 0 0 0,7 6 0 0 0,-9-9-41 0 0,0 1-1 0 0,1-1 1 0 0,-1 0 0 0 0,0 0-1 0 0,0 0 1 0 0,0 0 0 0 0,1-1 0 0 0,-1 1-1 0 0,0-1 1 0 0,1 1 0 0 0,-1-1-1 0 0,1 0 1 0 0,-1 0 0 0 0,0 0 0 0 0,1 0-1 0 0,-1 0 1 0 0,1-1 0 0 0,-1 1-1 0 0,0-1 1 0 0,1 1 0 0 0,-1-1-1 0 0,0 0 1 0 0,0 0 0 0 0,1 0 0 0 0,-1 0-1 0 0,0 0 1 0 0,0-1 0 0 0,3-2-1 0 0,3-2-266 0 0,0-1-1 0 0,0-1 1 0 0,-1 1-1 0 0,0-1 0 0 0,6-10 1 0 0,17-23 76 0 0,64-80 2981 0 0,-93 120-2587 0 0,-1 1-1 0 0,1-1 1 0 0,-1 0-1 0 0,0 1 1 0 0,1-1-1 0 0,-1 0 1 0 0,1 1-1 0 0,-1-1 1 0 0,1 1-1 0 0,0-1 1 0 0,-1 1-1 0 0,1 0 1 0 0,0-1-1 0 0,-1 1 1 0 0,1-1-1 0 0,0 1 1 0 0,-1 0-1 0 0,1 0 1 0 0,0-1-1 0 0,0 1 1 0 0,-1 0 0 0 0,1 0-1 0 0,0 0 1 0 0,0 0-1 0 0,-1 0 1 0 0,1 0-1 0 0,0 0 1 0 0,0 0-1 0 0,-1 0 1 0 0,1 0-1 0 0,0 0 1 0 0,0 1-1 0 0,-1-1 1 0 0,1 0-1 0 0,0 1 1 0 0,0-1-1 0 0,-1 0 1 0 0,1 1-1 0 0,0-1 1 0 0,-1 1-1 0 0,1-1 1 0 0,-1 1-1 0 0,1-1 1 0 0,-1 1-1 0 0,1-1 1 0 0,-1 1-1 0 0,1-1 1 0 0,-1 1 0 0 0,1 0-1 0 0,-1 0 1 0 0,3 4 88 0 0,-1 0 1 0 0,0 0 0 0 0,0 0 0 0 0,0 0 0 0 0,0 6 0 0 0,-1-9-90 0 0,10 56 1155 0 0,-8-40-951 0 0,0 1-1 0 0,1-1 1 0 0,2 1 0 0 0,7 19 0 0 0,-11-35-237 0 0,-1-1 0 0 0,1 0 0 0 0,0 1 0 0 0,-1-1-1 0 0,1 0 1 0 0,0 0 0 0 0,1 0 0 0 0,-1 0 0 0 0,0 0 0 0 0,0 0 0 0 0,1-1 0 0 0,-1 1 0 0 0,1-1 0 0 0,-1 0-1 0 0,1 0 1 0 0,0 0 0 0 0,-1 0 0 0 0,1 0 0 0 0,0 0 0 0 0,0-1 0 0 0,0 1 0 0 0,0-1 0 0 0,-1 0-1 0 0,1 0 1 0 0,0 0 0 0 0,0 0 0 0 0,0 0 0 0 0,5-2 0 0 0,2 0 0 0 0,0 0 0 0 0,0-1 0 0 0,0 0 1 0 0,0-1-1 0 0,0 0 0 0 0,16-9 0 0 0,-6 0-66 0 0,-1-2 0 0 0,0 0 1 0 0,-1-1-1 0 0,0 0 0 0 0,-1-2 0 0 0,-1 0 0 0 0,-1 0 0 0 0,-1-2 1 0 0,0 0-1 0 0,18-37 0 0 0,-30 53 36 0 0,-1 2 1 0 0,0 0 1 0 0,-1 1 0 0 0,1-1-1 0 0,0 0 1 0 0,-1 0 0 0 0,1 0-1 0 0,-1 0 1 0 0,1 0 0 0 0,-1 0-1 0 0,0-3 1 0 0,-3-15-10 0 0,-2 18 29 0 0,5 3-9 0 0,-2-3 15 0 0,-3 3 2 0 0,2-1 1 0 0,0 0 0 0 0,-1 1 0 0 0,1 0 0 0 0,-1-1 1 0 0,1 1-1 0 0,0 1 0 0 0,0-1 0 0 0,0 0 0 0 0,-1 1 0 0 0,1-1 1 0 0,1 1-1 0 0,-1 0 0 0 0,0 0 0 0 0,0 0 0 0 0,1 1 1 0 0,-1-1-1 0 0,1 1 0 0 0,0-1 0 0 0,0 1 0 0 0,0 0 1 0 0,-3 4-1 0 0,3-4 10 0 0,1 0 1 0 0,0 0-1 0 0,-1 0 0 0 0,1 1 1 0 0,0-1-1 0 0,1 0 1 0 0,-1 1-1 0 0,0-1 1 0 0,1 0-1 0 0,0 1 1 0 0,0-1-1 0 0,0 1 1 0 0,0-1-1 0 0,1 0 0 0 0,-1 1 1 0 0,1-1-1 0 0,2 7 1 0 0,-1-5 11 0 0,0 0 1 0 0,1-1 0 0 0,0 1 0 0 0,0 0-1 0 0,1-1 1 0 0,-1 0 0 0 0,1 0-1 0 0,0 0 1 0 0,0 0 0 0 0,5 4-1 0 0,5 2-16 0 0,0-1-1 0 0,0-1 1 0 0,1 0-1 0 0,1-1 0 0 0,-1 0 1 0 0,23 5-1 0 0,-23-8-340 0 0,0 0 0 0 0,0-1 0 0 0,0-1 0 0 0,1 0 1 0 0,-1-1-1 0 0,1-1 0 0 0,23-2 0 0 0,-27 0-768 0 0,-1 0 0 0 0,0-1 0 0 0,0 0 1 0 0,0-1-1 0 0,0 0 0 0 0,16-9 0 0 0,-15 6-2214 0 0</inkml:trace>
</inkml:ink>
</file>

<file path=ppt/ink/ink1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43.85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69 191 1244 0 0,'-6'-3'401'0'0,"1"0"0"0"0,-1 0 0 0 0,0 0 0 0 0,0 1 0 0 0,0 0 0 0 0,0 0-1 0 0,-1 0 1 0 0,1 1 0 0 0,0 0 0 0 0,-1 0 0 0 0,1 1 0 0 0,-1-1 0 0 0,1 1 0 0 0,-1 1 0 0 0,1 0 0 0 0,-1-1-1 0 0,-11 5 1 0 0,7-3-199 0 0,1 1-1 0 0,0 1 0 0 0,0 0 1 0 0,1 0-1 0 0,-1 0 0 0 0,1 2 1 0 0,0-1-1 0 0,0 1 0 0 0,0 0 1 0 0,-10 10-1 0 0,16-13-155 0 0,0 1 0 0 0,1-1-1 0 0,-1 0 1 0 0,1 1 0 0 0,-1-1 0 0 0,1 1 0 0 0,0 0-1 0 0,1 0 1 0 0,-1 0 0 0 0,1 0 0 0 0,-1 0 0 0 0,1 0-1 0 0,0 0 1 0 0,1 0 0 0 0,-1 1 0 0 0,1-1 0 0 0,0 0 0 0 0,0 0-1 0 0,0 1 1 0 0,0-1 0 0 0,1 0 0 0 0,0 0 0 0 0,-1 0-1 0 0,2 1 1 0 0,-1-1 0 0 0,0 0 0 0 0,1 0 0 0 0,0-1-1 0 0,0 1 1 0 0,0 0 0 0 0,0-1 0 0 0,1 1 0 0 0,-1-1-1 0 0,1 1 1 0 0,0-1 0 0 0,0 0 0 0 0,0 0 0 0 0,1-1-1 0 0,-1 1 1 0 0,0-1 0 0 0,1 1 0 0 0,0-1 0 0 0,7 3-1 0 0,-9-4-35 0 0,0 0 0 0 0,-1 0 0 0 0,1-1 0 0 0,0 1-1 0 0,-1 0 1 0 0,1-1 0 0 0,0 1 0 0 0,0-1 0 0 0,0 0-1 0 0,-1 0 1 0 0,1 0 0 0 0,0 0 0 0 0,0 0 0 0 0,0 0-1 0 0,0 0 1 0 0,-1 0 0 0 0,3-1 0 0 0,2-1 14 0 0,3 0-35 0 0,1 0 0 0 0,-1-1 0 0 0,0 0 0 0 0,0 0 0 0 0,0-1 0 0 0,0 0 1 0 0,-1-1-1 0 0,11-7 0 0 0,-8 6-53 0 0,-1 0 0 0 0,21-9 1 0 0,-30 15 61 0 0,0 0 1 0 0,1-1-1 0 0,-1 1 0 0 0,0 0 1 0 0,0 0-1 0 0,0 0 1 0 0,0 0-1 0 0,0 0 1 0 0,0 0-1 0 0,0 1 0 0 0,0-1 1 0 0,0 0-1 0 0,0 0 1 0 0,0 1-1 0 0,0-1 0 0 0,0 1 1 0 0,0-1-1 0 0,0 1 1 0 0,0-1-1 0 0,0 1 1 0 0,0 0-1 0 0,2 1 0 0 0,-2 0 9 0 0,1 0-1 0 0,0-1 1 0 0,0 2-1 0 0,-1-1 1 0 0,1 0-1 0 0,-1 0 1 0 0,0 0-1 0 0,2 4 1 0 0,1 7 103 0 0,0 1 0 0 0,-1 0 0 0 0,0 0-1 0 0,-1 1 1 0 0,0-1 0 0 0,-1 0 0 0 0,-1 1 0 0 0,-1-1 0 0 0,0 1 0 0 0,0-1 0 0 0,-2 0 0 0 0,-3 15 0 0 0,0-8 159 0 0,-1 0 0 0 0,0-1 1 0 0,-2 1-1 0 0,0-1 1 0 0,-1-1-1 0 0,-1 0 1 0 0,-17 21-1 0 0,26-36-179 0 0,-1-1 0 0 0,0 1 0 0 0,0-1 0 0 0,0 0 0 0 0,0 0 0 0 0,-1 0-1 0 0,1 0 1 0 0,-1-1 0 0 0,1 1 0 0 0,-1-1 0 0 0,0 0 0 0 0,0 0 0 0 0,0 0 0 0 0,-1-1 0 0 0,1 1 0 0 0,0-1 0 0 0,0 0-1 0 0,-6 0 1 0 0,8 0-86 0 0,1-1-1 0 0,0 0 1 0 0,-1 0 0 0 0,1 0-1 0 0,0 0 1 0 0,0 0-1 0 0,-1 0 1 0 0,1 0 0 0 0,0-1-1 0 0,-1 1 1 0 0,1 0-1 0 0,0-1 1 0 0,0 1 0 0 0,-1-1-1 0 0,1 1 1 0 0,0-1-1 0 0,0 1 1 0 0,0-1 0 0 0,0 0-1 0 0,0 0 1 0 0,0 0-1 0 0,0 0 1 0 0,0 1 0 0 0,0-1-1 0 0,0 0 1 0 0,1-1-1 0 0,-1 1 1 0 0,0 0 0 0 0,0 0-1 0 0,1 0 1 0 0,-1 0-1 0 0,1 0 1 0 0,-1-1-1 0 0,1 1 1 0 0,0 0 0 0 0,-1-1-1 0 0,1 1 1 0 0,0 0-1 0 0,0 0 1 0 0,0-1 0 0 0,0 1-1 0 0,0 0 1 0 0,0-1-1 0 0,1-1 1 0 0,0-4-67 0 0,0 0 0 0 0,0 1-1 0 0,1-1 1 0 0,0 0 0 0 0,0 1 0 0 0,6-11 0 0 0,3-4-211 0 0,2 2 0 0 0,1-1 0 0 0,0 2 0 0 0,1 0 0 0 0,35-32 0 0 0,100-67-578 0 0,-98 80 487 0 0,66-62 0 0 0,-19 3 90 0 0,-94 89 233 0 0,-11 8 32 0 0,-14 11 0 0 0,12-5 2 0 0,1 1-1 0 0,0 0 1 0 0,0 1 0 0 0,1 0-1 0 0,-1 0 1 0 0,2 0-1 0 0,0 1 1 0 0,0-1 0 0 0,0 1-1 0 0,1 1 1 0 0,1-1-1 0 0,0 0 1 0 0,-2 16 0 0 0,3-19 14 0 0,1 0 0 0 0,1 1 1 0 0,0-1-1 0 0,0 1 1 0 0,0-1-1 0 0,1 1 0 0 0,0-1 1 0 0,0 0-1 0 0,1 1 1 0 0,0-1-1 0 0,0 0 0 0 0,1 0 1 0 0,0 0-1 0 0,0 0 1 0 0,1-1-1 0 0,0 1 0 0 0,0-1 1 0 0,0 0-1 0 0,1 0 1 0 0,7 7-1 0 0,-8-9-24 0 0,0 0 0 0 0,0-1 0 0 0,0 1 0 0 0,1-1 0 0 0,0 0 0 0 0,0-1-1 0 0,-1 1 1 0 0,1-1 0 0 0,1 0 0 0 0,-1 0 0 0 0,0 0 0 0 0,1-1 0 0 0,-1 1 0 0 0,0-2 0 0 0,1 1 0 0 0,-1 0 0 0 0,1-1 0 0 0,0 0 0 0 0,-1 0-1 0 0,1-1 1 0 0,-1 0 0 0 0,1 0 0 0 0,-1 0 0 0 0,0 0 0 0 0,1-1 0 0 0,-1 0 0 0 0,0 0 0 0 0,5-3 0 0 0,3-3-183 0 0,0 1 1 0 0,-1-2-1 0 0,0 0 1 0 0,0 0-1 0 0,-1-1 1 0 0,-1 0-1 0 0,1-1 0 0 0,-2 0 1 0 0,12-16-1 0 0,8-19-321 0 0,44-90-1 0 0,8-56 1721 0 0,-79 187-1115 0 0,-1-1 0 0 0,1 1-1 0 0,-1-1 1 0 0,-1 0 0 0 0,1-5 0 0 0,-1 8 110 0 0,-2 5 8 0 0,-2 0-165 0 0,1 2-1 0 0,0-1 0 0 0,0 0 0 0 0,0 1 0 0 0,0-1 0 0 0,0 1 0 0 0,1 0 0 0 0,-1 0 0 0 0,1 0 0 0 0,0 0 0 0 0,1 0 0 0 0,-1 0 0 0 0,1 1 0 0 0,-1-1 0 0 0,1 1 0 0 0,0 6 0 0 0,-3 13 28 0 0,0 44 0 0 0,3-59-44 0 0,10 160 510 0 0,0-53-2401 0 0,-11-38-4290 0 0,2-67 2726 0 0</inkml:trace>
</inkml:ink>
</file>

<file path=ppt/ink/ink1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44.19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227 640 0 0,'0'-3'341'0'0,"1"0"1"0"0,-1 0-1 0 0,1 0 0 0 0,0 1 1 0 0,-1-1-1 0 0,1 0 1 0 0,1 1-1 0 0,-1-1 0 0 0,0 0 1 0 0,1 1-1 0 0,-1-1 0 0 0,1 1 1 0 0,-1 0-1 0 0,1 0 0 0 0,0 0 1 0 0,0 0-1 0 0,0 0 1 0 0,1 0-1 0 0,3-3 0 0 0,7-3 68 0 0,0 0-1 0 0,23-9 1 0 0,-10 4 200 0 0,26-12-89 0 0,73-22 1 0 0,-98 37-339 0 0,2-1 85 0 0,-4 2 143 0 0,0 0 0 0 0,34-6 0 0 0,-55 14-302 0 0,1 0 1 0 0,-1 1 0 0 0,0 0 0 0 0,0 0-1 0 0,0 0 1 0 0,0 0 0 0 0,1 0-1 0 0,-1 1 1 0 0,0 0 0 0 0,0 0 0 0 0,0 0-1 0 0,0 1 1 0 0,0-1 0 0 0,0 1-1 0 0,6 4 1 0 0,-6-3-14 0 0,0 0-1 0 0,0 1 1 0 0,0-1-1 0 0,-1 1 1 0 0,1 0-1 0 0,-1 0 1 0 0,0 1-1 0 0,0-1 1 0 0,-1 1-1 0 0,1-1 1 0 0,-1 1-1 0 0,2 6 1 0 0,2 5-33 0 0,-2 1-1 0 0,0 0 1 0 0,-1-1 0 0 0,2 30-1 0 0,-3 30-5413 0 0,-5-59 937 0 0</inkml:trace>
</inkml:ink>
</file>

<file path=ppt/ink/ink1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44.57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 595 208 0 0,'-9'-20'6639'0'0,"10"17"-6488"0"0,1 0 1 0 0,0 0-1 0 0,0 0 1 0 0,0 0 0 0 0,1 1-1 0 0,-1-1 1 0 0,1 1 0 0 0,-1 0-1 0 0,1 0 1 0 0,0 0-1 0 0,0 0 1 0 0,0 0 0 0 0,0 0-1 0 0,0 1 1 0 0,0-1-1 0 0,0 1 1 0 0,7-2 0 0 0,11-2-23 0 0,36-7 0 0 0,-33 9 35 0 0,-9 0 14 0 0,1 1 1 0 0,-1 0-1 0 0,0 2 0 0 0,24 1 0 0 0,-36-1-99 0 0,0 1 0 0 0,0-1 0 0 0,-1 1-1 0 0,1 0 1 0 0,0 0 0 0 0,0 0 0 0 0,-1 0 0 0 0,1 0 0 0 0,-1 1 0 0 0,1-1-1 0 0,-1 1 1 0 0,0 0 0 0 0,1 0 0 0 0,-1 0 0 0 0,0 0 0 0 0,0 0 0 0 0,0 0-1 0 0,0 0 1 0 0,-1 1 0 0 0,1-1 0 0 0,-1 0 0 0 0,1 1 0 0 0,-1 0 0 0 0,0-1-1 0 0,0 1 1 0 0,0 0 0 0 0,1 5 0 0 0,1 6 103 0 0,-1-1-1 0 0,0 1 1 0 0,-1-1 0 0 0,-1 18-1 0 0,0-30-179 0 0,-3 55-1303 0 0,-6-22-5632 0 0</inkml:trace>
  <inkml:trace contextRef="#ctx0" brushRef="#br0" timeOffset="1">170 181 1816 0 0,'-2'-36'2892'0'0,"-1"1"-1"0"0,-10-44 1 0 0,12 75-2535 0 0,-6-19-1222 0 0,1 19-1168 0 0,-3 14-1145 0 0,2 0 810 0 0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05:41.44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08 4 1036 0 0,'0'-4'7111'0'0,"-16"19"-5236"0"0,-22 26-1223 0 0,-16 26 548 0 0,-77 123 1 0 0,114-160-2158 0 0,2 0-1 0 0,-19 54 0 0 0,31-69-1417 0 0</inkml:trace>
</inkml:ink>
</file>

<file path=ppt/ink/ink1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45.44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 1320 0 0,'0'0'2340'0'0,"7"9"220"0"0,0 5-1710 0 0,1 0-1 0 0,16 21 1 0 0,-16-24-761 0 0,0-1 0 0 0,-1 2 0 0 0,0-1 1 0 0,-1 1-1 0 0,8 20 0 0 0,-10-22 9 0 0,-1 0-1 0 0,-1 1 0 0 0,1-1 1 0 0,-2 1-1 0 0,1 0 0 0 0,-1-1 1 0 0,-1 1-1 0 0,0 0 0 0 0,-1 0 1 0 0,-2 13-1 0 0,-5 37 840 0 0,8-59-532 0 0,0 8 1760 0 0,4-22-2253 0 0,-1 0-1 0 0,2 1 1 0 0,0-1 0 0 0,0 1-1 0 0,1 0 1 0 0,0 1 0 0 0,1-1-1 0 0,0 1 1 0 0,0 0 0 0 0,1 1-1 0 0,1 0 1 0 0,10-9 0 0 0,-18 17 73 0 0,0 0 1 0 0,1 0-1 0 0,-1 0 1 0 0,1 0-1 0 0,-1 0 1 0 0,1 0-1 0 0,-1 1 1 0 0,1-1-1 0 0,0 0 1 0 0,-1 1-1 0 0,1-1 0 0 0,0 1 1 0 0,0 0-1 0 0,-1 0 1 0 0,1 0-1 0 0,0 0 1 0 0,0 0-1 0 0,-1 0 1 0 0,1 0-1 0 0,0 0 1 0 0,0 1-1 0 0,-1-1 1 0 0,1 0-1 0 0,0 1 1 0 0,-1 0-1 0 0,1-1 0 0 0,-1 1 1 0 0,1 0-1 0 0,0 0 1 0 0,-1 0-1 0 0,0 0 1 0 0,1 0-1 0 0,2 3 1 0 0,3 3-13 0 0,1 1 0 0 0,-1 0 1 0 0,0 0-1 0 0,7 12 0 0 0,-11-17 29 0 0,1 3 20 0 0,0-1-1 0 0,0 1 1 0 0,1-1 0 0 0,0 0-1 0 0,0 0 1 0 0,0 0 0 0 0,1-1 0 0 0,0 0-1 0 0,-1 0 1 0 0,2 0 0 0 0,10 5-1 0 0,-14-9-32 0 0,1 0 0 0 0,-1 0 0 0 0,0 0 0 0 0,0-1-1 0 0,0 1 1 0 0,0-1 0 0 0,0 0 0 0 0,0 0-1 0 0,0 0 1 0 0,0 0 0 0 0,0 0 0 0 0,0 0-1 0 0,0-1 1 0 0,-1 0 0 0 0,1 1 0 0 0,-1-1 0 0 0,1 0-1 0 0,3-4 1 0 0,3-4-219 0 0,-1-1 0 0 0,0 0 0 0 0,12-21 0 0 0,-16 23 148 0 0,1 0 0 0 0,0 1-1 0 0,1 0 1 0 0,-1 0 0 0 0,2 0 0 0 0,-1 1 0 0 0,11-9 0 0 0,-16 15 79 0 0,0 0-1 0 0,0 0 0 0 0,0 1 1 0 0,1-1-1 0 0,-1 0 0 0 0,0 1 1 0 0,0-1-1 0 0,0 1 0 0 0,1-1 1 0 0,-1 1-1 0 0,0 0 0 0 0,0-1 1 0 0,1 1-1 0 0,-1 0 0 0 0,0 0 1 0 0,1 0-1 0 0,-1 0 0 0 0,0 0 0 0 0,1 0 1 0 0,-1 1-1 0 0,0-1 0 0 0,0 0 1 0 0,1 1-1 0 0,0 0 0 0 0,0 0 18 0 0,1 0-1 0 0,-1 1 0 0 0,-1-1 0 0 0,1 1 0 0 0,0 0 1 0 0,0 0-1 0 0,0 0 0 0 0,-1 0 0 0 0,1 0 0 0 0,-1 0 1 0 0,2 4-1 0 0,2 3 67 0 0,-1 1 0 0 0,0 0 0 0 0,-1 0-1 0 0,4 20 1 0 0,-6-20 4 0 0,1 0 0 0 0,-2 1 0 0 0,1-1-1 0 0,-1 1 1 0 0,-1 0 0 0 0,0-1 0 0 0,0 1-1 0 0,-6 16 1 0 0,6-23-66 0 0,0 0 0 0 0,-1 0 0 0 0,0 0 0 0 0,1-1 0 0 0,-2 1 0 0 0,1 0 0 0 0,0-1-1 0 0,-1 1 1 0 0,1-1 0 0 0,-1 0 0 0 0,0 0 0 0 0,0 0 0 0 0,-1 0 0 0 0,1 0 0 0 0,0-1 0 0 0,-1 1 0 0 0,0-1-1 0 0,0 0 1 0 0,1 0 0 0 0,-1-1 0 0 0,0 1 0 0 0,0-1 0 0 0,0 1 0 0 0,-9 0 0 0 0,10-2-8 0 0,1 1-1 0 0,-1-1 1 0 0,1 0 0 0 0,-1 1 0 0 0,1-1-1 0 0,-1-1 1 0 0,1 1 0 0 0,-1 0 0 0 0,0-1-1 0 0,1 1 1 0 0,0-1 0 0 0,-1 1 0 0 0,1-1-1 0 0,-1 0 1 0 0,1 0 0 0 0,0-1 0 0 0,-1 1-1 0 0,-2-2 1 0 0,3 1-40 0 0,1-1 1 0 0,-1 1-1 0 0,1 0 0 0 0,0 0 1 0 0,-1 0-1 0 0,1-1 0 0 0,0 1 0 0 0,0-1 1 0 0,0 1-1 0 0,1-1 0 0 0,-1 1 0 0 0,1-1 1 0 0,-1 1-1 0 0,1-1 0 0 0,0 1 0 0 0,0-1 1 0 0,0 0-1 0 0,0 1 0 0 0,1-5 0 0 0,4-22-442 0 0,1-1 0 0 0,1 1 1 0 0,16-42-1 0 0,10-35 256 0 0,-29 92 184 0 0,2-14-152 0 0,-6 27 177 0 0,0 0 0 0 0,0 0 0 0 0,0 0-1 0 0,0 0 1 0 0,0 0 0 0 0,-1 0 0 0 0,1 0 0 0 0,0 0 0 0 0,-1 0-1 0 0,1 0 1 0 0,0 0 0 0 0,-1 0 0 0 0,1 0 0 0 0,-1 0 0 0 0,1 0 0 0 0,-1 0-1 0 0,0 0 1 0 0,0 1 0 0 0,1-1 0 0 0,-1 0 0 0 0,-1-1 0 0 0,0 1-49 0 0,-1 1 48 0 0,1 0 5 0 0,1 0 1 0 0,0 0 0 0 0,-1 0 0 0 0,1 0 0 0 0,0 0 0 0 0,0 1 0 0 0,-1-1 0 0 0,1 0 0 0 0,0 1 0 0 0,0-1 0 0 0,-1 1 0 0 0,1-1-1 0 0,0 1 1 0 0,0-1 0 0 0,0 1 0 0 0,0 0 0 0 0,0 0 0 0 0,0 0 0 0 0,0-1 0 0 0,0 1 0 0 0,0 0 0 0 0,0 0 0 0 0,0 0 0 0 0,1 0 0 0 0,-1 1-1 0 0,0-1 1 0 0,1 0 0 0 0,-1 0 0 0 0,1 0 0 0 0,-1 0 0 0 0,1 1 0 0 0,0-1 0 0 0,-1 2 0 0 0,1 3-72 0 0,1 0 0 0 0,0 0 0 0 0,0 0-1 0 0,1 0 1 0 0,-1 0 0 0 0,1 0 0 0 0,1 0 0 0 0,-1-1 0 0 0,1 1 0 0 0,0-1 0 0 0,4 6 0 0 0,-4-6-526 0 0,1 0 0 0 0,0 0 1 0 0,0-1-1 0 0,1 1 0 0 0,-1-1 0 0 0,10 7 1 0 0,2-2-1135 0 0</inkml:trace>
</inkml:ink>
</file>

<file path=ppt/ink/ink1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46.55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4 892 0 0,'0'-1'250'0'0,"0"-1"1"0"0,0 1-1 0 0,0-1 0 0 0,0 1 1 0 0,1 0-1 0 0,-1-1 0 0 0,0 1 1 0 0,1-1-1 0 0,-1 1 0 0 0,1 0 1 0 0,1-3-1 0 0,-2 4-150 0 0,0-1-1 0 0,0 1 1 0 0,1 0 0 0 0,-1-1 0 0 0,1 1-1 0 0,-1 0 1 0 0,0-1 0 0 0,1 1 0 0 0,-1 0-1 0 0,1-1 1 0 0,-1 1 0 0 0,1 0-1 0 0,-1 0 1 0 0,0 0 0 0 0,1 0 0 0 0,-1-1-1 0 0,1 1 1 0 0,-1 0 0 0 0,1 0 0 0 0,-1 0-1 0 0,1 0 1 0 0,0 0 0 0 0,2 1 86 0 0,-1 0-1 0 0,1-1 1 0 0,-1 1 0 0 0,1 0 0 0 0,-1 1-1 0 0,0-1 1 0 0,1 0 0 0 0,-1 1 0 0 0,0-1-1 0 0,0 1 1 0 0,3 2 0 0 0,4 6 94 0 0,0-1 1 0 0,-1 1-1 0 0,0 1 0 0 0,0-1 1 0 0,-1 1-1 0 0,7 15 0 0 0,29 74 114 0 0,-41-94-363 0 0,7 22-266 0 0,-2 0-1 0 0,0 1 1 0 0,-2 0 0 0 0,2 54-1 0 0,-5-59-835 0 0,3 8-3301 0 0</inkml:trace>
</inkml:ink>
</file>

<file path=ppt/ink/ink1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46.89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78 1112 0 0,'9'-11'891'0'0,"66"-78"3600"0"0,-65 78-4110 0 0,2 0 0 0 0,0 0 1 0 0,0 1-1 0 0,0 1 0 0 0,17-9 0 0 0,-27 17-309 0 0,1-1-1 0 0,-1 1 1 0 0,1 1-1 0 0,0-1 1 0 0,-1 0-1 0 0,1 1 0 0 0,0-1 1 0 0,0 1-1 0 0,-1 0 1 0 0,1 0-1 0 0,0 0 1 0 0,0 0-1 0 0,0 1 0 0 0,-1-1 1 0 0,1 1-1 0 0,0-1 1 0 0,0 1-1 0 0,-1 0 1 0 0,1 0-1 0 0,-1 0 0 0 0,1 0 1 0 0,-1 1-1 0 0,1-1 1 0 0,-1 1-1 0 0,0 0 1 0 0,4 3-1 0 0,2 3 30 0 0,0 0 0 0 0,0 0 0 0 0,-1 0 0 0 0,-1 1 0 0 0,8 12 0 0 0,-2-1 43 0 0,-1 1-1 0 0,-1 0 0 0 0,13 38 1 0 0,-18-42-837 0 0,4 32 1 0 0,-7-37-665 0 0,-1 1-1 0 0,-1 0 1 0 0,-1 14-1 0 0,-1-18-1313 0 0</inkml:trace>
</inkml:ink>
</file>

<file path=ppt/ink/ink1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47.49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2 214 180 0 0,'3'1'1585'0'0,"-1"0"-1336"0"0,0 0 0 0 0,0 1-1 0 0,0-1 1 0 0,0 1 0 0 0,0-1-1 0 0,-1 1 1 0 0,1 0 0 0 0,0 0-1 0 0,-1 0 1 0 0,0-1 0 0 0,1 1-1 0 0,-1 1 1 0 0,0-1 0 0 0,0 0-1 0 0,0 0 1 0 0,0 0 0 0 0,0 1-1 0 0,0 4 1 0 0,3 8 845 0 0,1 31 0 0 0,0-9-241 0 0,26 169 1048 0 0,-31-205-1862 0 0,1 0-1 0 0,-1 0 1 0 0,0 0 0 0 0,0 0 0 0 0,1 0 0 0 0,-1 0 0 0 0,0 0 0 0 0,0 0-1 0 0,0 0 1 0 0,0 0 0 0 0,0 0 0 0 0,-1 0 0 0 0,1 0 0 0 0,0 0-1 0 0,0 0 1 0 0,-1 0 0 0 0,1 0 0 0 0,0 0 0 0 0,-1 0 0 0 0,1 0 0 0 0,-1 0-1 0 0,0 0 1 0 0,1 0 0 0 0,-1 0 0 0 0,1-1 0 0 0,-1 1 0 0 0,0 0-1 0 0,0 0 1 0 0,0-1 0 0 0,1 1 0 0 0,-1-1 0 0 0,0 1 0 0 0,0-1 0 0 0,0 1-1 0 0,0-1 1 0 0,0 1 0 0 0,0-1 0 0 0,0 0 0 0 0,0 1 0 0 0,0-1 0 0 0,0 0-1 0 0,0 0 1 0 0,-1 0 0 0 0,-1 0-11 0 0,0 0-1 0 0,0 0 1 0 0,1-1 0 0 0,-1 1-1 0 0,0-1 1 0 0,1 1 0 0 0,-1-1-1 0 0,0 0 1 0 0,1 0-1 0 0,-1 0 1 0 0,1-1 0 0 0,-1 1-1 0 0,1 0 1 0 0,0-1 0 0 0,-3-2-1 0 0,-1-3-17 0 0,0 0 0 0 0,0-1-1 0 0,1 0 1 0 0,0 0 0 0 0,0-1-1 0 0,1 0 1 0 0,0 1 0 0 0,0-1 0 0 0,1-1-1 0 0,0 1 1 0 0,1 0 0 0 0,-2-16-1 0 0,1 3-84 0 0,2 0 0 0 0,0 0 0 0 0,1 0 0 0 0,6-34 0 0 0,-3 36 34 0 0,1 0 0 0 0,2 0 0 0 0,0 0 0 0 0,1 0 0 0 0,1 1 0 0 0,20-36 0 0 0,-22 44 14 0 0,1 1 1 0 0,0 0-1 0 0,1 0 1 0 0,0 0 0 0 0,0 1-1 0 0,1 0 1 0 0,0 1 0 0 0,1 0-1 0 0,-1 1 1 0 0,2 0-1 0 0,-1 0 1 0 0,1 1 0 0 0,13-6-1 0 0,-21 11 19 0 0,1 0-1 0 0,0-1 1 0 0,0 1-1 0 0,0 0 1 0 0,0 1 0 0 0,0-1-1 0 0,-1 1 1 0 0,1 0-1 0 0,0 0 1 0 0,1 0 0 0 0,-2 0-1 0 0,1 1 1 0 0,0-1-1 0 0,0 1 1 0 0,0 0-1 0 0,0 0 1 0 0,5 3 0 0 0,-7-3 5 0 0,0 1 1 0 0,0-1 0 0 0,0 1-1 0 0,0-1 1 0 0,0 1 0 0 0,-1 0-1 0 0,1 0 1 0 0,-1 0 0 0 0,1 0-1 0 0,-1 0 1 0 0,0 0 0 0 0,0 0-1 0 0,0 0 1 0 0,0 0 0 0 0,0 0-1 0 0,0 1 1 0 0,-1-1 0 0 0,1 0-1 0 0,-1 1 1 0 0,1-1-1 0 0,-1 0 1 0 0,0 1 0 0 0,0-1-1 0 0,0 1 1 0 0,0-1 0 0 0,0 0-1 0 0,-1 1 1 0 0,0 3 0 0 0,-3 6-7 0 0,1 0 0 0 0,-2 0 0 0 0,0 0 0 0 0,0 0-1 0 0,-1-1 1 0 0,0 0 0 0 0,-1-1 0 0 0,-12 16 0 0 0,-72 73-1787 0 0,84-91 1354 0 0,-13 8-2563 0 0</inkml:trace>
  <inkml:trace contextRef="#ctx0" brushRef="#br0" timeOffset="1">420 116 572 0 0,'5'0'241'0'0,"-1"0"1"0"0,0 1-1 0 0,1-1 0 0 0,-1 1 0 0 0,0 0 0 0 0,1 0 1 0 0,-1 0-1 0 0,0 0 0 0 0,0 1 0 0 0,0-1 1 0 0,0 1-1 0 0,0 0 0 0 0,0 1 0 0 0,0-1 0 0 0,-1 1 1 0 0,1-1-1 0 0,-1 1 0 0 0,0 0 0 0 0,0 0 1 0 0,4 5-1 0 0,-5-4-80 0 0,1 0 0 0 0,-1 0 1 0 0,0 1-1 0 0,0-1 0 0 0,-1 1 0 0 0,0-1 1 0 0,1 1-1 0 0,-1-1 0 0 0,-1 1 1 0 0,1 0-1 0 0,-1-1 0 0 0,1 1 0 0 0,-1 0 1 0 0,-1 0-1 0 0,1-1 0 0 0,-1 1 1 0 0,0 0-1 0 0,-2 7 0 0 0,-3 6 178 0 0,-1 0 0 0 0,-1-1 0 0 0,-16 27-1 0 0,15-30-70 0 0,1 1 1 0 0,0 0-1 0 0,2 1 0 0 0,-9 27 0 0 0,14-42-211 0 0,1 1 1 0 0,0-1-1 0 0,0 1 1 0 0,0-1 0 0 0,0 1-1 0 0,1-1 1 0 0,-1 1-1 0 0,0-1 1 0 0,1 1-1 0 0,-1-1 1 0 0,1 0-1 0 0,-1 1 1 0 0,1-1 0 0 0,0 0-1 0 0,-1 1 1 0 0,1-1-1 0 0,0 0 1 0 0,0 0-1 0 0,0 1 1 0 0,0-1 0 0 0,0 0-1 0 0,0 0 1 0 0,1 0-1 0 0,-1 0 1 0 0,0-1-1 0 0,0 1 1 0 0,1 0-1 0 0,-1 0 1 0 0,0-1 0 0 0,1 1-1 0 0,-1-1 1 0 0,1 1-1 0 0,1-1 1 0 0,7 3 101 0 0,0 0 0 0 0,0-1 0 0 0,15 2 0 0 0,-23-4-136 0 0,121 7 428 0 0,-120-7-691 0 0,1 0-155 0 0,9 0-32 0 0,-10 0-128 0 0,3 6-1637 0 0</inkml:trace>
</inkml:ink>
</file>

<file path=ppt/ink/ink1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47.85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50 0 188 0 0,'0'0'5189'0'0,"-6"13"-2730"0"0,-15 3-1739 0 0,0 2 1 0 0,-27 30-1 0 0,37-35-2521 0 0,1 1 0 0 0,-17 27 0 0 0,21-31-389 0 0</inkml:trace>
</inkml:ink>
</file>

<file path=ppt/ink/ink1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48.21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256 0 0,'2'2'1731'0'0,"1"7"-970"0"0,1-1 0 0 0,-1 1 0 0 0,0 0 0 0 0,-1 0 0 0 0,0 0 0 0 0,-1 0 0 0 0,1 17 0 0 0,5 19 274 0 0,2-1-730 0 0,17 97 1101 0 0,-23-117-2358 0 0,0 1 0 0 0,-2-1 0 0 0,-4 43 0 0 0,1-52-1178 0 0,-2-1-349 0 0</inkml:trace>
</inkml:ink>
</file>

<file path=ppt/ink/ink1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48.59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62 1812 0 0,'3'-4'507'0'0,"-1"-1"1"0"0,1 1-1 0 0,0 0 0 0 0,1-1 0 0 0,-1 1 0 0 0,1 1 1 0 0,0-1-1 0 0,-1 1 0 0 0,2-1 0 0 0,-1 1 0 0 0,8-4 1 0 0,8-4 398 0 0,30-12 0 0 0,-13 6-175 0 0,68-39 1811 0 0,-102 55-2462 0 0,-1 0 0 0 0,0 0 0 0 0,0 1 0 0 0,0-1 0 0 0,0 1 0 0 0,0 0-1 0 0,0 0 1 0 0,1-1 0 0 0,-1 1 0 0 0,0 1 0 0 0,0-1 0 0 0,3 1 0 0 0,-3-1-120 0 0,-1 0 57 0 0,0 0 1 0 0,0 1-1 0 0,0-1 1 0 0,-1 1-1 0 0,1-1 1 0 0,0 1-1 0 0,0-1 1 0 0,-1 1-1 0 0,1-1 1 0 0,0 1-1 0 0,-1 0 1 0 0,1 0-1 0 0,-1-1 1 0 0,1 1-1 0 0,-1 0 1 0 0,1 0 0 0 0,-1-1-1 0 0,1 1 1 0 0,-1 0-1 0 0,0 0 1 0 0,0 0-1 0 0,1 0 1 0 0,-1 0-1 0 0,0 1 1 0 0,3 21 126 0 0,-10 75 172 0 0,-1-20-1751 0 0,8-64 147 0 0,0 1 1 0 0,1 0 0 0 0,2 17-1 0 0,-3-29 826 0 0,3 6-2622 0 0,5 1 738 0 0</inkml:trace>
</inkml:ink>
</file>

<file path=ppt/ink/ink1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48.99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9 319 1648 0 0,'2'-2'1449'0'0,"-2"1"-1281"0"0,1 0 0 0 0,-1 1 1 0 0,1-1-1 0 0,-1 0 0 0 0,1 1 0 0 0,-1-1 1 0 0,1 1-1 0 0,-1-1 0 0 0,1 0 0 0 0,0 1 1 0 0,-1 0-1 0 0,1-1 0 0 0,0 1 0 0 0,-1-1 1 0 0,1 1-1 0 0,0 0 0 0 0,0-1 0 0 0,-1 1 1 0 0,1 0-1 0 0,0 0 0 0 0,0 0 0 0 0,0-1 0 0 0,-1 1 1 0 0,1 0-1 0 0,0 0 0 0 0,0 0 0 0 0,0 0 1 0 0,0 1-1 0 0,0-1 0 0 0,0 1-44 0 0,0 0 0 0 0,0 0 0 0 0,0 0 0 0 0,-1 0 0 0 0,1 0-1 0 0,0 0 1 0 0,-1 0 0 0 0,1 1 0 0 0,-1-1 0 0 0,1 0 0 0 0,-1 0 0 0 0,1 1-1 0 0,-1-1 1 0 0,0 0 0 0 0,0 0 0 0 0,0 2 0 0 0,1 12 297 0 0,0-1 0 0 0,-3 20 0 0 0,2-31-256 0 0,-8 75 1416 0 0,8-77-1499 0 0,0 1-1 0 0,0-1 1 0 0,0 1 0 0 0,0-1-1 0 0,0 1 1 0 0,0-1-1 0 0,-1 1 1 0 0,1-1 0 0 0,0 1-1 0 0,-1-1 1 0 0,0 1-1 0 0,1-1 1 0 0,-1 0 0 0 0,0 1-1 0 0,1-1 1 0 0,-1 0-1 0 0,-2 2 1 0 0,3-3-39 0 0,-1 1 1 0 0,0-1-1 0 0,0 1 0 0 0,1-1 0 0 0,-1 1 1 0 0,0-1-1 0 0,0 0 0 0 0,0 1 1 0 0,0-1-1 0 0,0 0 0 0 0,0 0 0 0 0,1 0 1 0 0,-1 0-1 0 0,0 0 0 0 0,0 0 1 0 0,0 0-1 0 0,0 0 0 0 0,0 0 0 0 0,0 0 1 0 0,0 0-1 0 0,-1-1 0 0 0,-1 0-4 0 0,1 0-1 0 0,-1-1 0 0 0,0 1 0 0 0,1 0 1 0 0,-1-1-1 0 0,1 0 0 0 0,-1 0 1 0 0,1 0-1 0 0,0 0 0 0 0,0 0 0 0 0,0 0 1 0 0,0 0-1 0 0,0-1 0 0 0,0 1 1 0 0,-2-6-1 0 0,-1-5-164 0 0,0-1 0 0 0,1 1 0 0 0,1-1 0 0 0,0 0 0 0 0,1 0 0 0 0,1 0 0 0 0,0-1 0 0 0,0 1 0 0 0,2 0 0 0 0,0 0 0 0 0,4-22 0 0 0,-1 17 46 0 0,0 1 1 0 0,1 0-1 0 0,1-1 0 0 0,1 2 1 0 0,0-1-1 0 0,2 1 1 0 0,0 0-1 0 0,13-18 1 0 0,-14 25 43 0 0,0 1 0 0 0,0 0 0 0 0,1 0 0 0 0,0 1 0 0 0,0 0 0 0 0,13-8 0 0 0,-15 12 9 0 0,-1 0 0 0 0,1 0-1 0 0,-1 1 1 0 0,1 0 0 0 0,0 0 0 0 0,0 1-1 0 0,1 0 1 0 0,-1 0 0 0 0,0 0 0 0 0,15 0-1 0 0,-18 2 11 0 0,1 0-1 0 0,-1 1 0 0 0,0-1 0 0 0,1 1 1 0 0,-1 0-1 0 0,0 0 0 0 0,0 0 1 0 0,1 0-1 0 0,-1 1 0 0 0,0 0 0 0 0,0 0 1 0 0,0 0-1 0 0,5 4 0 0 0,-8-4 12 0 0,1-1 0 0 0,-1 1-1 0 0,1-1 1 0 0,-1 1-1 0 0,0 0 1 0 0,1-1-1 0 0,-1 1 1 0 0,0 0 0 0 0,0 0-1 0 0,0 0 1 0 0,-1 0-1 0 0,1 0 1 0 0,0 0-1 0 0,-1 0 1 0 0,1 0 0 0 0,-1 1-1 0 0,0-1 1 0 0,0 0-1 0 0,1 0 1 0 0,-1 0 0 0 0,-1 0-1 0 0,1 0 1 0 0,0 1-1 0 0,-1-1 1 0 0,1 0-1 0 0,-1 0 1 0 0,1 0 0 0 0,-2 3-1 0 0,-2 4 33 0 0,-1 1 1 0 0,0-1-1 0 0,0 0 0 0 0,-1-1 1 0 0,0 1-1 0 0,-1-1 0 0 0,0 0 1 0 0,0 0-1 0 0,-17 12 0 0 0,5-5-1113 0 0,0-2 0 0 0,-1 0 0 0 0,-25 11-1 0 0,30-19-2819 0 0</inkml:trace>
</inkml:ink>
</file>

<file path=ppt/ink/ink1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49.37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48 5 1156 0 0,'3'0'1328'0'0,"2"-2"-913"0"0,-1 1 1 0 0,1 0 0 0 0,0 1-1 0 0,-1-1 1 0 0,1 1 0 0 0,-1 0 0 0 0,1 0-1 0 0,0 1 1 0 0,-1-1 0 0 0,1 1 0 0 0,8 2-1 0 0,-11-2-320 0 0,0 0 0 0 0,0 0 0 0 0,0 0 0 0 0,0 1 0 0 0,0-1 1 0 0,0 0-1 0 0,-1 1 0 0 0,1-1 0 0 0,0 1 0 0 0,-1 0 0 0 0,1-1 0 0 0,-1 1 0 0 0,0 0 0 0 0,1 0 0 0 0,-1 0 0 0 0,0 0 0 0 0,0 0 0 0 0,0 0 0 0 0,0 0 0 0 0,-1 1 0 0 0,1-1 0 0 0,-1 0 0 0 0,1 0 0 0 0,-1 1 0 0 0,0-1 0 0 0,0 0 1 0 0,0 4-1 0 0,-1 17 209 0 0,-5 28 0 0 0,4-39-276 0 0,0 1 1 0 0,1-1-1 0 0,0 1 1 0 0,1 0-1 0 0,0 0 1 0 0,1-1-1 0 0,0 1 1 0 0,4 14-1 0 0,1-12-9 0 0,0 0 0 0 0,16 27 0 0 0,-15-29 37 0 0,0 0 1 0 0,-1 0-1 0 0,8 25 0 0 0,-14-36-18 0 0,1 0 0 0 0,-1-1 0 0 0,0 1 0 0 0,0 0 0 0 0,0 0 0 0 0,0 0 1 0 0,0 0-1 0 0,0-1 0 0 0,0 1 0 0 0,0 0 0 0 0,-1 0 0 0 0,1-1 0 0 0,-1 1 0 0 0,1 0 0 0 0,-1 0 0 0 0,0-1 0 0 0,0 1 0 0 0,0-1 0 0 0,-1 3 0 0 0,-1-1 1 0 0,1 0-1 0 0,-1 0 1 0 0,0-1 0 0 0,0 0 0 0 0,0 1 0 0 0,0-1 0 0 0,0 0 0 0 0,-1 0 0 0 0,-3 1-1 0 0,-5 2 24 0 0,-1-1 0 0 0,1 0 0 0 0,-1-1 0 0 0,-18 2-1 0 0,-2-1-248 0 0,-37-2-1 0 0,4-4-5946 0 0,47 0 2309 0 0</inkml:trace>
  <inkml:trace contextRef="#ctx0" brushRef="#br0" timeOffset="1">736 481 1724 0 0,'12'5'2212'0'0,"0"0"649"0"0,2 1-1073 0 0,-6 3-660 0 0,-12 0-540 0 0,-10 2-612 0 0,4-4-64 0 0,0 0-420 0 0,-2 0-328 0 0,-2 0-452 0 0,2 2-1081 0 0,-2-1-415 0 0</inkml:trace>
</inkml:ink>
</file>

<file path=ppt/ink/ink1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51.64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10 72 1608 0 0,'-2'-7'707'0'0,"0"1"-1"0"0,0-1 0 0 0,-1 1 1 0 0,0 0-1 0 0,0 0 0 0 0,-5-7 1 0 0,6 11-598 0 0,0 0 0 0 0,1 0 0 0 0,-1 1 0 0 0,0-1 0 0 0,0 1 0 0 0,0-1 0 0 0,0 1 0 0 0,0 0 0 0 0,-1 0 0 0 0,1 0 0 0 0,0 0 0 0 0,-1 0 0 0 0,1 0 0 0 0,0 1 0 0 0,-1-1 0 0 0,1 1 0 0 0,-1-1 0 0 0,1 1 0 0 0,-1 0-1 0 0,-4 1 1 0 0,-5 0 114 0 0,1 1 0 0 0,-1 0 0 0 0,1 1 0 0 0,-1 0-1 0 0,1 1 1 0 0,0 0 0 0 0,0 1 0 0 0,1 0 0 0 0,-1 1-1 0 0,1 0 1 0 0,-14 11 0 0 0,16-11-149 0 0,0 0 0 0 0,1 1 0 0 0,0 0 0 0 0,0 0-1 0 0,1 1 1 0 0,0 0 0 0 0,0 0 0 0 0,1 0 0 0 0,0 1 0 0 0,0-1 0 0 0,1 1 0 0 0,0 0-1 0 0,0 1 1 0 0,-2 10 0 0 0,6-16-44 0 0,-1 0-1 0 0,1 1 1 0 0,-1-1-1 0 0,1 0 0 0 0,1 1 1 0 0,-1-1-1 0 0,1 0 1 0 0,-1 0-1 0 0,1 1 1 0 0,0-1-1 0 0,1 0 1 0 0,-1 0-1 0 0,1 0 0 0 0,-1 0 1 0 0,1 0-1 0 0,0-1 1 0 0,1 1-1 0 0,-1 0 1 0 0,1-1-1 0 0,0 0 1 0 0,-1 0-1 0 0,1 0 0 0 0,5 4 1 0 0,-7-6-22 0 0,0-1-1 0 0,1 1 1 0 0,-1-1-1 0 0,1 1 1 0 0,-1-1 0 0 0,0 0-1 0 0,1 1 1 0 0,-1-1 0 0 0,1 0-1 0 0,-1 0 1 0 0,1 0-1 0 0,-1 0 1 0 0,1 0 0 0 0,-1 0-1 0 0,1-1 1 0 0,-1 1 0 0 0,0 0-1 0 0,1-1 1 0 0,-1 1 0 0 0,3-2-1 0 0,24-14 84 0 0,-14 3-68 0 0,-1 0 0 0 0,19-25 0 0 0,-3 3-241 0 0,-27 33 173 0 0,0 3-118 0 0,-1 0 155 0 0,0 1-1 0 0,1-1 0 0 0,-1 1 0 0 0,0-1 0 0 0,0 1 0 0 0,0-1 0 0 0,0 1 1 0 0,0 0-1 0 0,0-1 0 0 0,0 1 0 0 0,0 0 0 0 0,-1 0 0 0 0,1 0 0 0 0,-1-1 1 0 0,1 5-1 0 0,7 14 23 0 0,-3-13 5 0 0,0-1 0 0 0,0 0 0 0 0,1 0 0 0 0,0 0 1 0 0,0-1-1 0 0,1 0 0 0 0,-1 0 0 0 0,1-1 1 0 0,0 0-1 0 0,0 0 0 0 0,1 0 0 0 0,-1-1 1 0 0,1 0-1 0 0,-1-1 0 0 0,1 0 0 0 0,0 0 1 0 0,0 0-1 0 0,0-1 0 0 0,0 0 0 0 0,13-1 0 0 0,-13 0-4 0 0,1 0 0 0 0,-1-1 0 0 0,1 0 0 0 0,-1 0 0 0 0,1-1 0 0 0,-1 0 1 0 0,0-1-1 0 0,1 0 0 0 0,-1 0 0 0 0,-1-1 0 0 0,1 0 0 0 0,0 0 0 0 0,-1-1 0 0 0,0 1 0 0 0,0-2 0 0 0,-1 1 0 0 0,1-1 0 0 0,-1 0 0 0 0,6-8 0 0 0,-2 0-8 0 0,-1 0 1 0 0,-1-1 0 0 0,-1 0 0 0 0,0-1 0 0 0,0 1-1 0 0,-2-1 1 0 0,0-1 0 0 0,-1 1 0 0 0,4-26 0 0 0,-8 39-46 0 0,-5 14-244 0 0,4-5 267 0 0,1-1 1 0 0,0 1-1 0 0,0 0 0 0 0,1-1 0 0 0,-1 1 1 0 0,1 0-1 0 0,0-1 0 0 0,3 8 0 0 0,0 3-19 0 0,17 54-18 0 0,-13-48 35 0 0,9 41-1 0 0,-16-57 77 0 0,0 0-1 0 0,0 0 0 0 0,0 1 0 0 0,-1-1 0 0 0,0 0 1 0 0,-1 0-1 0 0,0 1 0 0 0,0-1 0 0 0,0 0 1 0 0,0 0-1 0 0,-4 8 0 0 0,4-10-20 0 0,-2 0 0 0 0,1 0 0 0 0,0-1 0 0 0,-1 1-1 0 0,0-1 1 0 0,1 1 0 0 0,-1-1 0 0 0,-1 0 0 0 0,1 0 0 0 0,0 0 0 0 0,-1 0 0 0 0,0-1 0 0 0,1 1-1 0 0,-1-1 1 0 0,0 0 0 0 0,-7 3 0 0 0,-3-1-323 0 0,0 0-1 0 0,0 0 1 0 0,-21 2-1 0 0,30-6 41 0 0,2 1-119 0 0,-1-1-1 0 0,1 0 1 0 0,-1 0-1 0 0,1-1 1 0 0,-1 1-1 0 0,1-1 1 0 0,-1 0-1 0 0,1 0 1 0 0,-5-2-1 0 0,4 2-384 0 0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05:41.85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70 568 0 0,'77'-36'4288'0'0,"-33"17"-2049"0"0,76-47 0 0 0,-108 58-2086 0 0,0 0 0 0 0,-1-1 0 0 0,-1 0 1 0 0,1-1-1 0 0,-1 0 0 0 0,-1-1 1 0 0,0 0-1 0 0,0 0 0 0 0,-1-1 0 0 0,11-22 1 0 0,-17 31-124 0 0,-1 0 1 0 0,0 0-1 0 0,0-1 0 0 0,0 1 1 0 0,0 0-1 0 0,0-1 1 0 0,-1 1-1 0 0,1 0 0 0 0,-1-1 1 0 0,0 1-1 0 0,0 0 1 0 0,-1-5-1 0 0,1 6-2 0 0,-1 0-1 0 0,0 0 1 0 0,1 1 0 0 0,-1-1-1 0 0,0 0 1 0 0,0 0-1 0 0,0 0 1 0 0,0 1 0 0 0,0-1-1 0 0,0 1 1 0 0,0-1 0 0 0,-1 1-1 0 0,1-1 1 0 0,-1 1 0 0 0,1 0-1 0 0,-1-1 1 0 0,1 1-1 0 0,-1 0 1 0 0,-3-1 0 0 0,4 1-16 0 0,0 1 0 0 0,-1-1 0 0 0,1 1 0 0 0,0-1 0 0 0,-1 1-1 0 0,1 0 1 0 0,-1 0 0 0 0,1 0 0 0 0,0 0 0 0 0,-1 0 0 0 0,1 0 0 0 0,-1 0 0 0 0,1 0 0 0 0,0 0 0 0 0,-1 1 0 0 0,1-1 0 0 0,-2 1 0 0 0,-1 1 25 0 0,-6 0 24 0 0,0 1 0 0 0,0 0 0 0 0,1 1 0 0 0,0 0 0 0 0,-1 1 0 0 0,2 0 0 0 0,-1 0 0 0 0,0 1 0 0 0,1 0-1 0 0,0 1 1 0 0,1-1 0 0 0,-1 2 0 0 0,1-1 0 0 0,-12 17 0 0 0,17-20-43 0 0,0 0 1 0 0,-1 0-1 0 0,1 0 1 0 0,0 0-1 0 0,1 1 1 0 0,-1-1-1 0 0,1 1 1 0 0,0-1-1 0 0,0 1 1 0 0,1 0-1 0 0,-1-1 0 0 0,1 1 1 0 0,0 0-1 0 0,0-1 1 0 0,0 1-1 0 0,1 0 1 0 0,0-1-1 0 0,0 1 1 0 0,0 0-1 0 0,0-1 1 0 0,1 0-1 0 0,0 1 1 0 0,0-1-1 0 0,0 0 1 0 0,0 0-1 0 0,1 0 1 0 0,-1 0-1 0 0,5 5 0 0 0,-2-3-191 0 0,1 0-1 0 0,0 0 0 0 0,0 0 0 0 0,0 0 1 0 0,1-1-1 0 0,0 0 0 0 0,0-1 0 0 0,0 0 0 0 0,0 0 1 0 0,1 0-1 0 0,0-1 0 0 0,0 0 0 0 0,0 0 1 0 0,0-1-1 0 0,9 1 0 0 0,-14-2-45 0 0,1-1-1 0 0,0 0 1 0 0,-1 0-1 0 0,1 0 1 0 0,-1 0 0 0 0,1-1-1 0 0,-1 0 1 0 0,1 1-1 0 0,-1-1 1 0 0,1 0 0 0 0,-1-1-1 0 0,1 1 1 0 0,-1-1-1 0 0,0 1 1 0 0,0-1 0 0 0,0 0-1 0 0,0 0 1 0 0,0-1-1 0 0,0 1 1 0 0,-1 0-1 0 0,1-1 1 0 0,-1 0 0 0 0,3-2-1 0 0,3-9 30 0 0,1 1 1 0 0,-1-1-1 0 0,-1 0 0 0 0,6-18 0 0 0,-7 18 939 0 0,1-1 1 0 0,10-17-1 0 0,-15 30-639 0 0,0-1 0 0 0,0 0-1 0 0,0 1 1 0 0,0 0 0 0 0,0-1 0 0 0,0 1 0 0 0,1 0-1 0 0,-1 0 1 0 0,1 0 0 0 0,-1 1 0 0 0,1-1 0 0 0,0 0 0 0 0,0 1-1 0 0,0 0 1 0 0,-1 0 0 0 0,1 0 0 0 0,5-1 0 0 0,-5 2-9 0 0,1 0-1 0 0,-1 0 1 0 0,1 0 0 0 0,0 0 0 0 0,-1 1 0 0 0,1 0 0 0 0,-1-1 0 0 0,1 1 0 0 0,-1 1 0 0 0,1-1-1 0 0,-1 0 1 0 0,0 1 0 0 0,1 0 0 0 0,-1 0 0 0 0,4 3 0 0 0,4 3 189 0 0,-1 0 0 0 0,1 1 1 0 0,-1 0-1 0 0,-1 1 0 0 0,0 0 0 0 0,0 0 0 0 0,-1 1 1 0 0,-1 0-1 0 0,0 0 0 0 0,0 1 0 0 0,-1 0 0 0 0,0 0 1 0 0,-1 1-1 0 0,6 23 0 0 0,-11-35-159 0 0,1 0 1 0 0,-1 1-1 0 0,0-1 0 0 0,0 0 1 0 0,0 0-1 0 0,0 1 0 0 0,0-1 1 0 0,0 0-1 0 0,0 0 0 0 0,0 1 1 0 0,0-1-1 0 0,0 0 0 0 0,-1 3 1 0 0,0-4-99 0 0,1 0 0 0 0,0 1-1 0 0,0-1 1 0 0,-1 0 0 0 0,1 0 0 0 0,0 0 0 0 0,0 1 0 0 0,-1-1 0 0 0,1 0-1 0 0,0 0 1 0 0,0 0 0 0 0,-1 1 0 0 0,1-1 0 0 0,0 0 0 0 0,-1 0 0 0 0,1 0-1 0 0,0 0 1 0 0,-1 0 0 0 0,1 0 0 0 0,0 0 0 0 0,-1 0 0 0 0,1 0 0 0 0,0 0-1 0 0,-1 0 1 0 0,1 0 0 0 0,0 0 0 0 0,-1 0 0 0 0,1 0 0 0 0,0 0 0 0 0,-1 0-1 0 0,-1-1-7 0 0,1 0 0 0 0,-1 1 0 0 0,1-1 0 0 0,0 0-1 0 0,-1 0 1 0 0,1 0 0 0 0,0 0 0 0 0,0 0 0 0 0,-1 0-1 0 0,1-1 1 0 0,0 1 0 0 0,0 0 0 0 0,0-1-1 0 0,1 1 1 0 0,-1 0 0 0 0,0-1 0 0 0,0 1 0 0 0,0-3-1 0 0,-1-6 4 0 0,0 0 0 0 0,1 0-1 0 0,0 0 1 0 0,1 0 0 0 0,0 0-1 0 0,0-1 1 0 0,1 1 0 0 0,0 0-1 0 0,1 0 1 0 0,0 0 0 0 0,6-14-1 0 0,-1 4-256 0 0,1-1 0 0 0,1 1 0 0 0,1 1 0 0 0,16-24 0 0 0,-23 38-220 0 0,1 0 1 0 0,-1 0-1 0 0,1 1 0 0 0,0 0 0 0 0,1-1 1 0 0,-1 1-1 0 0,1 1 0 0 0,-1-1 1 0 0,1 1-1 0 0,0-1 0 0 0,0 2 0 0 0,1-1 1 0 0,-1 0-1 0 0,10-2 0 0 0,-14 5 235 0 0,0-1-1 0 0,0 1 0 0 0,0 0 0 0 0,0 0 0 0 0,0-1 1 0 0,0 1-1 0 0,0 0 0 0 0,0 0 0 0 0,0 0 1 0 0,0 1-1 0 0,0-1 0 0 0,0 0 0 0 0,0 0 1 0 0,0 0-1 0 0,0 1 0 0 0,2 0 0 0 0,-1 0-690 0 0</inkml:trace>
</inkml:ink>
</file>

<file path=ppt/ink/ink1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52.35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86 31 508 0 0,'-1'-3'1916'0'0,"-4"-18"3129"0"0,1 14-2808 0 0,11 46-1313 0 0,-1-1 0 0 0,-2 1-1 0 0,-2 0 1 0 0,-2 0 0 0 0,-9 77 0 0 0,7-106-849 0 0,0 1 0 0 0,-1-1 0 0 0,-1 1 1 0 0,0-1-1 0 0,0 0 0 0 0,-1-1 0 0 0,0 1 0 0 0,0-1 1 0 0,-8 9-1 0 0,10-13-45 0 0,-1 0 0 0 0,0-1 1 0 0,0 0-1 0 0,0 0 0 0 0,-1 0 1 0 0,0 0-1 0 0,0-1 0 0 0,1 0 1 0 0,-2 0-1 0 0,1 0 0 0 0,0-1 1 0 0,-1 1-1 0 0,1-1 0 0 0,-1 0 1 0 0,1-1-1 0 0,-1 0 0 0 0,-7 1 1 0 0,11-2-65 0 0,0 0-1 0 0,1 0 1 0 0,-1 0 0 0 0,1 0 0 0 0,-1-1 0 0 0,0 1 0 0 0,1-1-1 0 0,-1 1 1 0 0,1-1 0 0 0,-1 1 0 0 0,1-1 0 0 0,-1 0-1 0 0,1 0 1 0 0,-1 0 0 0 0,1 0 0 0 0,0 0 0 0 0,0 0 0 0 0,0 0-1 0 0,-1 0 1 0 0,1-1 0 0 0,0 1 0 0 0,0 0 0 0 0,0-1-1 0 0,1 1 1 0 0,-1-1 0 0 0,0 1 0 0 0,1-1 0 0 0,-1 1 0 0 0,0-1-1 0 0,1 1 1 0 0,-1-4 0 0 0,0-1-170 0 0,-1 0-1 0 0,1-1 1 0 0,1 1 0 0 0,-1 0-1 0 0,1-1 1 0 0,1-8 0 0 0,0 5 53 0 0,2 0 1 0 0,-1 0 0 0 0,1 0 0 0 0,1 0 0 0 0,0 0 0 0 0,0 0 0 0 0,1 1 0 0 0,0 0-1 0 0,1 0 1 0 0,9-11 0 0 0,-14 19 139 0 0,0 0 0 0 0,-1 0 0 0 0,1 1 0 0 0,0-1 0 0 0,0 1 0 0 0,0-1 1 0 0,0 1-1 0 0,0-1 0 0 0,0 1 0 0 0,0-1 0 0 0,0 1 0 0 0,0 0 0 0 0,0 0 0 0 0,0-1 0 0 0,1 1 0 0 0,-1 0 0 0 0,0 0 0 0 0,0 0 0 0 0,0 0 0 0 0,0 0 0 0 0,0 0 0 0 0,0 1 0 0 0,0-1 0 0 0,0 0 1 0 0,0 1-1 0 0,0-1 0 0 0,0 0 0 0 0,0 1 0 0 0,0-1 0 0 0,0 1 0 0 0,0 0 0 0 0,0-1 0 0 0,0 1 0 0 0,0 0 0 0 0,1 1 0 0 0,5 4 1 0 0,0 0 0 0 0,-1 0 1 0 0,8 10-1 0 0,-9-11-10 0 0,11 13 39 0 0,2-1-1 0 0,0 0 1 0 0,1-2 0 0 0,0 0 0 0 0,1-1 0 0 0,1-1-1 0 0,0-1 1 0 0,44 17 0 0 0,-61-27-10 0 0,0-1 1 0 0,0 1-1 0 0,0-1 0 0 0,0-1 1 0 0,0 1-1 0 0,0-1 0 0 0,0 1 1 0 0,0-1-1 0 0,1 0 0 0 0,-1 0 0 0 0,0-1 1 0 0,0 0-1 0 0,0 1 0 0 0,0-1 1 0 0,0-1-1 0 0,0 1 0 0 0,0 0 0 0 0,0-1 1 0 0,0 0-1 0 0,0 0 0 0 0,-1 0 1 0 0,1 0-1 0 0,-1-1 0 0 0,4-3 1 0 0,4-5-29 0 0,0-1 0 0 0,-1 0 0 0 0,-1-1 0 0 0,0 0 1 0 0,8-15-1 0 0,10-15 615 0 0,-3 7-68 0 0,-22 37-519 0 0,-1 0 0 0 0,0 1 0 0 0,1-1 0 0 0,-1 1 1 0 0,0-1-1 0 0,1 1 0 0 0,-1-1 0 0 0,0 1 1 0 0,0 0-1 0 0,0 0 0 0 0,-1-1 0 0 0,1 1 0 0 0,0 0 1 0 0,-1 0-1 0 0,1 3 0 0 0,7 37-117 0 0,-6-27-388 0 0,2 18-1824 0 0,-1-4-3325 0 0,-1-19 3140 0 0</inkml:trace>
</inkml:ink>
</file>

<file path=ppt/ink/ink1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52.72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0 246 580 0 0,'-6'-20'1640'0'0,"4"2"-96"0"0,-2 0-328 0 0,2 2-183 0 0,-2-2-313 0 0,2 1-8 0 0,2-1-240 0 0,0 2 4 0 0,0 0-188 0 0,2 2-92 0 0,0-1-348 0 0,2 3-252 0 0,2-1-364 0 0,4 0-244 0 0,0 3-1033 0 0,0-1-47 0 0</inkml:trace>
</inkml:ink>
</file>

<file path=ppt/ink/ink1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53.05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70 848 0 0,'9'19'1272'0'0,"0"0"0"0"0,-1 0 1 0 0,-1 1-1 0 0,-1 0 0 0 0,4 26 0 0 0,9 106 1531 0 0,-15-109-450 0 0,-4-43-2321 0 0,0 0 1 0 0,0 1-1 0 0,0-1 0 0 0,0 0 0 0 0,0 1 0 0 0,0-1 0 0 0,0 0 1 0 0,0 1-1 0 0,0-1 0 0 0,0 0 0 0 0,0 0 0 0 0,0 1 0 0 0,-1-1 1 0 0,1 0-1 0 0,0 1 0 0 0,0-1 0 0 0,0 0 0 0 0,0 0 0 0 0,0 1 1 0 0,-1-1-1 0 0,1 0 0 0 0,0 0 0 0 0,0 0 0 0 0,0 1 0 0 0,-1-1 1 0 0,1 0-1 0 0,0 0 0 0 0,0 0 0 0 0,-1 1 0 0 0,1-1 0 0 0,0 0 1 0 0,0 0-1 0 0,-1 0 0 0 0,1 0 0 0 0,0 0 0 0 0,-1 0 0 0 0,1 0 1 0 0,0 0-1 0 0,0 0 0 0 0,-1 0 0 0 0,1 0 0 0 0,0 0 0 0 0,-1 0 1 0 0,1 0-1 0 0,0 0 0 0 0,-1 0 0 0 0,1 0 0 0 0,0 0 0 0 0,0 0 1 0 0,-1 0-1 0 0,-12-4 313 0 0,13 4-356 0 0,-3-2 40 0 0,1 0 0 0 0,-1 0 0 0 0,0-1 0 0 0,1 1 0 0 0,-1 0 1 0 0,1-1-1 0 0,0 0 0 0 0,0 1 0 0 0,0-1 0 0 0,0 0 0 0 0,0 0 0 0 0,0 0 0 0 0,1-1 0 0 0,0 1 0 0 0,-2-5 0 0 0,0-3-104 0 0,0 0 0 0 0,0 0-1 0 0,-1-14 1 0 0,3 4-19 0 0,0 0 0 0 0,2 0 0 0 0,1 0 0 0 0,0 1 1 0 0,1-1-1 0 0,1 0 0 0 0,2 1 0 0 0,-1 0 0 0 0,2 0 0 0 0,1 1 0 0 0,1 0 0 0 0,14-25 0 0 0,-17 35-38 0 0,0 0 1 0 0,0 0-1 0 0,1 1 0 0 0,0 0 0 0 0,0 0 0 0 0,1 1 0 0 0,0 0 0 0 0,1 0 0 0 0,12-8 0 0 0,-11 10-481 0 0,-1 0-1 0 0,1 0 1 0 0,-1 1-1 0 0,1 1 1 0 0,15-5 0 0 0,-22 8 334 0 0,-1 0 0 0 0,1-1 0 0 0,-1 1 1 0 0,1 0-1 0 0,0 0 0 0 0,-1 0 0 0 0,1 1 0 0 0,-1-1 1 0 0,1 0-1 0 0,-1 1 0 0 0,1 0 0 0 0,1 1 1 0 0,2-1-879 0 0,6 3-1214 0 0</inkml:trace>
</inkml:ink>
</file>

<file path=ppt/ink/ink1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53.40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5 435 344 0 0,'-23'22'6415'0'0,"23"-22"-6389"0"0,0 0 0 0 0,0 0 0 0 0,0 0 0 0 0,0 0 0 0 0,0 0 0 0 0,-1 0 0 0 0,1 0 0 0 0,0 0 0 0 0,0 0 0 0 0,0 0 0 0 0,0 0 0 0 0,0 1 0 0 0,0-1 0 0 0,0 0 0 0 0,0 0 0 0 0,0 0 0 0 0,0 0 0 0 0,-1 0 0 0 0,1 0 0 0 0,0 0 0 0 0,0 0 0 0 0,0 1 0 0 0,0-1 0 0 0,0 0 0 0 0,0 0 0 0 0,0 0 0 0 0,0 0 0 0 0,0 0 0 0 0,0 0 0 0 0,0 1 0 0 0,0-1 0 0 0,0 0 0 0 0,0 0 0 0 0,0 0 0 0 0,0 0 1 0 0,0 0-1 0 0,0 0 0 0 0,0 0 0 0 0,1 1 0 0 0,-1-1 0 0 0,0 0 0 0 0,0 0 0 0 0,0 0 0 0 0,0 0 0 0 0,0 0 0 0 0,0 0 0 0 0,0 0 0 0 0,0 0 0 0 0,0 0 0 0 0,0 1 0 0 0,0-1 0 0 0,1 0 0 0 0,-1 0 0 0 0,0 0 0 0 0,0 0 0 0 0,0 0 0 0 0,0 0 0 0 0,0 0 0 0 0,91-12 1365 0 0,-59 6-1006 0 0,0 2-1 0 0,0 1 1 0 0,0 2 0 0 0,62 4-1 0 0,-87-1-297 0 0,0-1 0 0 0,-1 1 0 0 0,1-1 0 0 0,-1 2 0 0 0,1-1 0 0 0,-1 1 0 0 0,0 0 0 0 0,0 0 0 0 0,0 1 0 0 0,-1 0 0 0 0,1 0 0 0 0,-1 0 0 0 0,0 0 0 0 0,0 1 0 0 0,0 0 0 0 0,-1 0 1 0 0,0 1-1 0 0,0-1 0 0 0,0 1 0 0 0,0 0 0 0 0,-1 0 0 0 0,0 0 0 0 0,3 8 0 0 0,1 10 216 0 0,0 1 0 0 0,-1 0 0 0 0,-2 0 0 0 0,3 45 1 0 0,-5-29 1669 0 0,-2-38-1511 0 0,-1-3-410 0 0,1 1 0 0 0,-1-1 0 0 0,0 0 0 0 0,1 1 0 0 0,-1-1 1 0 0,0 0-1 0 0,1 1 0 0 0,-1-1 0 0 0,0 0 0 0 0,0 0 0 0 0,0 0 1 0 0,1 1-1 0 0,-1-1 0 0 0,0 0 0 0 0,0 0 0 0 0,-1 0 0 0 0,-1-4-22 0 0,0 1 0 0 0,0-1-1 0 0,0 0 1 0 0,0 1 0 0 0,1-1-1 0 0,-1 0 1 0 0,1-1 0 0 0,0 1-1 0 0,0 0 1 0 0,1-1 0 0 0,-1 1-1 0 0,1-1 1 0 0,0 1 0 0 0,-1-8-1 0 0,0-9-303 0 0,-1-40-1 0 0,4 24 110 0 0,1 0-1 0 0,2 1 0 0 0,2-1 0 0 0,1 1 1 0 0,2 0-1 0 0,1 0 0 0 0,2 1 0 0 0,1 1 1 0 0,2 0-1 0 0,1 1 0 0 0,21-32 1 0 0,-24 47-189 0 0,0 0 0 0 0,2 1 0 0 0,20-20 0 0 0,-26 30-32 0 0,-1 0 1 0 0,1 0-1 0 0,0 0 0 0 0,0 1 1 0 0,1 1-1 0 0,0 0 1 0 0,0 0-1 0 0,16-5 1 0 0,-19 8-503 0 0,0 1 1 0 0,0 1-1 0 0,0 0 1 0 0,0 0 0 0 0,0 0-1 0 0,8 2 1 0 0</inkml:trace>
</inkml:ink>
</file>

<file path=ppt/ink/ink1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54.47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9 91 816 0 0,'-28'22'9692'0'0,"28"-22"-9651"0"0,0 0 1 0 0,0 0 0 0 0,15 1 168 0 0,226-2 512 0 0,-115 2-575 0 0,-25-6 1895 0 0,-98 5-1803 0 0,1 0-30 0 0,-2 0-179 0 0,32-4 716 0 0,-33 4-733 0 0,1 0 0 0 0,-1-1 0 0 0,1 1 0 0 0,-1-1 0 0 0,0 1 1 0 0,0-1-1 0 0,1 0 0 0 0,-1 0 0 0 0,0 0 0 0 0,0 1 0 0 0,0-1 0 0 0,1 0 1 0 0,-1 0-1 0 0,0 0 0 0 0,-1-1 0 0 0,1 1 0 0 0,0 0 0 0 0,0 0 0 0 0,0 0 1 0 0,-1-1-1 0 0,1 1 0 0 0,-1 0 0 0 0,1-1 0 0 0,-1 1 0 0 0,1-3 0 0 0,-1 4-12 0 0,1-3-5 0 0,-1 1 0 0 0,1-1 1 0 0,-1 1-1 0 0,0-1 0 0 0,0 0 1 0 0,0 1-1 0 0,0-1 0 0 0,-1 1 1 0 0,1-1-1 0 0,-1 1 0 0 0,1-1 1 0 0,-1 1-1 0 0,0 0 0 0 0,0-1 1 0 0,0 1-1 0 0,0 0 0 0 0,0-1 1 0 0,-4-3-1 0 0,3 4-4 0 0,-1 0-1 0 0,0 0 1 0 0,0 0 0 0 0,0 0-1 0 0,-1 0 1 0 0,1 1-1 0 0,0-1 1 0 0,-1 1 0 0 0,1 0-1 0 0,-1 0 1 0 0,1 0 0 0 0,-1 0-1 0 0,1 1 1 0 0,-1-1-1 0 0,-6 1 1 0 0,3 1 10 0 0,0 0 0 0 0,-1 0 0 0 0,1 0 1 0 0,0 1-1 0 0,0 0 0 0 0,0 1 0 0 0,-10 4 0 0 0,4 0 23 0 0,1-1-1 0 0,1 2 0 0 0,-1 0 1 0 0,1 0-1 0 0,1 1 1 0 0,0 0-1 0 0,0 1 0 0 0,-11 14 1 0 0,15-15 16 0 0,0 0 0 0 0,1 0 1 0 0,0 1-1 0 0,1-1 0 0 0,0 1 1 0 0,0 0-1 0 0,1 0 0 0 0,0 0 1 0 0,1 1-1 0 0,0-1 0 0 0,1 1 1 0 0,0-1-1 0 0,1 1 0 0 0,0 0 1 0 0,0-1-1 0 0,2 1 0 0 0,2 13 1 0 0,-2-14-30 0 0,0-1 1 0 0,1 0 0 0 0,1 1 0 0 0,-1-1 0 0 0,1 0 0 0 0,1-1-1 0 0,0 1 1 0 0,0-1 0 0 0,1 0 0 0 0,0 0 0 0 0,0-1-1 0 0,0 0 1 0 0,1 0 0 0 0,1 0 0 0 0,-1-1 0 0 0,1 0-1 0 0,0 0 1 0 0,0-1 0 0 0,10 5 0 0 0,-12-7-165 0 0,-1-1 0 0 0,0 0 0 0 0,1-1 0 0 0,-1 1-1 0 0,1-1 1 0 0,-1 0 0 0 0,1-1 0 0 0,0 1 0 0 0,0-1 0 0 0,-1 0 0 0 0,1 0 0 0 0,0-1 0 0 0,-1 0 0 0 0,1 0 0 0 0,0 0 0 0 0,-1 0-1 0 0,1-1 1 0 0,-1 0 0 0 0,0-1 0 0 0,0 1 0 0 0,0-1 0 0 0,9-5 0 0 0,5-7-211 0 0,0-1 1 0 0,0 0-1 0 0,-2-1 1 0 0,18-23-1 0 0,11-9 429 0 0,1 2 215 0 0,-46 46-281 0 0,-1 1 0 0 0,1-1 0 0 0,0 1 0 0 0,-1-1 0 0 0,1 1-1 0 0,0-1 1 0 0,-1 1 0 0 0,1-1 0 0 0,0 1 0 0 0,0 0 0 0 0,0 0 0 0 0,0-1 0 0 0,-1 1 0 0 0,1 0 0 0 0,0 0-1 0 0,0 0 1 0 0,0 0 0 0 0,0 0 0 0 0,0 0 0 0 0,-1 0 0 0 0,1 0 0 0 0,0 0 0 0 0,0 0 0 0 0,0 0 0 0 0,0 1 0 0 0,0-1-1 0 0,-1 0 1 0 0,2 1 0 0 0,18 12 176 0 0,-16-7-142 0 0,1 1-1 0 0,-1-1 0 0 0,-1 1 0 0 0,1 0 0 0 0,-1 0 1 0 0,0 0-1 0 0,-1 0 0 0 0,0 0 0 0 0,0 0 0 0 0,2 12 1 0 0,-1 6 87 0 0,-1 42 1 0 0,-2-65-57 0 0,-1 0-1 0 0,1 0 1 0 0,0 0 0 0 0,-1 0-1 0 0,0 0 1 0 0,1 0-1 0 0,-1 0 1 0 0,0 0 0 0 0,-1 2-1 0 0,-1-2 340 0 0,6-13-406 0 0,3-2-21 0 0,1 1 0 0 0,0 0 1 0 0,0 0-1 0 0,1 1 1 0 0,1 0-1 0 0,0 0 1 0 0,0 1-1 0 0,1 0 1 0 0,0 1-1 0 0,1 0 0 0 0,13-8 1 0 0,19-11-38 0 0,80-37-1 0 0,-57 32 43 0 0,-62 30 13 0 0,6-1 161 0 0,-1-1-1 0 0,0-1 0 0 0,0 1 0 0 0,-1-1 0 0 0,13-12 0 0 0,-19 16-97 0 0,-2 1-53 0 0,0 1 1 0 0,0-1 0 0 0,0 1 0 0 0,0-1 0 0 0,0 1 0 0 0,0-1 0 0 0,0 0 0 0 0,-1 1 0 0 0,1-1 0 0 0,0 1-1 0 0,0-1 1 0 0,0 1 0 0 0,-1-1 0 0 0,1 1 0 0 0,0-1 0 0 0,-1 1 0 0 0,1-1 0 0 0,0 1 0 0 0,-1-1 0 0 0,1 1-1 0 0,-1 0 1 0 0,1-1 0 0 0,-1 1 0 0 0,1 0 0 0 0,-1-1 0 0 0,1 1 0 0 0,-1 0 0 0 0,0-1 0 0 0,-20 1 54 0 0,14 2-57 0 0,0 0-1 0 0,0 0 0 0 0,-12 6 0 0 0,12-4-4 0 0,0 0-1 0 0,0 1 1 0 0,1-1 0 0 0,-1 1-1 0 0,1 1 1 0 0,0-1-1 0 0,1 1 1 0 0,-1 0-1 0 0,1 0 1 0 0,1 1 0 0 0,-1 0-1 0 0,1 0 1 0 0,-7 14-1 0 0,10-17 9 0 0,-1-1 0 0 0,1 1 0 0 0,0 0 0 0 0,0 1 1 0 0,0-1-1 0 0,1 0 0 0 0,-1 0 0 0 0,1 0 0 0 0,0 0 0 0 0,0 0 0 0 0,1 1 0 0 0,-1-1 0 0 0,1 0 0 0 0,0 0 0 0 0,0 0 0 0 0,0 0 0 0 0,1 0 0 0 0,-1 0 0 0 0,1-1 0 0 0,0 1 0 0 0,0 0 0 0 0,0-1 0 0 0,1 0 0 0 0,-1 1 0 0 0,1-1 1 0 0,0 0-1 0 0,0 0 0 0 0,6 4 0 0 0,-5-3-48 0 0,1 0-1 0 0,0 0 1 0 0,1-1 0 0 0,-1 0 0 0 0,0 0 0 0 0,1 0 0 0 0,0-1 0 0 0,0 0 0 0 0,0 0 0 0 0,0 0 0 0 0,0-1 0 0 0,0 0 0 0 0,0 0 0 0 0,0-1-1 0 0,0 1 1 0 0,0-1 0 0 0,1-1 0 0 0,-1 1 0 0 0,0-1 0 0 0,0 0 0 0 0,0 0 0 0 0,0-1 0 0 0,0 0 0 0 0,7-3 0 0 0,0-1-43 0 0,0-1 0 0 0,-1 0 0 0 0,0-1 0 0 0,0-1 1 0 0,-1 0-1 0 0,0 0 0 0 0,0-1 0 0 0,-1-1 0 0 0,12-15 0 0 0,-18 22 106 0 0,-1-1 0 0 0,1 1 0 0 0,-1-1 0 0 0,0 1 0 0 0,0-1 0 0 0,-1 0 0 0 0,1 0-1 0 0,-1-1 1 0 0,3-8 0 0 0,-5 11 5 0 0,-12 24-129 0 0,11-17 110 0 0,1 0-1 0 0,0 0 1 0 0,0 1 0 0 0,0-1 0 0 0,1 0 0 0 0,-1 1 0 0 0,1-1 0 0 0,0 0-1 0 0,0 0 1 0 0,1 0 0 0 0,-1 0 0 0 0,1 0 0 0 0,3 6 0 0 0,-4-8-37 0 0,1 0 0 0 0,-1 0 1 0 0,0 0-1 0 0,1-1 0 0 0,0 1 0 0 0,-1 0 1 0 0,1-1-1 0 0,0 0 0 0 0,0 1 1 0 0,0-1-1 0 0,-1 0 0 0 0,1 0 1 0 0,1 0-1 0 0,-1 0 0 0 0,0 0 1 0 0,0 0-1 0 0,0-1 0 0 0,0 1 0 0 0,1-1 1 0 0,-1 1-1 0 0,0-1 0 0 0,0 0 1 0 0,1 0-1 0 0,-1 0 0 0 0,0 0 1 0 0,1-1-1 0 0,-1 1 0 0 0,0 0 0 0 0,0-1 1 0 0,3 0-1 0 0,44-21-731 0 0,-47 21 699 0 0,-1 1-38 0 0,0 0 101 0 0,0 0 0 0 0,0 0 0 0 0,-1 0 0 0 0,1 0 0 0 0,0 0 0 0 0,0 1 0 0 0,0-1 0 0 0,0 0 0 0 0,0 0 0 0 0,0 1 0 0 0,-1-1 0 0 0,1 1 0 0 0,0-1 0 0 0,0 0 0 0 0,-1 1 0 0 0,1 0 0 0 0,0-1 0 0 0,0 1 0 0 0,-1-1 0 0 0,1 1 1 0 0,-1 0-1 0 0,1-1 0 0 0,-1 1 0 0 0,1 0 0 0 0,-1 0 0 0 0,1 1 0 0 0,0-1 63 0 0,26 14 576 0 0,-24-14-619 0 0,1 0-1 0 0,0-1 0 0 0,0 0 1 0 0,0 0-1 0 0,0 0 0 0 0,0 0 1 0 0,0 0-1 0 0,-1-1 0 0 0,1 0 1 0 0,0 0-1 0 0,0 0 0 0 0,-1 0 1 0 0,1 0-1 0 0,0-1 0 0 0,-1 0 1 0 0,0 0-1 0 0,1 0 0 0 0,-1 0 1 0 0,0 0-1 0 0,0-1 0 0 0,0 1 1 0 0,0-1-1 0 0,0 0 0 0 0,-1 0 1 0 0,1 0-1 0 0,-1 0 0 0 0,0 0 1 0 0,0 0-1 0 0,0-1 0 0 0,0 1 1 0 0,1-6-1 0 0,7-21 268 0 0,-1 0 0 0 0,-1-1 0 0 0,5-51-1 0 0,3-11 4011 0 0,-16 96-3805 0 0,1 58 559 0 0,4 0-1 0 0,15 80 1 0 0,-18-129-967 0 0,5 24-1497 0 0,-1 1-1 0 0,1 41 1 0 0,-7-76 1068 0 0,0-1 0 0 0,1 1 0 0 0,-1 0 0 0 0,0-1 0 0 0,-1 1 0 0 0,1 0 0 0 0,0-1 0 0 0,0 1 1 0 0,-1 0-1 0 0,1-1 0 0 0,-1 1 0 0 0,1-1 0 0 0,-1 1 0 0 0,1-1 0 0 0,-1 1 0 0 0,0-1 0 0 0,0 0 0 0 0,0 1 1 0 0,0-1-1 0 0,0 0 0 0 0,0 1 0 0 0,0-1 0 0 0,-1 0 0 0 0,1 0 0 0 0,0 0 0 0 0,-1 0 0 0 0,1 0 1 0 0,-2 1-1 0 0</inkml:trace>
</inkml:ink>
</file>

<file path=ppt/ink/ink1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54.82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33 788 0 0,'0'-14'1408'0'0,"4"-2"-336"0"0,-2 3-244 0 0,6 0-228 0 0,0 1-80 0 0,2 1-99 0 0,2 0-97 0 0,-2 2-196 0 0,6 0-312 0 0,2 2-156 0 0,4 0-457 0 0,-2 0-715 0 0,-2 3 660 0 0</inkml:trace>
  <inkml:trace contextRef="#ctx0" brushRef="#br0" timeOffset="1">363 101 312 0 0,'0'0'1984'0'0,"12"7"684"0"0,6-2-1031 0 0,4-1-529 0 0,8 0-940 0 0,2-4-1296 0 0,-18-2-981 0 0</inkml:trace>
</inkml:ink>
</file>

<file path=ppt/ink/ink136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767" units="cm"/>
          <inkml:channel name="Y" type="integer" max="32767" units="cm"/>
          <inkml:channel name="F" type="integer" max="8191" units="dev"/>
          <inkml:channel name="T" type="integer" max="2.14748E9" units="dev"/>
        </inkml:traceFormat>
        <inkml:channelProperties>
          <inkml:channelProperty channel="X" name="resolution" value="1290.03943" units="1/cm"/>
          <inkml:channelProperty channel="Y" name="resolution" value="2064.71338" units="1/cm"/>
          <inkml:channelProperty channel="F" name="resolution" value="0" units="1/dev"/>
          <inkml:channelProperty channel="T" name="resolution" value="1" units="1/dev"/>
        </inkml:channelProperties>
      </inkml:inkSource>
      <inkml:timestamp xml:id="ts0" timeString="2021-12-11T11:51:40.631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8262 8118 122 0,'41'-16'-43'0,"-3"2"16"15</inkml:trace>
  <inkml:trace contextRef="#ctx0" brushRef="#br0" timeOffset="2131.73">13591 5740 80 0,'0'0'301'0,"10"-7"-38"0,-10 7-33 16,9-5-26-16,-9 5-9 0,9-5-19 0,-9 5-5 15,8-2-20-15,-8 2-14 0,0 0-16 0,11-4-29 16,-11 4-15-16,0 0-12 0,8-2-13 0,-8 2-15 16,0 0-6-16,0 0-2 0,0 0-3 0,0 0-10 15,0 0 0-15,0 0-1 0,-6 7-7 0,6-7 3 16,-17 5-14-16,7-3 14 0,-2 1-3 0,0 0-2 15,-1 0 0-15,-4-1-7 0,2 0 1 0,-2 1 5 16,-1-1-1-16,0 0-5 0,2 1 4 0,-3-1-3 16,1 1-4-16,1-2 5 0,3 1-2 0,1-1-1 15,-1 2 0-15,3-1-4 0,-1 1 4 0,2 0-8 16,1 1 7-16,0-1 1 0,3 3-5 0,-2 2 0 16,2 0 2-16,2 2 0 0,0 0-10 0,0 4 18 15,3 3-19-15,1-1 22 0,0 4-20 0,1 3 28 16,-1 3-19-16,3 3 15 0,-3 4-18 0,2 2 17 15,-2 1 2-15,0 4-5 0,2-2 1 0,-1 6-3 16,0 1-2-16,-1-5 1 0,1 4-16 0,1-1 19 16,0-4-17-16,-2-1 18 0,2-1-12 0,-2 2 13 15,1-3-16-15,-1 1 8 0,-1-1 0 0,1-1 16 16,-2-1 12-16,2-5 19 0,0 0-16 0,0-1 2 16,0 0-18-16,0-5 6 0,2 2-10 0,-1-4 9 0,0-2-9 15,0-1 3-15,2-1-3 0,2-2 8 16,0 0 3-16,3-2 1 0,1-3 0 0,3 1-15 0,3-4 18 15,1-1-16-15,2-1-87 0,2-4-76 0,5-1-160 16,3-2-429-16,5-4-249 0</inkml:trace>
  <inkml:trace contextRef="#ctx0" brushRef="#br0" timeOffset="2882.31">15989 5693 68 0,'0'0'281'0,"0"0"-86"16,4-7-39-16,-4 7-39 0,8-5-23 0,-8 5-12 15,9-4-10-15,-9 4-10 0,13-4-9 0,-13 4-8 16,17-3-9-16,-17 3 11 0,16 0-10 0,-16 0-9 0,20 3-6 16,-11-1-2-16,-1 3 2 0,0-1-8 0,1 1 1 15,-3 3-4-15,3-1 13 0,-4 3-4 16,2 0 2-16,-2 4-4 0,0-1 2 0,-1 2 0 0,2 1 3 16,-3 1-1-16,-1 0-30 0,1 1 30 0,-2 1-27 15,-1 1 34-15,0 2-22 0,0 2 40 0,-1 2-29 16,-3-1 28-16,3 3-39 0,-4 1 25 0,0 2-30 15,0-1 25-15,-2 1-4 0,2 0-5 0,-1 0-3 16,-2 1 1-16,4-1-6 0,-1 0 1 0,1 1-1 16,-1-1-2-16,4-5-1 0,-2 3-1 0,3-2-19 15,0 0 21-15,0-1-22 0,0 1 59 0,3 0 8 16,-2-2 37-16,2 0-35 0,-1-2-11 0,-2-3-5 16,3 0-8-16,-3-2-7 0,1 0-1 0,-1-2 55 15,-1-2-10-15,-1-2 32 0,0 1 7 0,-3-2-29 16,-4 0-2-16,-1-3-17 0,-2-1-6 0,-4-3-15 15,-1-1-26-15,-5-2-84 0,-7-1-140 0,-7-2-140 16,-10-2-413-16,-5-3-281 0</inkml:trace>
  <inkml:trace contextRef="#ctx0" brushRef="#br0" timeOffset="11599.53">14928 13282 270 0,'-9'-7'375'0,"9"7"-82"0,-5-7-6 0,5 7-35 0,-5-8-19 16,5 8-73-16,-7-7 25 0,7 7-46 0,-5-6 41 16,5 6-62-16,-4-5 25 0,4 5-28 0,0 0-2 15,-6-5-30-15,6 5 15 0,0 0-35 0,0 0 22 16,-4-4-3-16,4 4-4 0,0 0 15 0,0 0 6 15,0 0-4-15,0 7-31 0,0-7 20 0,4 7 7 16,-4-7 7-16,8 10-22 0,-8-10 0 0,9 11 16 16,-3-7 7-16,3 0-26 0,4-3-7 0,1 0-1 15,6-4-12-15,7-2-3 0,6-6-21 16,7-5-20-16,5-1-25 0,7-8-36 0,4 0-9 0,2-4-48 16,-1 1-61-16,2-4-67 0,-3 0-103 0,2 1-50 15,-3-4-122-15,0-1-361 0,-3 0-430 0</inkml:trace>
  <inkml:trace contextRef="#ctx0" brushRef="#br0" timeOffset="12425.34">21282 12846 130 0,'0'0'134'0,"-4"5"-39"0,4-5 0 15,0 0-8-15,-5 6-2 0,5-6-31 0,0 0 13 0,0 0-13 16,-4 5 26-16,4-5-16 0,0 0 28 16,0 0-23-16,0 0 22 0,-6 4-31 0,6-4 9 15,0 0-33-15,0 0 13 0,0 0-2 0,0 0-11 16,-3-7-4-16,3 7 36 0,0 0-3 0,-1-8 50 0,1 8-18 15,-2-5-4-15,2 5-30 0,0 0 60 0,-2-7-40 16,2 7-4-16,0 0-19 0,-4-7-15 0,4 7-14 16,0 0 12-16,0 0 54 0,0 0-7 0,-5 6-3 15,5-6 3-15,-4 8-23 0,4-8-16 0,-1 11-5 16,2-5 27-16,1 0-5 0,0 3-4 0,1-1-21 16,-1-1-5-16,4 1-4 0,-1-1-7 0,2 1 18 15,2-1-4-15,3 0 0 0,0-2-10 0,3 0-5 16,1-2-4-16,2-2-7 0,3-1 1 0,0 0-3 15,0-2 3-15,4 0-12 0,1-4-25 0,-2-2-4 16,4 0-41-16,-3-5 16 0,0 2-42 0,-1-1 21 16,1-2-75-16,-4-1 23 0,-3 3-56 0,0-1 12 15,-2 0-25-15,-1 2-12 0,-1-1-58 0,-3 2-52 16,0-1-224-16,-2-1-47 0</inkml:trace>
</inkml:ink>
</file>

<file path=ppt/ink/ink1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0:12.16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4 6 164 0 0,'-17'-6'1363'0'0,"14"6"-767"0"0,0 7-64 0 0,-7 23 359 0 0,10-29-846 0 0,-1-1-1 0 0,1 0 0 0 0,0 0 1 0 0,0 1-1 0 0,-1-1 0 0 0,1 0 1 0 0,0 1-1 0 0,0-1 0 0 0,-1 0 1 0 0,1 0-1 0 0,0 0 0 0 0,-1 1 1 0 0,1-1-1 0 0,0 0 0 0 0,-1 0 1 0 0,1 0-1 0 0,0 0 0 0 0,-1 1 1 0 0,1-1-1 0 0,0 0 0 0 0,-1 0 1 0 0,1 0-1 0 0,0 0 0 0 0,-1 0 0 0 0,1 0 1 0 0,-1 0-1 0 0,1 0 0 0 0,0 0 1 0 0,-1 0-1 0 0,1 0 0 0 0,0-1 1 0 0,-1 1-1 0 0,1 0 0 0 0,0 0 1 0 0,-1 0-1 0 0,1 0 0 0 0,0 0 1 0 0,-1-1-1 0 0,1 1 0 0 0,0 0 1 0 0,-1 0-1 0 0,1-1 0 0 0,0 1 1 0 0,-1-1-1 0 0,-16-12 2032 0 0,14 10-1003 0 0,3 3-1003 0 0,0 0 0 0 0,-1 0 0 0 0,1 0 0 0 0,0-1 0 0 0,0 1 0 0 0,-1 0 0 0 0,1 0 0 0 0,0 0 0 0 0,-1-1 0 0 0,1 1 0 0 0,0 0 0 0 0,0 0 0 0 0,-1-1 0 0 0,1 1 1 0 0,0 0-1 0 0,0 0 0 0 0,0-1 0 0 0,0 1 0 0 0,-1 0 0 0 0,1-1 0 0 0,0 1 0 0 0,0 0 0 0 0,0-1 0 0 0,0 1 0 0 0,0 0 0 0 0,0-1 0 0 0,0 1 0 0 0,0-1 0 0 0,8-1 360 0 0,18 6-455 0 0,283 62-403 0 0,345 28 0 0 0,-651-93 427 0 0,0-1 1 0 0,0 0-1 0 0,0 0 0 0 0,0-1 0 0 0,0 1 0 0 0,1-1 0 0 0,-1 1 0 0 0,0-1 0 0 0,0 0 0 0 0,0 0 1 0 0,0 0-1 0 0,-1 0 0 0 0,1-1 0 0 0,0 1 0 0 0,0-1 0 0 0,-1 0 0 0 0,1 0 0 0 0,-1 0 1 0 0,3-3-1 0 0,-2 3 0 0 0,-1 0-1 0 0,0 0 1 0 0,1 0 0 0 0,0 0 0 0 0,-1 0 0 0 0,1 1 0 0 0,0-1 0 0 0,0 1-1 0 0,-1 0 1 0 0,1 0 0 0 0,0 0 0 0 0,0 0 0 0 0,1 0 0 0 0,-1 1 0 0 0,0-1-1 0 0,0 1 1 0 0,0 0 0 0 0,6 0 0 0 0,591 11-91 0 0,-196-9 91 0 0,312 34-51 0 0,-403-22-58 0 0,-72-5-50 0 0,302 29 50 0 0,-206-13 68 0 0,809 26-711 0 0,28-46 490 0 0,-638-7 209 0 0,-384 2 29 0 0,773 4 41 0 0,-339 15-71 0 0,1 22-42 0 0,-184-11 89 0 0,629 22 7 0 0,3-23 4 0 0,-413-13-3 0 0,-142-2-26 0 0,766 19-91 0 0,-1063-30 171 0 0,846 14 87 0 0,0-22-51 0 0,-57-32 33 0 0,-829 29-47 0 0,512-36 1109 0 0,-627 41-839 0 0,51-13 1 0 0,-78 16-433 0 0,0 0 1 0 0,0-1 0 0 0,1 1-1 0 0,-1-1 1 0 0,0 1-1 0 0,0-1 1 0 0,0 0 0 0 0,0 1-1 0 0,0-1 1 0 0,0 0-1 0 0,-1 0 1 0 0,1 1 0 0 0,0-1-1 0 0,0 0 1 0 0,0 0 0 0 0,-1 0-1 0 0,2-1 1 0 0,-13 2-876 0 0,0 0-1979 0 0,-6 0 136 0 0</inkml:trace>
</inkml:ink>
</file>

<file path=ppt/ink/ink1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0:12.90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10 30 1060 0 0,'1'-7'449'0'0,"-2"-16"6789"0"0,1 24-7201 0 0,-8 11 979 0 0,-6 17-216 0 0,0 0-1 0 0,2 2 1 0 0,2-1-1 0 0,0 1 1 0 0,-5 40-1 0 0,4-5-282 0 0,-2 103 0 0 0,12-153-469 0 0,0 12-265 0 0,1 1-1 0 0,4 33 1 0 0,-3-55-86 0 0,0 0-1 0 0,0 0 1 0 0,1 0 0 0 0,0-1 0 0 0,0 1-1 0 0,1-1 1 0 0,-1 1 0 0 0,1-1-1 0 0,1 0 1 0 0,-1 0 0 0 0,1-1-1 0 0,0 1 1 0 0,1-1 0 0 0,7 9 0 0 0,-10-12-39 0 0,0-1 0 0 0,0 0 0 0 0,0 1 0 0 0,0-1 0 0 0,0 0 1 0 0,1 0-1 0 0,-1 0 0 0 0,0-1 0 0 0,0 1 0 0 0,1 0 1 0 0,-1-1-1 0 0,5 1 0 0 0,12-1-3288 0 0</inkml:trace>
</inkml:ink>
</file>

<file path=ppt/ink/ink1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0:13.29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29 133 80 0 0,'0'-2'289'0'0,"0"-1"0"0"0,0 1-1 0 0,0-1 1 0 0,0 1 0 0 0,-1-1 0 0 0,1 1 0 0 0,-1-1-1 0 0,0 1 1 0 0,0-1 0 0 0,0 1 0 0 0,-2-4-1 0 0,2 5-167 0 0,0 0 0 0 0,0 0-1 0 0,0 0 1 0 0,0 0 0 0 0,0 0-1 0 0,0 0 1 0 0,-1 0 0 0 0,1 0-1 0 0,0 0 1 0 0,-1 1-1 0 0,1-1 1 0 0,-1 1 0 0 0,1-1-1 0 0,0 1 1 0 0,-1-1 0 0 0,1 1-1 0 0,-1 0 1 0 0,0-1-1 0 0,1 1 1 0 0,-1 0 0 0 0,1 0-1 0 0,-1 0 1 0 0,-1 1 0 0 0,-2-1 31 0 0,1 1 1 0 0,-1-1 0 0 0,1 1-1 0 0,-1 0 1 0 0,1 1 0 0 0,-1-1-1 0 0,1 1 1 0 0,0 0 0 0 0,0 0-1 0 0,0 0 1 0 0,0 0 0 0 0,0 1 0 0 0,-7 6-1 0 0,9-7-76 0 0,0 0 1 0 0,0 0-1 0 0,1 1 0 0 0,-1-1 0 0 0,0 1 0 0 0,1-1 1 0 0,0 1-1 0 0,0 0 0 0 0,0-1 0 0 0,0 1 1 0 0,0 0-1 0 0,0 0 0 0 0,1 0 0 0 0,-1 0 0 0 0,1 0 1 0 0,0-1-1 0 0,0 1 0 0 0,0 0 0 0 0,0 0 1 0 0,0 0-1 0 0,1 0 0 0 0,-1 0 0 0 0,1 0 0 0 0,2 5 1 0 0,1 2 9 0 0,1 0 1 0 0,0 0 0 0 0,1-1-1 0 0,0 1 1 0 0,1-2 0 0 0,-1 1-1 0 0,2 0 1 0 0,-1-1 0 0 0,1-1-1 0 0,16 13 1 0 0,-3-4 0 0 0,1-1 1 0 0,1-1-1 0 0,32 15 0 0 0,-43-24 23 0 0,0 1-1 0 0,0-2 1 0 0,1 0-1 0 0,-1 0 0 0 0,1-1 1 0 0,0-1-1 0 0,23 2 1 0 0,-30-4-82 0 0,-1-1 1 0 0,1 1 0 0 0,0-1-1 0 0,-1 0 1 0 0,1 0 0 0 0,-1 0 0 0 0,1-1-1 0 0,-1 0 1 0 0,0 0 0 0 0,1 0-1 0 0,-1-1 1 0 0,0 0 0 0 0,-1 0 0 0 0,1 0-1 0 0,0 0 1 0 0,-1-1 0 0 0,0 0-1 0 0,0 0 1 0 0,0 0 0 0 0,4-5 0 0 0,-3 3-24 0 0,0-1 1 0 0,-1 1 0 0 0,0-1-1 0 0,0 0 1 0 0,-1 0 0 0 0,0-1-1 0 0,0 1 1 0 0,0 0 0 0 0,-1-1-1 0 0,0 0 1 0 0,-1 1 0 0 0,0-1-1 0 0,0 0 1 0 0,0 0 0 0 0,-1 0 0 0 0,0 0-1 0 0,-1 0 1 0 0,0 0 0 0 0,0 1-1 0 0,-1-1 1 0 0,0 0 0 0 0,0 1-1 0 0,0-1 1 0 0,-1 1 0 0 0,0-1-1 0 0,-1 1 1 0 0,0 0 0 0 0,0 1 0 0 0,0-1-1 0 0,-1 1 1 0 0,-7-8 0 0 0,2 3-11 0 0,-1 1 0 0 0,-1 0 0 0 0,1 1 0 0 0,-1 0 1 0 0,-1 1-1 0 0,0 0 0 0 0,0 1 0 0 0,0 1 1 0 0,-1 0-1 0 0,0 0 0 0 0,0 2 0 0 0,0 0 0 0 0,-1 0 1 0 0,1 1-1 0 0,-1 1 0 0 0,-30-1 0 0 0,41 4-137 0 0,-1-1 0 0 0,1 1 0 0 0,-1 0 0 0 0,1 0 0 0 0,-1 1 0 0 0,1-1 0 0 0,0 1 0 0 0,-7 4-1 0 0,11-6 97 0 0,-1 0 0 0 0,1 0 0 0 0,0 1 0 0 0,-1-1 0 0 0,1 1 0 0 0,-1-1 0 0 0,1 0-1 0 0,0 1 1 0 0,-1-1 0 0 0,1 1 0 0 0,0-1 0 0 0,0 1 0 0 0,-1-1 0 0 0,1 1-1 0 0,0-1 1 0 0,0 1 0 0 0,0-1 0 0 0,-1 1 0 0 0,1-1 0 0 0,0 1 0 0 0,0-1 0 0 0,0 1-1 0 0,0-1 1 0 0,0 1 0 0 0,0 0 0 0 0,0-1 0 0 0,0 1 0 0 0,1-1 0 0 0,-1 1-1 0 0,0-1 1 0 0,0 1 0 0 0,0-1 0 0 0,0 1 0 0 0,1-1 0 0 0,0 1 0 0 0,10 15-2135 0 0,1-7-386 0 0,5-1-707 0 0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05:44.65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70 79 360 0 0,'0'0'1346'0'0,"-4"-25"2971"0"0,-7-11-644 0 0,10 34-3403 0 0,1 2-256 0 0,0-1 0 0 0,0 0 0 0 0,0 1 0 0 0,0-1 0 0 0,0 1 0 0 0,0-1 0 0 0,0 0 0 0 0,0 1-1 0 0,-1-1 1 0 0,1 1 0 0 0,0-1 0 0 0,0 0 0 0 0,-1 1 0 0 0,1-1 0 0 0,0 1 0 0 0,-1-1 0 0 0,1 1 0 0 0,0-1 0 0 0,-1 1-1 0 0,1-1 1 0 0,-1 1 0 0 0,1-1 0 0 0,-1 1 0 0 0,1 0 0 0 0,-1-1 0 0 0,1 1 0 0 0,-1 0 0 0 0,1-1 0 0 0,-1 1 0 0 0,0 0-1 0 0,1 0 1 0 0,-1 0 0 0 0,1-1 0 0 0,-1 1 0 0 0,0 0 0 0 0,1 0 0 0 0,-1 0 0 0 0,0 0 0 0 0,1 0 0 0 0,-1 0 0 0 0,1 0-1 0 0,-1 0 1 0 0,0 1 0 0 0,1-1 0 0 0,-1 0 0 0 0,0 0 0 0 0,1 0 0 0 0,-1 1 0 0 0,1-1 0 0 0,-1 0 0 0 0,1 1 0 0 0,-1-1-1 0 0,1 0 1 0 0,-1 1 0 0 0,1-1 0 0 0,-1 1 0 0 0,0 0 0 0 0,-6 6-6 0 0,1 0 0 0 0,0 0 1 0 0,0 1-1 0 0,0 0 0 0 0,1 0 0 0 0,1 0 0 0 0,-5 10 0 0 0,7-14-5 0 0,1 0 0 0 0,0-1 0 0 0,0 1-1 0 0,1 0 1 0 0,-1 0 0 0 0,1 0-1 0 0,0 0 1 0 0,0 0 0 0 0,0 0 0 0 0,0 0-1 0 0,1 0 1 0 0,-1-1 0 0 0,1 1 0 0 0,0 0-1 0 0,0 0 1 0 0,1 0 0 0 0,-1-1-1 0 0,1 1 1 0 0,0-1 0 0 0,-1 1 0 0 0,5 4-1 0 0,9 11 37 0 0,2-1 0 0 0,0 0 0 0 0,1-1 0 0 0,25 19 0 0 0,24 22 12 0 0,-32-18 50 0 0,-35-39-89 0 0,1 0-1 0 0,-1 0 1 0 0,0 0 0 0 0,1-1-1 0 0,-1 1 1 0 0,0 0-1 0 0,1 0 1 0 0,-1 0 0 0 0,0 0-1 0 0,0 0 1 0 0,0 0 0 0 0,0 0-1 0 0,0 0 1 0 0,0 0 0 0 0,0 0-1 0 0,-1 0 1 0 0,1 0 0 0 0,0 0-1 0 0,0 0 1 0 0,-1 0-1 0 0,1 0 1 0 0,-1 0 0 0 0,1 0-1 0 0,-1-1 1 0 0,1 1 0 0 0,-1 0-1 0 0,1 0 1 0 0,-1 0 0 0 0,0-1-1 0 0,-1 2 1 0 0,0 1 10 0 0,0-1 0 0 0,-1 0 1 0 0,1 0-1 0 0,-1 0 0 0 0,0 0 1 0 0,0 0-1 0 0,-5 2 0 0 0,2-2-17 0 0,-1 0 0 0 0,1-1 0 0 0,-1 1 0 0 0,0-1 0 0 0,0-1 0 0 0,1 1 0 0 0,-1-1 0 0 0,0-1 0 0 0,0 1-1 0 0,0-1 1 0 0,1 0 0 0 0,-1 0 0 0 0,0-1 0 0 0,1 0 0 0 0,0 0 0 0 0,-1-1 0 0 0,1 0 0 0 0,0 0 0 0 0,0 0-1 0 0,0-1 1 0 0,1 0 0 0 0,-1 0 0 0 0,1 0 0 0 0,0-1 0 0 0,0 0 0 0 0,0 0 0 0 0,1 0 0 0 0,0 0 0 0 0,0-1-1 0 0,0 1 1 0 0,1-1 0 0 0,-1 0 0 0 0,-2-8 0 0 0,-3-9-61 0 0,6 14 69 0 0,0 0 0 0 0,-1 1 1 0 0,-1-1-1 0 0,1 1 0 0 0,-1 0 0 0 0,-6-8 0 0 0,9 14 5 0 0,-28 15 489 0 0,12 4-122 0 0,0 0 0 0 0,1 2-1 0 0,2 0 1 0 0,-28 42 0 0 0,-17 23-1245 0 0,57-81-264 0 0,0 1 0 0 0,0-1 0 0 0,-1 1-1 0 0,1-1 1 0 0,-8 4 0 0 0</inkml:trace>
</inkml:ink>
</file>

<file path=ppt/ink/ink1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0:13.68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90 0 400 0 0,'38'1'4242'0'0,"-37"-1"-4178"0"0,-1 0 1 0 0,1 0-1 0 0,-1 0 1 0 0,0 1 0 0 0,1-1-1 0 0,-1 0 1 0 0,1 0-1 0 0,-1 0 1 0 0,0 0-1 0 0,1 0 1 0 0,-1 1-1 0 0,0-1 1 0 0,1 0-1 0 0,-1 0 1 0 0,0 1 0 0 0,1-1-1 0 0,-1 0 1 0 0,0 0-1 0 0,1 1 1 0 0,-1-1-1 0 0,0 0 1 0 0,0 1-1 0 0,1-1 1 0 0,-1 0 0 0 0,0 1-1 0 0,0-1 1 0 0,0 1-1 0 0,0-1 1 0 0,1 0-1 0 0,-1 1 1 0 0,0-1-1 0 0,0 1 1 0 0,0-1-1 0 0,0 0 1 0 0,0 1 0 0 0,0-1-1 0 0,0 1 1 0 0,0-1-1 0 0,0 0 1 0 0,0 1-1 0 0,0-1 1 0 0,-1 1-1 0 0,1-1 1 0 0,0 0 0 0 0,0 1-1 0 0,0-1 1 0 0,0 1-1 0 0,-1-1 1 0 0,-10 18 1387 0 0,10-17-1176 0 0,-92 108 3615 0 0,4-6-2862 0 0,86-99-1024 0 0,-134 189 955 0 0,119-164-1213 0 0,2 1 0 0 0,1 0-1 0 0,1 1 1 0 0,-18 64 0 0 0,30-87-218 0 0,0 1 0 0 0,1-1 0 0 0,0 1 0 0 0,0 14 0 0 0,1-20-109 0 0,1 1-1 0 0,-1 0 1 0 0,1-1 0 0 0,0 1 0 0 0,-1-1 0 0 0,2 1 0 0 0,-1-1-1 0 0,2 5 1 0 0,6 3-3591 0 0</inkml:trace>
</inkml:ink>
</file>

<file path=ppt/ink/ink1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0:14.05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86 59 1864 0 0,'89'-57'8361'0'0,"-88"56"-8018"0"0,11 3-172 0 0,-11-2-148 0 0,0 0 1 0 0,0 0-1 0 0,0 0 1 0 0,0 0-1 0 0,0 0 1 0 0,0 0-1 0 0,0 1 1 0 0,0-1-1 0 0,0 0 1 0 0,0 1-1 0 0,0-1 0 0 0,0 0 1 0 0,0 1-1 0 0,0-1 1 0 0,0 1-1 0 0,-1 0 1 0 0,1-1-1 0 0,0 1 1 0 0,0 0-1 0 0,0-1 1 0 0,-1 1-1 0 0,1 0 1 0 0,-1 0-1 0 0,1-1 0 0 0,0 1 1 0 0,0 1-1 0 0,0 2 16 0 0,0-1-1 0 0,0 1 1 0 0,0-1-1 0 0,0 1 0 0 0,-1-1 1 0 0,0 1-1 0 0,1-1 0 0 0,-1 1 1 0 0,0 0-1 0 0,-1-1 1 0 0,1 1-1 0 0,-1 0 0 0 0,0-1 1 0 0,1 1-1 0 0,-1-1 0 0 0,-1 0 1 0 0,-1 6-1 0 0,-5 8 25 0 0,-1 0 0 0 0,-14 19-1 0 0,3-3 32 0 0,13-22-51 0 0,2 0-1 0 0,0 0 0 0 0,-7 22 1 0 0,11-28 30 0 0,0 0-1 0 0,0 0 1 0 0,0 0 0 0 0,1 1 0 0 0,0-1-1 0 0,0 0 1 0 0,0 1 0 0 0,1-1 0 0 0,-1 0-1 0 0,1 1 1 0 0,3 5 0 0 0,5 17 235 0 0,-4-16-174 0 0,-1-1 1 0 0,4 22-1 0 0,-8-32-101 0 0,0 0-1 0 0,0 0 0 0 0,0 0 0 0 0,0-1 0 0 0,0 1 1 0 0,0 0-1 0 0,0 0 0 0 0,0 0 0 0 0,-1 0 0 0 0,1-1 1 0 0,0 1-1 0 0,0 0 0 0 0,-1 0 0 0 0,1 0 1 0 0,-1-1-1 0 0,1 1 0 0 0,-1 0 0 0 0,1-1 0 0 0,-1 1 1 0 0,1 0-1 0 0,-1-1 0 0 0,1 1 0 0 0,-2 0 0 0 0,0 1 31 0 0,-1-1-1 0 0,1 0 0 0 0,0 0 0 0 0,-1 1 0 0 0,1-2 0 0 0,-1 1 0 0 0,-4 1 1 0 0,-4 0 119 0 0,-1-1 0 0 0,-18 0 1 0 0,27-1-144 0 0,-45-2 287 0 0,-72-14-1 0 0,53 6-3757 0 0,42 9-2112 0 0</inkml:trace>
</inkml:ink>
</file>

<file path=ppt/ink/ink1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0:14.40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8 109 2332 0 0,'-14'-13'1868'0'0,"4"3"-335"0"0,0-1-161 0 0,0 2-244 0 0,4 0-220 0 0,-2 0-224 0 0,2 2 296 0 0,2-8-640 0 0,10 8 152 0 0,12-2-596 0 0,0 5-264 0 0,-2 3-284 0 0,8 1-404 0 0,-2-2-576 0 0,8 2-829 0 0,0-2-499 0 0</inkml:trace>
</inkml:ink>
</file>

<file path=ppt/ink/ink1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0:14.81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59 249 1272 0 0,'-1'-11'5794'0'0,"-3"15"-5532"0"0,0 1-1 0 0,0 0 1 0 0,1 0-1 0 0,0 0 1 0 0,0 0-1 0 0,0 1 1 0 0,1-1-1 0 0,0 1 1 0 0,-2 7-1 0 0,-14 59 1254 0 0,16-60-1235 0 0,-27 147 1192 0 0,28-158-1450 0 0,1 0-1 0 0,0 1 1 0 0,0-1 0 0 0,0 0-1 0 0,-1 0 1 0 0,1 0 0 0 0,0 0 0 0 0,-1 0-1 0 0,1 0 1 0 0,-1 0 0 0 0,1 0-1 0 0,-1 0 1 0 0,0 0 0 0 0,1 0 0 0 0,-1 0-1 0 0,0-1 1 0 0,0 1 0 0 0,0 0-1 0 0,0 0 1 0 0,1-1 0 0 0,-1 1 0 0 0,0-1-1 0 0,0 1 1 0 0,0-1 0 0 0,0 1-1 0 0,0-1 1 0 0,0 1 0 0 0,-1-1 0 0 0,1 0-1 0 0,0 0 1 0 0,0 1 0 0 0,0-1-1 0 0,0 0 1 0 0,0 0 0 0 0,0 0 0 0 0,-1 0-1 0 0,1 0 1 0 0,0-1 0 0 0,0 1-1 0 0,0 0 1 0 0,0 0 0 0 0,0-1 0 0 0,0 1-1 0 0,0-1 1 0 0,0 1 0 0 0,0-1-1 0 0,0 1 1 0 0,0-1 0 0 0,0 0 0 0 0,0 1-1 0 0,0-1 1 0 0,1 0 0 0 0,-1 0-1 0 0,0 1 1 0 0,0-1 0 0 0,1 0 0 0 0,-1 0-1 0 0,0 0 1 0 0,0-1 0 0 0,-3-5-117 0 0,1 1 1 0 0,0 0 0 0 0,0-1 0 0 0,0 1-1 0 0,1-1 1 0 0,0 0 0 0 0,0 0 0 0 0,1 0-1 0 0,0 0 1 0 0,0 0 0 0 0,0 0 0 0 0,1-1-1 0 0,0 1 1 0 0,1 0 0 0 0,-1 0-1 0 0,4-13 1 0 0,2-5-202 0 0,1 0-1 0 0,1 1 0 0 0,15-32 1 0 0,-11 29 214 0 0,2 0 0 0 0,1 1 0 0 0,1 1 0 0 0,1 1 0 0 0,1 0 0 0 0,1 1 1 0 0,1 1-1 0 0,1 1 0 0 0,42-33 0 0 0,-60 52 103 0 0,0 0 0 0 0,-1 1-1 0 0,1-1 1 0 0,0 0 0 0 0,0 1 0 0 0,0 0 0 0 0,0 0-1 0 0,0 0 1 0 0,1 0 0 0 0,-1 0 0 0 0,0 0 0 0 0,0 1 0 0 0,1 0-1 0 0,-1-1 1 0 0,0 1 0 0 0,1 0 0 0 0,-1 1 0 0 0,0-1-1 0 0,0 1 1 0 0,1-1 0 0 0,-1 1 0 0 0,0 0 0 0 0,5 2-1 0 0,-2 1 77 0 0,-1-1-1 0 0,1 1 0 0 0,-1 0 1 0 0,1 1-1 0 0,-1-1 0 0 0,0 1 1 0 0,-1 0-1 0 0,1 0 0 0 0,-1 1 0 0 0,6 9 1 0 0,5 10 83 0 0,-1 1 1 0 0,-2 0 0 0 0,15 43-1 0 0,16 86 79 0 0,-17-11-1159 0 0,-24-124-1067 0 0,-2 0 1 0 0,-2 37-1 0 0,-2-32-2012 0 0</inkml:trace>
</inkml:ink>
</file>

<file path=ppt/ink/ink1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0:15.22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2 257 1428 0 0,'-4'-6'603'0'0,"0"0"-1"0"0,0 0 1 0 0,0 0 0 0 0,1-1-1 0 0,-1 1 1 0 0,2-1 0 0 0,-4-12-1 0 0,6 17-555 0 0,0 1-1 0 0,0-1 0 0 0,0 0 0 0 0,0 1 1 0 0,1-1-1 0 0,-1 0 0 0 0,1 1 1 0 0,-1-1-1 0 0,1 1 0 0 0,0-1 0 0 0,0 1 1 0 0,0-1-1 0 0,0 1 0 0 0,0-1 1 0 0,0 1-1 0 0,0 0 0 0 0,0-1 1 0 0,0 1-1 0 0,0 0 0 0 0,1 0 0 0 0,-1 0 1 0 0,1 0-1 0 0,-1 0 0 0 0,0 0 1 0 0,1 1-1 0 0,0-1 0 0 0,-1 0 1 0 0,4 0-1 0 0,5-3 59 0 0,0 0 0 0 0,21-4 0 0 0,21-1-290 0 0,1 2 0 0 0,60 0 0 0 0,106 10-482 0 0,-205-3 782 0 0,-1 1 1 0 0,0 0 0 0 0,1 1 0 0 0,-1 1 0 0 0,0 0 0 0 0,20 7-1 0 0,-28-7 36 0 0,1 0-1 0 0,-1 0 1 0 0,1 0-1 0 0,-1 1 1 0 0,0-1-1 0 0,-1 1 1 0 0,1 1-1 0 0,0-1 1 0 0,-1 1-1 0 0,0 0 1 0 0,0-1-1 0 0,-1 2 1 0 0,1-1-1 0 0,-1 0 1 0 0,0 1-1 0 0,2 5 1 0 0,21 46 1009 0 0,14 34 693 0 0,-40-90-1699 0 0,0 0 0 0 0,1 0 0 0 0,-1 0 0 0 0,1 0 0 0 0,-1 0 0 0 0,1 0 0 0 0,-1 0 0 0 0,1 0-1 0 0,-1 0 1 0 0,1 0 0 0 0,0-1 0 0 0,-1 1 0 0 0,1 0 0 0 0,0-1 0 0 0,0 1 0 0 0,0 0 0 0 0,0-1 0 0 0,-1 1 0 0 0,1-1 0 0 0,0 1-1 0 0,0-1 1 0 0,0 1 0 0 0,0-1 0 0 0,0 0 0 0 0,0 1 0 0 0,0-1 0 0 0,2 0 0 0 0,-1 0-82 0 0,0 0 1 0 0,0-1-1 0 0,0 1 1 0 0,0-1-1 0 0,0 0 1 0 0,0 1-1 0 0,0-1 1 0 0,0 0-1 0 0,0 0 0 0 0,0 0 1 0 0,-1 0-1 0 0,1-1 1 0 0,0 1-1 0 0,1-2 1 0 0,22-21 231 0 0,0-2 0 0 0,32-44 0 0 0,32-63-184 0 0,-16 25-2942 0 0,-65 98 2054 0 0</inkml:trace>
</inkml:ink>
</file>

<file path=ppt/ink/ink1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0:15.94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80 185 184 0 0,'5'-3'284'0'0,"-1"1"0"0"0,1-1 0 0 0,-1 1 0 0 0,0-1 0 0 0,0-1 1 0 0,0 1-1 0 0,-1 0 0 0 0,1-1 0 0 0,-1 0 0 0 0,0 0 0 0 0,0 0 0 0 0,0 0 0 0 0,0-1 0 0 0,-1 1 0 0 0,0-1 0 0 0,0 1 1 0 0,0-1-1 0 0,0 0 0 0 0,-1 0 0 0 0,1 1 0 0 0,-1-1 0 0 0,-1 0 0 0 0,1-1 0 0 0,-1 1 0 0 0,0 0 0 0 0,0 0 1 0 0,0 0-1 0 0,-1 0 0 0 0,-1-8 0 0 0,-6-30-46 0 0,7 42-240 0 0,-1 0-1 0 0,1 1 0 0 0,-1-1 0 0 0,1 0 0 0 0,-1 0 1 0 0,1 1-1 0 0,-1-1 0 0 0,1 1 0 0 0,-1-1 0 0 0,0 1 1 0 0,1 0-1 0 0,-1 0 0 0 0,0 0 0 0 0,1 0 0 0 0,-1 0 0 0 0,0 0 1 0 0,-2 0-1 0 0,-17 2 96 0 0,0 1 1 0 0,1 1-1 0 0,-1 1 0 0 0,1 1 1 0 0,0 0-1 0 0,-23 11 1 0 0,32-12 0 0 0,1 0 0 0 0,0 0 1 0 0,1 1-1 0 0,-1 0 0 0 0,1 1 0 0 0,0 0 1 0 0,1 0-1 0 0,-1 1 0 0 0,2 0 0 0 0,-1 0 1 0 0,1 1-1 0 0,0 0 0 0 0,-9 17 0 0 0,14-22-41 0 0,1 1 0 0 0,-1-1 0 0 0,1 1-1 0 0,0-1 1 0 0,1 1 0 0 0,-1 0 0 0 0,1-1 0 0 0,0 1-1 0 0,0 0 1 0 0,0 0 0 0 0,0-1 0 0 0,1 1-1 0 0,0 0 1 0 0,0-1 0 0 0,1 1 0 0 0,-1-1 0 0 0,1 0-1 0 0,0 1 1 0 0,0-1 0 0 0,0 0 0 0 0,5 7 0 0 0,-4-7-27 0 0,0 0 1 0 0,0 0-1 0 0,1 0 1 0 0,-1-1-1 0 0,1 1 1 0 0,0-1-1 0 0,0 0 1 0 0,0 0-1 0 0,0 0 1 0 0,1-1-1 0 0,-1 1 1 0 0,1-1-1 0 0,-1 0 1 0 0,1 0-1 0 0,0-1 1 0 0,0 0 0 0 0,0 0-1 0 0,0 0 1 0 0,0 0-1 0 0,0-1 1 0 0,8 1-1 0 0,-6-2-11 0 0,0 0 0 0 0,1-1 0 0 0,-1 1 0 0 0,0-1 0 0 0,1-1 0 0 0,-1 1 0 0 0,0-1 0 0 0,-1 0 0 0 0,1-1 0 0 0,-1 0 0 0 0,1 0 0 0 0,-1 0 0 0 0,0-1 0 0 0,0 0 0 0 0,-1 0 0 0 0,0 0 0 0 0,8-10 0 0 0,34-42-142 0 0,-45 55 94 0 0,0 5-67 0 0,0 0 96 0 0,-1-1-1 0 0,1 1 1 0 0,-1 0-1 0 0,0 0 1 0 0,0 0-1 0 0,0 0 1 0 0,0 0-1 0 0,-1 0 1 0 0,1 5-1 0 0,2 4 17 0 0,9 16 19 0 0,0 0-1 0 0,32 49 1 0 0,-30-55-29 0 0,-1 0 0 0 0,-2 1 0 0 0,0 0 0 0 0,-1 1-1 0 0,8 28 1 0 0,-16-43 15 0 0,0 1-1 0 0,-1-1 1 0 0,0 1-1 0 0,0 0 1 0 0,-1-1-1 0 0,0 1 1 0 0,-1 0-1 0 0,0-1 0 0 0,-1 1 1 0 0,0 0-1 0 0,0-1 1 0 0,-1 0-1 0 0,0 1 1 0 0,-9 15-1 0 0,6-15 89 0 0,-1 1 0 0 0,0-1 0 0 0,-1 0 0 0 0,0-1 0 0 0,0 0 0 0 0,-1 0 0 0 0,0 0 0 0 0,-1-2 0 0 0,0 1-1 0 0,0-1 1 0 0,-14 7 0 0 0,11-7 126 0 0,0-1-1 0 0,-1 0 1 0 0,1-1 0 0 0,-1-1-1 0 0,0 0 1 0 0,0 0-1 0 0,0-2 1 0 0,-20 2 0 0 0,27-4-159 0 0,-1 0 1 0 0,0 0 0 0 0,0 0-1 0 0,0-1 1 0 0,0 0 0 0 0,1-1 0 0 0,-1 0-1 0 0,0 0 1 0 0,1-1 0 0 0,0 0 0 0 0,-1 0-1 0 0,1 0 1 0 0,0-1 0 0 0,1 0-1 0 0,-1-1 1 0 0,-10-8 0 0 0,14 9-71 0 0,0 0 0 0 0,0 0-1 0 0,0 0 1 0 0,1 0 0 0 0,-1-1 0 0 0,1 1 0 0 0,0-1 0 0 0,0 1 0 0 0,1-1-1 0 0,-1 0 1 0 0,1 0 0 0 0,0 0 0 0 0,0 1 0 0 0,1-1 0 0 0,-1 0-1 0 0,1 0 1 0 0,0 0 0 0 0,1 0 0 0 0,-1 0 0 0 0,1 0 0 0 0,0 0-1 0 0,3-8 1 0 0,1-4-184 0 0,1 0 0 0 0,0 1 0 0 0,1 0 0 0 0,1 1 0 0 0,11-16 0 0 0,13-17-1099 0 0,2 2-1 0 0,76-81 1 0 0,103-60-1644 0 0,-113 107 1801 0 0,-98 78 1072 0 0,6 2-25 0 0,-8 0 77 0 0,0 0-1 0 0,0 0 1 0 0,1 0 0 0 0,-1 0-1 0 0,0 0 1 0 0,1-1 0 0 0,-1 1 0 0 0,0 0-1 0 0,1 0 1 0 0,-1 0 0 0 0,0 0-1 0 0,1 0 1 0 0,-1 0 0 0 0,0 0 0 0 0,0 0-1 0 0,1 1 1 0 0,-1-1 0 0 0,0 0-1 0 0,1 0 1 0 0,-1 0 0 0 0,0 0 0 0 0,1 0-1 0 0,-1 0 1 0 0,0 1 0 0 0,0-1-1 0 0,1 0 1 0 0,-1 0 0 0 0,0 0 0 0 0,0 1-1 0 0,0-1 1 0 0,1 0 0 0 0,-1 1-1 0 0,1 0 21 0 0,0 0-103 0 0,0 0 1 0 0,0-1 0 0 0,-1 1-1 0 0,1 0 1 0 0,0 0 0 0 0,-1 0-1 0 0,1 0 1 0 0,-1 0 0 0 0,1 1-1 0 0,-1-1 1 0 0,1 0 0 0 0,-1 0-1 0 0,1 1 1 0 0,4 10-4810 0 0</inkml:trace>
</inkml:ink>
</file>

<file path=ppt/ink/ink1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0:17.06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72 1716 0 0,'1'-1'135'0'0,"-1"1"-1"0"0,1-1 1 0 0,-1 0 0 0 0,1 0-1 0 0,0 1 1 0 0,0-1 0 0 0,-1 1-1 0 0,1-1 1 0 0,0 1 0 0 0,0-1-1 0 0,-1 1 1 0 0,1-1 0 0 0,0 1-1 0 0,0-1 1 0 0,0 1 0 0 0,0 0-1 0 0,0 0 1 0 0,0-1-1 0 0,0 1 1 0 0,0 0 0 0 0,0 0-1 0 0,-1 0 1 0 0,1 0 0 0 0,0 0-1 0 0,2 1 1 0 0,-1-1-26 0 0,0 1-1 0 0,0 0 1 0 0,-1 0 0 0 0,1 0 0 0 0,0 0-1 0 0,-1 0 1 0 0,1 1 0 0 0,-1-1-1 0 0,1 0 1 0 0,-1 1 0 0 0,3 2-1 0 0,1 3 73 0 0,0 1-1 0 0,0 0 0 0 0,-1 0 0 0 0,4 10 1 0 0,-2-3-45 0 0,-1 1 0 0 0,-1-1 1 0 0,-1 1-1 0 0,0 0 1 0 0,-1 0-1 0 0,-1 1 0 0 0,0-1 1 0 0,-2 18-1 0 0,-2 1 24 0 0,-2 0 0 0 0,-15 56 0 0 0,17-79-86 0 0,1-2 353 0 0,0-1 1 0 0,-1 0-1 0 0,-6 12 1 0 0,8-19 99 0 0,3-6-516 0 0,-1 0-1 0 0,1 0 1 0 0,0-1-1 0 0,1 2 1 0 0,-1-1-1 0 0,1 0 1 0 0,-1 0 0 0 0,1 1-1 0 0,0 0 1 0 0,6-6-1 0 0,0 0-15 0 0,17-19-32 0 0,1 1 0 0 0,1 1 0 0 0,34-23 0 0 0,100-60-293 0 0,0 1 3 0 0,-161 107 323 0 0,-1 1 0 0 0,1 0 0 0 0,0-1-1 0 0,-1 1 1 0 0,1-1 0 0 0,0 1 0 0 0,-1 0 0 0 0,1-1 0 0 0,-1 1 0 0 0,1-1-1 0 0,-1 0 1 0 0,1 1 0 0 0,-1-1 0 0 0,0 1 0 0 0,1-1 0 0 0,-1 0 0 0 0,0 1-1 0 0,1-1 1 0 0,-1 0 0 0 0,0 0 0 0 0,0 1 0 0 0,0-1 0 0 0,1 0 0 0 0,-1-1-1 0 0,-1 2 1 0 0,1-1-1 0 0,-1 1 1 0 0,1-1-1 0 0,-1 1 0 0 0,1-1 1 0 0,-1 1-1 0 0,1 0 1 0 0,-1-1-1 0 0,1 1 0 0 0,-1-1 1 0 0,1 1-1 0 0,-1 0 1 0 0,0 0-1 0 0,1-1 1 0 0,-1 1-1 0 0,0 0 0 0 0,1 0 1 0 0,-1 0-1 0 0,-1 0 1 0 0,-30-1-86 0 0,22 3 75 0 0,1 0 0 0 0,-1 2 0 0 0,1-1 0 0 0,0 1 0 0 0,0 0 0 0 0,-10 6 0 0 0,16-7 18 0 0,-1-1 1 0 0,1 0-1 0 0,-1 1 1 0 0,1 0-1 0 0,0 0 1 0 0,0 0-1 0 0,0 0 1 0 0,0 0-1 0 0,0 0 1 0 0,1 1-1 0 0,-1 0 1 0 0,1-1-1 0 0,0 1 1 0 0,0 0-1 0 0,-2 6 1 0 0,4-8 5 0 0,0-1 1 0 0,-1 1-1 0 0,1-1 0 0 0,0 0 1 0 0,0 1-1 0 0,0-1 0 0 0,0 1 1 0 0,0-1-1 0 0,0 1 0 0 0,0-1 1 0 0,1 1-1 0 0,-1-1 0 0 0,0 0 1 0 0,1 1-1 0 0,-1-1 0 0 0,1 1 1 0 0,0-1-1 0 0,-1 0 0 0 0,1 0 1 0 0,0 1-1 0 0,0-1 0 0 0,0 0 1 0 0,0 0-1 0 0,0 0 0 0 0,0 0 1 0 0,0 0-1 0 0,0 0 1 0 0,0 0-1 0 0,1 0 0 0 0,-1-1 1 0 0,0 1-1 0 0,0 0 0 0 0,1-1 1 0 0,-1 1-1 0 0,0-1 0 0 0,1 1 1 0 0,-1-1-1 0 0,1 0 0 0 0,-1 1 1 0 0,1-1-1 0 0,1 0 0 0 0,5 1 15 0 0,0-1 0 0 0,0 0-1 0 0,0 0 1 0 0,0-1 0 0 0,0 0-1 0 0,13-3 1 0 0,-20 3-37 0 0,1 1 0 0 0,-1-1 0 0 0,0 0 0 0 0,0 1 0 0 0,0-1 0 0 0,0 1 0 0 0,0-1 0 0 0,1 1 0 0 0,-1 0 0 0 0,0 0 0 0 0,0-1 0 0 0,1 1 0 0 0,-1 0 1 0 0,0 0-1 0 0,0 0 0 0 0,1 0 0 0 0,-1 0 0 0 0,0 1 0 0 0,0-1 0 0 0,1 0 0 0 0,-1 0 0 0 0,0 1 0 0 0,0-1 0 0 0,0 1 0 0 0,0-1 0 0 0,2 2 0 0 0,-5 18 92 0 0,0-9 189 0 0,2-6-184 0 0,1-1 0 0 0,0 1 0 0 0,0-1 0 0 0,0 1 0 0 0,0-1 0 0 0,1 0-1 0 0,-1 0 1 0 0,1 1 0 0 0,0-1 0 0 0,0 0 0 0 0,1-1 0 0 0,-1 1 0 0 0,1 0 0 0 0,0-1 0 0 0,0 1 0 0 0,0-1 0 0 0,0 0 0 0 0,1 0 0 0 0,-1 0 0 0 0,1-1 0 0 0,0 1 0 0 0,0-1 0 0 0,0 0 0 0 0,0 0 0 0 0,0 0 0 0 0,9 2 0 0 0,-5-1-47 0 0,0 0-1 0 0,0-1 1 0 0,1-1-1 0 0,-1 1 1 0 0,1-1-1 0 0,0-1 1 0 0,-1 1 0 0 0,1-2-1 0 0,0 1 1 0 0,-1-1-1 0 0,1 0 1 0 0,-1-1 0 0 0,17-5-1 0 0,-15 2-33 0 0,0 0 1 0 0,0-1-1 0 0,0-1 0 0 0,0 1 0 0 0,-1-2 1 0 0,0 1-1 0 0,-1-1 0 0 0,0 0 0 0 0,0-1 0 0 0,-1 0 1 0 0,0 0-1 0 0,0-1 0 0 0,-1 0 0 0 0,8-18 0 0 0,4-13-122 0 0,-2 0 0 0 0,16-65-1 0 0,-27 85 90 0 0,14-55 357 0 0,12-40 809 0 0,-30 114-517 0 0,-2 3-594 0 0,0-1-1 0 0,0 0 1 0 0,0 1 0 0 0,0-1-1 0 0,0 1 1 0 0,0-1-1 0 0,0 1 1 0 0,0 0-1 0 0,0-1 1 0 0,1 1-1 0 0,-1 0 1 0 0,0 0-1 0 0,0-1 1 0 0,1 1-1 0 0,-1 0 1 0 0,0 0-1 0 0,1 0 1 0 0,-1 0 0 0 0,1 0-1 0 0,-1 0 1 0 0,1 0-1 0 0,-1 0 1 0 0,1 2-1 0 0,-9 29 148 0 0,8-27-121 0 0,-15 80 315 0 0,-5 116 1 0 0,9-78-904 0 0,-14 31-3454 0 0,11-84-2897 0 0</inkml:trace>
</inkml:ink>
</file>

<file path=ppt/ink/ink1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0:17.43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458 1244 0 0,'5'-17'669'0'0,"2"0"-1"0"0,-1 1 1 0 0,2 0-1 0 0,0 0 1 0 0,1 1-1 0 0,1 0 1 0 0,0 0-1 0 0,1 1 1 0 0,21-22 0 0 0,-22 27-386 0 0,1-1 1 0 0,-1 1 0 0 0,2 0 0 0 0,-1 1 0 0 0,1 1 0 0 0,0 0 0 0 0,1 0-1 0 0,0 2 1 0 0,0-1 0 0 0,0 1 0 0 0,1 1 0 0 0,24-4 0 0 0,-31 7-170 0 0,-1 0 0 0 0,1 1 0 0 0,-1 0 1 0 0,1 1-1 0 0,-1-1 0 0 0,1 1 0 0 0,-1 0 1 0 0,0 1-1 0 0,1-1 0 0 0,-1 1 0 0 0,0 1 1 0 0,0-1-1 0 0,0 1 0 0 0,-1 0 0 0 0,1 0 0 0 0,-1 1 1 0 0,1 0-1 0 0,-1 0 0 0 0,0 0 0 0 0,6 7 1 0 0,-5-4-62 0 0,0 1 0 0 0,0 0 1 0 0,-1 0-1 0 0,0 1 0 0 0,0-1 1 0 0,-1 1-1 0 0,0 0 0 0 0,-1 0 1 0 0,0 1-1 0 0,0-1 0 0 0,-1 0 1 0 0,0 1-1 0 0,0 10 0 0 0,1 15-670 0 0,-4 57-1 0 0,-1-68-3475 0 0,-8 33-1 0 0</inkml:trace>
  <inkml:trace contextRef="#ctx0" brushRef="#br0" timeOffset="1">526 231 232 0 0,'0'-23'2172'0'0,"0"0"-660"0"0,-2 1-180 0 0,2 2-331 0 0,-4 0-165 0 0,2 1-204 0 0,0 2-80 0 0,2-1-108 0 0,-2 2-72 0 0,0 4-248 0 0,2-1-312 0 0,0-3-1032 0 0,12 5-1933 0 0</inkml:trace>
</inkml:ink>
</file>

<file path=ppt/ink/ink1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0:18.08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 200 268 0 0,'3'8'838'0'0,"0"1"0"0"0,-1-1 0 0 0,0 1 1 0 0,0-1-1 0 0,-1 1 0 0 0,0 0 0 0 0,0 15 0 0 0,-3 1 611 0 0,-6 34 1 0 0,3-36 646 0 0,-1 47 0 0 0,5-82-2026 0 0,1 11-92 0 0,-1 0-1 0 0,1-1 1 0 0,0 1-1 0 0,0 0 1 0 0,0-1-1 0 0,0 1 1 0 0,0-1-1 0 0,0 1 1 0 0,1 0-1 0 0,-1-1 1 0 0,0 1-1 0 0,1 0 1 0 0,-1-1 0 0 0,1 1-1 0 0,0-1 1 0 0,5-8-82 0 0,-1 0 1 0 0,2 1 0 0 0,-1 0-1 0 0,1 0 1 0 0,1 1 0 0 0,0 0-1 0 0,0 0 1 0 0,0 1 0 0 0,1 0-1 0 0,0 0 1 0 0,1 1-1 0 0,17-9 1 0 0,-24 14 88 0 0,1 0-1 0 0,-1 0 1 0 0,1 0-1 0 0,0 1 1 0 0,-1 0-1 0 0,1-1 1 0 0,-1 1-1 0 0,1 0 1 0 0,-1 0-1 0 0,1 1 1 0 0,0-1 0 0 0,-1 1-1 0 0,1 0 1 0 0,-1 0-1 0 0,1 0 1 0 0,-1 0-1 0 0,0 1 1 0 0,0-1-1 0 0,1 1 1 0 0,3 3-1 0 0,8 5 14 0 0,-1 1-1 0 0,25 23 0 0 0,-24-20 1 0 0,-9-9 23 0 0,18 17 102 0 0,37 26 0 0 0,-54-43-88 0 0,1 0 0 0 0,0-1 0 0 0,0 0 0 0 0,0 0 0 0 0,0-1 0 0 0,1 0 0 0 0,-1-1 0 0 0,1 1 0 0 0,15 1 0 0 0,-21-4-28 0 0,1 0 1 0 0,-1-1 0 0 0,0 1 0 0 0,0-1 0 0 0,0 1 0 0 0,0-1 0 0 0,1 0 0 0 0,-1 0 0 0 0,0 0 0 0 0,0-1 0 0 0,-1 1 0 0 0,1-1 0 0 0,0 1 0 0 0,0-1 0 0 0,-1 0-1 0 0,1 0 1 0 0,-1 0 0 0 0,0-1 0 0 0,1 1 0 0 0,2-5 0 0 0,3-3 12 0 0,-1-1-1 0 0,0-1 0 0 0,8-18 1 0 0,-8 17-16 0 0,21-50-33 0 0,-19 40-73 0 0,1 0 0 0 0,17-27 0 0 0,-27 50 86 0 0,1-1 7 0 0,-1 1 1 0 0,0-1-1 0 0,0 1 1 0 0,1-1 0 0 0,-1 1-1 0 0,0-1 1 0 0,1 1-1 0 0,-1-1 1 0 0,1 1-1 0 0,-1-1 1 0 0,1 1-1 0 0,-1-1 1 0 0,1 1-1 0 0,-1 0 1 0 0,1-1-1 0 0,-1 1 1 0 0,1 0-1 0 0,-1-1 1 0 0,1 1-1 0 0,1 0 1 0 0,-2 0 6 0 0,1 0 0 0 0,-1 1 0 0 0,1-1 1 0 0,-1 0-1 0 0,1 1 0 0 0,-1-1 0 0 0,1 1 0 0 0,-1-1 1 0 0,1 1-1 0 0,-1-1 0 0 0,1 1 0 0 0,-1-1 0 0 0,0 1 0 0 0,1-1 1 0 0,-1 1-1 0 0,0-1 0 0 0,0 1 0 0 0,1 0 0 0 0,-1-1 1 0 0,0 1-1 0 0,0 0 0 0 0,0-1 0 0 0,0 1 0 0 0,0 0 1 0 0,0-1-1 0 0,0 1 0 0 0,0-1 0 0 0,0 1 0 0 0,0 0 0 0 0,0-1 1 0 0,0 1-1 0 0,0 0 0 0 0,-1-1 0 0 0,1 1 0 0 0,0-1 1 0 0,-1 2-1 0 0,1-2-3 0 0,-5 32 11 0 0,-1 0 0 0 0,-1-1-1 0 0,-2 0 1 0 0,-1-1-1 0 0,-1 0 1 0 0,-25 46-1 0 0,34-71 10 0 0,-1 0-1 0 0,-1-1 1 0 0,1 1 0 0 0,-1-1-1 0 0,0 1 1 0 0,0-1 0 0 0,0 0-1 0 0,0 0 1 0 0,-1-1 0 0 0,0 1-1 0 0,1-1 1 0 0,-1 0 0 0 0,-1 0-1 0 0,1-1 1 0 0,0 0 0 0 0,0 0 0 0 0,-8 2-1 0 0,12-4-8 0 0,0 1 0 0 0,0-1-1 0 0,-1 0 1 0 0,1 0 0 0 0,0 0-1 0 0,-1 0 1 0 0,1 0 0 0 0,0 0 0 0 0,0 0-1 0 0,-1 0 1 0 0,1-1 0 0 0,0 1-1 0 0,0 0 1 0 0,-1-1 0 0 0,1 1 0 0 0,0-1-1 0 0,0 0 1 0 0,0 1 0 0 0,0-1-1 0 0,0 0 1 0 0,0 1 0 0 0,0-1-1 0 0,0 0 1 0 0,0 0 0 0 0,0 0 0 0 0,0 0-1 0 0,0 0 1 0 0,1 0 0 0 0,-1 0-1 0 0,0 0 1 0 0,1 0 0 0 0,-1-1 0 0 0,1 1-1 0 0,-1 0 1 0 0,1 0 0 0 0,0-1-1 0 0,-1 1 1 0 0,1 0 0 0 0,0 0 0 0 0,0-1-1 0 0,0 1 1 0 0,0-2 0 0 0,0-4 4 0 0,0 0 0 0 0,0 1 0 0 0,1-1 0 0 0,0 0 0 0 0,0 1 0 0 0,3-9 0 0 0,12-28-216 0 0,3 1 0 0 0,39-69 1 0 0,4-4-29 0 0,-46 84 180 0 0,-9 18 5 0 0,0-1-1 0 0,-1 0 1 0 0,-1 0 0 0 0,0 0 0 0 0,4-20-1 0 0,-8 32 44 0 0,-1 1 1 0 0,0-1-1 0 0,0 0 0 0 0,0 1 0 0 0,0-1 0 0 0,0 0 0 0 0,0 1 0 0 0,-1-1 0 0 0,1 0 0 0 0,-1 1 0 0 0,1-1 0 0 0,-1 1 0 0 0,1-1 0 0 0,-1 1 0 0 0,0-1 0 0 0,0 1 0 0 0,1-1 0 0 0,-1 1 0 0 0,0 0 0 0 0,-1-1 0 0 0,1 1 0 0 0,0 0 0 0 0,0 0 1 0 0,0 0-1 0 0,-1 0 0 0 0,1 0 0 0 0,0 0 0 0 0,-1 0 0 0 0,1 0 0 0 0,-1 1 0 0 0,1-1 0 0 0,-1 1 0 0 0,0-1 0 0 0,1 1 0 0 0,-1-1 0 0 0,-2 1 0 0 0,0-1 2 0 0,0 1-1 0 0,0-1 0 0 0,0 1 1 0 0,0 0-1 0 0,0 0 1 0 0,0 0-1 0 0,1 1 1 0 0,-1 0-1 0 0,0 0 1 0 0,0 0-1 0 0,0 0 0 0 0,1 0 1 0 0,-1 1-1 0 0,-5 2 1 0 0,5 0 19 0 0,-1-1 1 0 0,1 1-1 0 0,0 0 1 0 0,1 1 0 0 0,-1-1-1 0 0,1 1 1 0 0,0 0-1 0 0,0-1 1 0 0,0 1-1 0 0,1 0 1 0 0,0 1 0 0 0,0-1-1 0 0,0 0 1 0 0,0 1-1 0 0,1-1 1 0 0,0 1-1 0 0,0-1 1 0 0,0 1 0 0 0,1 0-1 0 0,0 6 1 0 0,0 4-416 0 0,1 0 0 0 0,3 19 0 0 0,9 25-4451 0 0,-7-42 1489 0 0</inkml:trace>
</inkml:ink>
</file>

<file path=ppt/ink/ink1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0:2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8 62 1116 0 0,'-1'-2'1042'0'0,"-4"-4"-30"0"0,4 4-823 0 0,-1 0 1 0 0,1 0-1 0 0,0 1 0 0 0,0-1 0 0 0,0 0 1 0 0,0 0-1 0 0,0 0 0 0 0,0 0 0 0 0,-1-4 1 0 0,2 5-162 0 0,0 0 0 0 0,1 0 0 0 0,-1 0 1 0 0,0 1-1 0 0,0-1 0 0 0,1 0 1 0 0,-1 0-1 0 0,1 0 0 0 0,-1 1 1 0 0,1-1-1 0 0,-1 0 0 0 0,1 0 1 0 0,-1 1-1 0 0,1-1 0 0 0,-1 0 1 0 0,1 1-1 0 0,0-1 0 0 0,-1 1 1 0 0,1-1-1 0 0,0 1 0 0 0,0-1 0 0 0,-1 1 1 0 0,1 0-1 0 0,0-1 0 0 0,0 1 1 0 0,0 0-1 0 0,0-1 0 0 0,-1 1 1 0 0,1 0-1 0 0,0 0 0 0 0,0 0 1 0 0,0 0-1 0 0,1 0 0 0 0,32-6 128 0 0,0 2 0 0 0,0 2 0 0 0,45 1 1 0 0,111 16-83 0 0,-98-7 31 0 0,949 35-2 0 0,-455-59 136 0 0,-19 1-198 0 0,420-8 108 0 0,931 26-44 0 0,-1024 12-5 0 0,-308-2 11 0 0,374 3-1688 0 0,-480-33 1320 0 0,78 0 167 0 0,635 58 186 0 0,-795-24-206 0 0,1215 13 130 0 0,-941-23 3 0 0,504 18 34 0 0,-210-3-27 0 0,295 7 78 0 0,-843-16 268 0 0,152 2-273 0 0,-259-24 770 0 0,-91 1 554 0 0,-217 7-1416 0 0,1 1 27 0 0,11-1-32 0 0,-12 1 14 0 0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2:20.99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48 392 0 0,'0'0'1150'0'0,"0"-13"2020"0"0,0 8-2424 0 0,2-21 3040 0 0,-2 25-3766 0 0,-1 1-1 0 0,1 0 1 0 0,0 0-1 0 0,0 0 0 0 0,0 0 1 0 0,0 0-1 0 0,0 0 1 0 0,0 0-1 0 0,0 0 1 0 0,0 0-1 0 0,0-1 1 0 0,1 1-1 0 0,-1 0 1 0 0,0 0-1 0 0,0 0 1 0 0,0 0-1 0 0,0 0 0 0 0,0 0 1 0 0,0 0-1 0 0,0 0 1 0 0,0 0-1 0 0,0 0 1 0 0,0 0-1 0 0,0-1 1 0 0,0 1-1 0 0,0 0 1 0 0,0 0-1 0 0,0 0 0 0 0,0 0 1 0 0,0 0-1 0 0,1 0 1 0 0,-1 0-1 0 0,0 0 1 0 0,0 0-1 0 0,0 0 1 0 0,0 0-1 0 0,0 0 1 0 0,0 0-1 0 0,0 0 1 0 0,0 0-1 0 0,0 0 0 0 0,1 0 1 0 0,-1 0-1 0 0,0 0 1 0 0,0 0-1 0 0,0 0 1 0 0,0 0-1 0 0,0 0 1 0 0,0 0-1 0 0,0 0 1 0 0,0 0-1 0 0,0 0 0 0 0,1 0 1 0 0,-1 0-1 0 0,0 0 1 0 0,0 0-1 0 0,0 0 1 0 0,0 0-1 0 0,0 0 1 0 0,0 1-1 0 0,7 13 308 0 0,-2 4 65 0 0,-1 0 1 0 0,0 1-1 0 0,-2-1 1 0 0,0 1-1 0 0,-1 29 1 0 0,0-15-40 0 0,-6 208 931 0 0,-1-60-3236 0 0,4-162 439 0 0,0-5-4157 0 0</inkml:trace>
</inkml:ink>
</file>

<file path=ppt/ink/ink1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0:24.76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1 101 32 0 0,'-12'-101'10145'0'0,"12"104"-9602"0"0,-3 9-15 0 0,1 1 0 0 0,0 0 0 0 0,1 0 0 0 0,1 0 0 0 0,1 19 0 0 0,12 71 272 0 0,-9-76-599 0 0,15 121 403 0 0,12 71-1768 0 0,-31-218 1025 0 0,1 0 1 0 0,-1 0 0 0 0,0 0 0 0 0,0 0 0 0 0,0 1-1 0 0,1-1 1 0 0,-1 0 0 0 0,1 0 0 0 0,-1 0 0 0 0,1 0-1 0 0,-1 0 1 0 0,1 0 0 0 0,0 0 0 0 0,-1 0 0 0 0,1 0 0 0 0,0-1-1 0 0,0 1 1 0 0,1 1 0 0 0,-2-2 26 0 0,1 0 0 0 0,0 1 0 0 0,-1-1 0 0 0,1 0 0 0 0,0 0 1 0 0,0 0-1 0 0,-1 0 0 0 0,1 0 0 0 0,0 0 0 0 0,0 0 0 0 0,-1 0 0 0 0,1 0 0 0 0,0 0 0 0 0,0 0 1 0 0,-1 0-1 0 0,1-1 0 0 0,0 1 0 0 0,-1 0 0 0 0,1 0 0 0 0,1-1 0 0 0,1-2-372 0 0,0 1-1 0 0,1 0 1 0 0,-1-1 0 0 0,0 1-1 0 0,-1-1 1 0 0,1 0 0 0 0,0 0-1 0 0,3-6 1 0 0,7-11-2106 0 0</inkml:trace>
</inkml:ink>
</file>

<file path=ppt/ink/ink1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0:25.09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76 416 0 0,'6'-12'1082'0'0,"0"1"0"0"0,0 0 0 0 0,1 1 0 0 0,0 0 1 0 0,11-12 958 0 0,-13 27-1393 0 0,-4-5-596 0 0,0 1 0 0 0,0-1 1 0 0,-1 1-1 0 0,1-1 0 0 0,0 1 0 0 0,0 0 1 0 0,-1-1-1 0 0,1 1 0 0 0,0 0 0 0 0,-1 0 0 0 0,1-1 1 0 0,-1 1-1 0 0,1 0 0 0 0,-1 0 0 0 0,1 0 1 0 0,-1 0-1 0 0,1 2 0 0 0,4 16 290 0 0,0-1 0 0 0,1 1 0 0 0,1-1 0 0 0,1 0 0 0 0,0 0 0 0 0,2-1-1 0 0,0 0 1 0 0,0-1 0 0 0,21 23 0 0 0,-30-38-346 0 0,0 1-1 0 0,0-1 1 0 0,1 0 0 0 0,-1 0-1 0 0,0 0 1 0 0,1 0-1 0 0,-1 0 1 0 0,1 0-1 0 0,0-1 1 0 0,-1 1 0 0 0,1 0-1 0 0,0-1 1 0 0,-1 1-1 0 0,1-1 1 0 0,0 0 0 0 0,-1 1-1 0 0,1-1 1 0 0,0 0-1 0 0,0 0 1 0 0,-1 0-1 0 0,1 0 1 0 0,0-1 0 0 0,0 1-1 0 0,-1 0 1 0 0,1-1-1 0 0,0 1 1 0 0,-1-1 0 0 0,1 1-1 0 0,0-1 1 0 0,-1 0-1 0 0,1 0 1 0 0,-1 0-1 0 0,2-1 1 0 0,5-4-207 0 0,0-1 1 0 0,0 1-1 0 0,-1-1 0 0 0,10-14 0 0 0,-1 4 188 0 0,-7 5 173 0 0,5-5-150 0 0,-14 17 8 0 0,0 0 1 0 0,0 0 0 0 0,1 0-1 0 0,-1-1 1 0 0,0 1-1 0 0,0 0 1 0 0,0 0-1 0 0,0 0 1 0 0,1 0-1 0 0,-1-1 1 0 0,0 1-1 0 0,0 0 1 0 0,0 0 0 0 0,1 0-1 0 0,-1 0 1 0 0,0 0-1 0 0,0 0 1 0 0,1-1-1 0 0,-1 1 1 0 0,0 0-1 0 0,0 0 1 0 0,1 0 0 0 0,-1 0-1 0 0,0 0 1 0 0,0 0-1 0 0,1 0 1 0 0,-1 0-1 0 0,0 0 1 0 0,0 0-1 0 0,1 0 1 0 0,-1 0-1 0 0,0 0 1 0 0,0 1 0 0 0,1-1-1 0 0,-1 0 1 0 0,0 0-1 0 0,0 0 1 0 0,0 0-1 0 0,1 0 1 0 0,-1 0-1 0 0,0 1 1 0 0,0-1 0 0 0,0 0-1 0 0,1 0 1 0 0,-1 0-1 0 0,0 0 1 0 0,0 1-1 0 0,0-1 1 0 0,0 0-1 0 0,0 0 1 0 0,1 1-1 0 0,-1 2 48 0 0,0 0-1 0 0,0 0 0 0 0,0 1 0 0 0,0-1 1 0 0,-1 0-1 0 0,1 0 0 0 0,-1 1 0 0 0,1-1 1 0 0,-1 0-1 0 0,-2 4 0 0 0,0 4 42 0 0,-8 36-438 0 0,3 1-1 0 0,-4 71 0 0 0,12-115-200 0 0,0 1 0 0 0,0-1 0 0 0,1 0-1 0 0,-1 1 1 0 0,1-1 0 0 0,0 0-1 0 0,0 0 1 0 0,0 1 0 0 0,1-1 0 0 0,2 5-1 0 0</inkml:trace>
</inkml:ink>
</file>

<file path=ppt/ink/ink1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0:25.71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86 4 1840 0 0,'4'-1'1513'0'0,"12"-2"4132"0"0,-20 8-5358 0 0,1 0-1 0 0,0-1 0 0 0,-1 1 1 0 0,0-1-1 0 0,0 0 1 0 0,0 0-1 0 0,-1-1 0 0 0,0 1 1 0 0,1-1-1 0 0,-10 5 1 0 0,-14 12 275 0 0,-139 133 1058 0 0,129-114-2768 0 0,2 1 1 0 0,-36 53-1 0 0,64-80-449 0 0,5-2-2797 0 0</inkml:trace>
  <inkml:trace contextRef="#ctx0" brushRef="#br0" timeOffset="1">482 189 596 0 0,'44'-14'3087'0'0,"65"-13"0"0"0,-88 24-2380 0 0,-1 0 0 0 0,1 1 0 0 0,0 1 0 0 0,0 1 0 0 0,28 4 0 0 0,-47-4-676 0 0,-1 1 0 0 0,0-1 0 0 0,0 0 0 0 0,1 0 0 0 0,-1 1 0 0 0,0-1 0 0 0,0 0 0 0 0,1 1 0 0 0,-1-1 0 0 0,0 1 0 0 0,0 0 0 0 0,0-1 0 0 0,0 1 0 0 0,0 0 0 0 0,0 0 0 0 0,0-1 0 0 0,0 1 0 0 0,0 0 0 0 0,0 0 0 0 0,0 0 0 0 0,-1 0 0 0 0,1 0 0 0 0,0 1 0 0 0,-1-1 0 0 0,1 0 0 0 0,0 0 0 0 0,-1 0 0 0 0,0 1 0 0 0,1-1 0 0 0,-1 0 0 0 0,0 0 0 0 0,0 1 0 0 0,1-1 0 0 0,-1 0 0 0 0,0 1 0 0 0,0-1 0 0 0,-1 0 0 0 0,1 0 0 0 0,0 1 0 0 0,0-1 0 0 0,0 0 0 0 0,-1 0 0 0 0,1 1 0 0 0,-1-1 0 0 0,1 0 0 0 0,-1 0 0 0 0,-1 2 0 0 0,-19 38 266 0 0,20-40-290 0 0,1 1 1 0 0,-1 0-1 0 0,0 0 0 0 0,1 0 1 0 0,-1 0-1 0 0,1 0 0 0 0,0-1 0 0 0,0 1 1 0 0,0 0-1 0 0,0 0 0 0 0,0 0 0 0 0,0 0 1 0 0,0 0-1 0 0,0 0 0 0 0,2 3 0 0 0,9 28 5 0 0,-3-18 22 0 0,0-1 0 0 0,18 24 0 0 0,-17-27-28 0 0,-1 1 0 0 0,0 1 0 0 0,-1-1 1 0 0,7 17-1 0 0,-14-28-3 0 0,1 1 1 0 0,-1-1-1 0 0,1 0 1 0 0,-1 1-1 0 0,0-1 0 0 0,1 1 1 0 0,-1-1-1 0 0,0 1 1 0 0,0-1-1 0 0,0 1 0 0 0,0-1 1 0 0,0 1-1 0 0,0-1 1 0 0,-1 0-1 0 0,1 1 1 0 0,0-1-1 0 0,-1 1 0 0 0,1-1 1 0 0,-1 0-1 0 0,0 1 1 0 0,1-1-1 0 0,-1 0 0 0 0,-1 2 1 0 0,0-1 11 0 0,0 0 0 0 0,0-1-1 0 0,0 1 1 0 0,0 0 0 0 0,0-1 0 0 0,0 0 0 0 0,-1 1 0 0 0,1-1 0 0 0,-1 0 0 0 0,1 0-1 0 0,-6 1 1 0 0,-3 0 48 0 0,-1 0 0 0 0,0-1 0 0 0,0 0 0 0 0,-19-1 0 0 0,12-1-44 0 0,-1-1 1 0 0,-29-8-1 0 0,-6-8-3684 0 0,43 11 464 0 0,1-3-1220 0 0</inkml:trace>
</inkml:ink>
</file>

<file path=ppt/ink/ink1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0:26.15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8 2 1148 0 0,'-18'-1'4489'0'0,"32"4"-3561"0"0,-2 1-272 0 0,4-1-52 0 0,6 5-164 0 0,0-3-72 0 0,4 2-108 0 0,-2 2-416 0 0,2-2-288 0 0,0 2-576 0 0,-2 0-1253 0 0,0-1-323 0 0</inkml:trace>
</inkml:ink>
</file>

<file path=ppt/ink/ink1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0:26.51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93 1908 0 0,'4'-10'1137'0'0,"0"0"0"0"0,0 1 0 0 0,1-1 1 0 0,0 1-1 0 0,1 0 0 0 0,0 1 0 0 0,7-9 0 0 0,-12 16-801 0 0,1 3-49 0 0,0 1-140 0 0,0 1 0 0 0,0 0 0 0 0,0 0 0 0 0,-1 0-1 0 0,1 1 1 0 0,-1-1 0 0 0,0 0 0 0 0,1 8 0 0 0,2 43 692 0 0,-3-26-249 0 0,2 6-95 0 0,2 7 47 0 0,-3 0 1 0 0,-4 63 0 0 0,2-104-526 0 0,0 0 1 0 0,0-1 0 0 0,0 1 0 0 0,0 0 0 0 0,0-1 0 0 0,0 1 0 0 0,0-1 0 0 0,0 1-1 0 0,0 0 1 0 0,0-1 0 0 0,0 1 0 0 0,-1-1 0 0 0,1 1 0 0 0,0 0 0 0 0,0-1 0 0 0,-1 1-1 0 0,1-1 1 0 0,0 1 0 0 0,-1-1 0 0 0,1 1 0 0 0,-1-1 0 0 0,1 1 0 0 0,-1-1 0 0 0,1 0-1 0 0,0 1 1 0 0,-1-1 0 0 0,0 1 0 0 0,1-1 0 0 0,-1 0 0 0 0,1 0 0 0 0,-1 1 0 0 0,1-1-1 0 0,-1 0 1 0 0,0 0 0 0 0,1 0 0 0 0,-1 0 0 0 0,1 1 0 0 0,-1-1 0 0 0,0 0 0 0 0,1 0 0 0 0,-1 0-1 0 0,1 0 1 0 0,-1 0 0 0 0,-1-1 0 0 0,1 1-8 0 0,-1-1 1 0 0,1 0-1 0 0,0 0 0 0 0,0 0 1 0 0,-1 1-1 0 0,1-1 0 0 0,0 0 1 0 0,0 0-1 0 0,0-1 0 0 0,0 1 0 0 0,0 0 1 0 0,0 0-1 0 0,0 0 0 0 0,1-1 1 0 0,-1 1-1 0 0,0 0 0 0 0,1-1 1 0 0,-1 1-1 0 0,0-2 0 0 0,0-6-45 0 0,-1 0 0 0 0,1 0 0 0 0,1 0 0 0 0,0 0 0 0 0,0 0 0 0 0,0 0 0 0 0,1 0 0 0 0,3-12 0 0 0,22-70-237 0 0,-13 53 200 0 0,1 1 0 0 0,1 1 0 0 0,3 1 0 0 0,0 0 0 0 0,3 1 0 0 0,0 1 0 0 0,46-51 0 0 0,-63 79 54 0 0,2 0 0 0 0,-1 1 0 0 0,0 0-1 0 0,1 0 1 0 0,0 0 0 0 0,0 1 0 0 0,0 0-1 0 0,0 0 1 0 0,8-2 0 0 0,-13 4 15 0 0,1 1 1 0 0,-1 0 0 0 0,1 0-1 0 0,-1-1 1 0 0,1 1 0 0 0,-1 0-1 0 0,1 0 1 0 0,0 0 0 0 0,-1 0-1 0 0,1 1 1 0 0,-1-1 0 0 0,1 0-1 0 0,-1 1 1 0 0,1-1 0 0 0,2 2-1 0 0,0 0-2 0 0,1-1 1 0 0,-1 1-1 0 0,1 0 0 0 0,-1 0 1 0 0,0 0-1 0 0,0 1 1 0 0,0 0-1 0 0,0-1 0 0 0,0 1 1 0 0,-1 1-1 0 0,1-1 1 0 0,-1 0-1 0 0,0 1 1 0 0,3 4-1 0 0,4 5 9 0 0,-2 1 0 0 0,10 19 0 0 0,-18-32-3 0 0,12 25 8 0 0,-1-1-1 0 0,-1 1 0 0 0,-2 1 0 0 0,0 0 0 0 0,6 49 0 0 0,-12-57-455 0 0,-1 0 0 0 0,-1 0 0 0 0,-3 33 0 0 0,1-39-299 0 0,0 0 1 0 0,-1-1 0 0 0,-1 1-1 0 0,0-1 1 0 0,0 0 0 0 0,-8 14-1 0 0,0-8-2171 0 0,-2-1-878 0 0</inkml:trace>
</inkml:ink>
</file>

<file path=ppt/ink/ink1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0:26.86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6 251 108 0 0,'-5'-5'809'0'0,"1"-1"-1"0"0,-1-1 1 0 0,1 1 0 0 0,1 0-1 0 0,-1-1 1 0 0,-4-12 0 0 0,8 17-723 0 0,-1 0 1 0 0,1 0 0 0 0,-1 0-1 0 0,1 0 1 0 0,0 0 0 0 0,0 0 0 0 0,0 0-1 0 0,0 0 1 0 0,0 0 0 0 0,0 0-1 0 0,1 0 1 0 0,-1 0 0 0 0,1 0-1 0 0,-1 0 1 0 0,1 0 0 0 0,0 0-1 0 0,0 0 1 0 0,0 1 0 0 0,0-1 0 0 0,0 0-1 0 0,0 0 1 0 0,0 1 0 0 0,1-1-1 0 0,-1 1 1 0 0,1-1 0 0 0,-1 1-1 0 0,1 0 1 0 0,-1-1 0 0 0,4 0-1 0 0,3-3-2 0 0,0 0 0 0 0,1 1 0 0 0,0 0 0 0 0,0 0 0 0 0,0 1 0 0 0,1 0 0 0 0,15-2 0 0 0,74-5 178 0 0,-57 8-199 0 0,42-7 731 0 0,139-30-1 0 0,-220 38-757 0 0,1 0 1 0 0,-1 1-1 0 0,1-1 0 0 0,0 1 1 0 0,-1 0-1 0 0,1 0 0 0 0,-1 1 0 0 0,1-1 1 0 0,-1 1-1 0 0,1-1 0 0 0,-1 1 1 0 0,1 0-1 0 0,-1 0 0 0 0,1 1 1 0 0,-1-1-1 0 0,0 1 0 0 0,0 0 0 0 0,0 0 1 0 0,0 0-1 0 0,0 0 0 0 0,0 0 1 0 0,0 0-1 0 0,-1 1 0 0 0,1 0 1 0 0,1 2-1 0 0,6 9 109 0 0,0-1-1 0 0,-1 1 1 0 0,-1 1 0 0 0,8 18-1 0 0,-2-5-55 0 0,46 76 2600 0 0,-60-104-2599 0 0,1 1-1 0 0,-1 0 1 0 0,1-1-1 0 0,-1 1 1 0 0,1-1-1 0 0,0 1 1 0 0,0-1-1 0 0,-1 1 1 0 0,1-1-1 0 0,0 0 1 0 0,0 1-1 0 0,-1-1 1 0 0,1 0 0 0 0,0 0-1 0 0,0 1 1 0 0,0-1-1 0 0,-1 0 1 0 0,1 0-1 0 0,0 0 1 0 0,0 0-1 0 0,0 0 1 0 0,0 0-1 0 0,0 0 1 0 0,-1 0-1 0 0,3-1 1 0 0,17-7 517 0 0,-15 5-530 0 0,0-1-1 0 0,-1 0 1 0 0,1 0 0 0 0,-1 0 0 0 0,0 0-1 0 0,0-1 1 0 0,0 1 0 0 0,-1-1-1 0 0,4-7 1 0 0,24-50 168 0 0,-27 53-200 0 0,8-23-471 0 0,-1 1 0 0 0,-2-1-1 0 0,7-41 1 0 0,-15 66-580 0 0,23 7-9210 0 0,-11 7 8286 0 0,1-1-199 0 0</inkml:trace>
</inkml:ink>
</file>

<file path=ppt/ink/ink1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0:27.25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65 123 20 0 0,'4'-3'389'0'0,"0"0"1"0"0,0 0-1 0 0,-1-1 1 0 0,1 1-1 0 0,-1-1 1 0 0,0 0-1 0 0,0 0 1 0 0,0 0-1 0 0,-1-1 0 0 0,1 1 1 0 0,-1-1-1 0 0,2-4 1 0 0,-4 7-299 0 0,0 0 1 0 0,1 0-1 0 0,-1 0 1 0 0,0 0 0 0 0,0 0-1 0 0,0 0 1 0 0,0 0-1 0 0,0 0 1 0 0,-1 0 0 0 0,1 0-1 0 0,0 0 1 0 0,-1 0-1 0 0,0 1 1 0 0,1-1-1 0 0,-1 0 1 0 0,0 0 0 0 0,0 0-1 0 0,0 1 1 0 0,0-1-1 0 0,0 1 1 0 0,0-1 0 0 0,-1 1-1 0 0,1-1 1 0 0,-1 1-1 0 0,1-1 1 0 0,-1 1-1 0 0,1 0 1 0 0,-1 0 0 0 0,1 0-1 0 0,-1 0 1 0 0,0 0-1 0 0,0 0 1 0 0,0 1 0 0 0,-2-2-1 0 0,-3 0 69 0 0,0 0 0 0 0,0 0 0 0 0,-1 0 0 0 0,1 1 0 0 0,-1 0 0 0 0,0 0 0 0 0,1 1 0 0 0,-1 0 0 0 0,0 0 0 0 0,1 1 0 0 0,-1 0 0 0 0,1 0 0 0 0,-12 4 0 0 0,6-1 5 0 0,0 1 0 0 0,1 0 0 0 0,0 0-1 0 0,0 1 1 0 0,0 1 0 0 0,-20 15 0 0 0,27-18-96 0 0,0 1 1 0 0,0-1-1 0 0,1 1 1 0 0,0 1-1 0 0,0-1 0 0 0,0 1 1 0 0,1-1-1 0 0,0 1 1 0 0,0 0-1 0 0,-4 11 1 0 0,6-15-56 0 0,1 0 0 0 0,-1 0 0 0 0,0 0 1 0 0,1 0-1 0 0,-1 1 0 0 0,1-1 0 0 0,0 0 1 0 0,0 0-1 0 0,0 0 0 0 0,0 1 0 0 0,0-1 0 0 0,0 0 1 0 0,1 0-1 0 0,-1 0 0 0 0,1 1 0 0 0,-1-1 1 0 0,1 0-1 0 0,0 0 0 0 0,0 0 0 0 0,0 0 0 0 0,0 0 1 0 0,0 0-1 0 0,0-1 0 0 0,1 1 0 0 0,-1 0 1 0 0,1 0-1 0 0,-1-1 0 0 0,1 1 0 0 0,-1-1 1 0 0,1 0-1 0 0,0 1 0 0 0,0-1 0 0 0,0 0 0 0 0,0 0 1 0 0,3 1-1 0 0,1 0 14 0 0,0 0 0 0 0,0 0 0 0 0,1-1-1 0 0,-1 0 1 0 0,1-1 0 0 0,0 1 0 0 0,-1-1 0 0 0,1 0 0 0 0,8-2 0 0 0,63-14 43 0 0,-59 12-76 0 0,-12 2-16 0 0,0 0 0 0 0,1 1 0 0 0,0 0 0 0 0,-1 0 0 0 0,1 1 0 0 0,0 0 0 0 0,15 2 1 0 0,-19-1 14 0 0,0 0 1 0 0,-1 1-1 0 0,1-1 1 0 0,0 1-1 0 0,0-1 1 0 0,-1 1 0 0 0,1 0-1 0 0,-1 1 1 0 0,0-1-1 0 0,0 1 1 0 0,0-1-1 0 0,0 1 1 0 0,0 0 0 0 0,0 0-1 0 0,0 0 1 0 0,-1 0-1 0 0,2 4 1 0 0,2 4 111 0 0,-1-1 1 0 0,0 1-1 0 0,0 0 0 0 0,-2 0 1 0 0,1 0-1 0 0,-1 0 0 0 0,-1 1 1 0 0,0 0-1 0 0,-1-1 0 0 0,0 1 1 0 0,-1 20-1 0 0,-1-16 5 0 0,-1-1 0 0 0,0 0 0 0 0,-1 1-1 0 0,-1-1 1 0 0,0 0 0 0 0,-1-1 0 0 0,0 1 0 0 0,-11 18-1 0 0,10-23 55 0 0,-1-1 0 0 0,0 1-1 0 0,-1-1 1 0 0,0-1-1 0 0,0 0 1 0 0,-1 0-1 0 0,0 0 1 0 0,0-1-1 0 0,-1-1 1 0 0,0 1-1 0 0,0-2 1 0 0,-1 1 0 0 0,-19 6-1 0 0,23-9-48 0 0,-1-1-1 0 0,1 0 0 0 0,0-1 1 0 0,-1 0-1 0 0,1 0 1 0 0,-1 0-1 0 0,0-1 0 0 0,1 0 1 0 0,-1-1-1 0 0,-7-1 0 0 0,10 1-68 0 0,0 0-1 0 0,0-1 1 0 0,0 0-1 0 0,0 0 0 0 0,0 0 1 0 0,0-1-1 0 0,1 0 0 0 0,-1 1 1 0 0,1-2-1 0 0,0 1 1 0 0,-1 0-1 0 0,2-1 0 0 0,-1 0 1 0 0,0 0-1 0 0,-3-5 0 0 0,4 5-117 0 0,0-1-1 0 0,1 0 1 0 0,0 1-1 0 0,-1-1 1 0 0,2 0-1 0 0,-1 0 0 0 0,1 0 1 0 0,-1-1-1 0 0,1 1 1 0 0,1 0-1 0 0,-1 0 0 0 0,1-1 1 0 0,0 1-1 0 0,0 0 1 0 0,1 0-1 0 0,-1-1 1 0 0,1 1-1 0 0,0 0 0 0 0,1 0 1 0 0,-1 0-1 0 0,1 0 1 0 0,0 0-1 0 0,0 0 0 0 0,4-6 1 0 0,2-2-849 0 0,0-1 1 0 0,1 1-1 0 0,0 1 0 0 0,1-1 1 0 0,0 2-1 0 0,1-1 0 0 0,14-9 1 0 0,5-3-2498 0 0,2 0-1242 0 0</inkml:trace>
</inkml:ink>
</file>

<file path=ppt/ink/ink1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0:27.58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852 0 0,'26'2'3992'0'0,"-8"-2"641"0"0,8 0-1833 0 0,-8 0-1312 0 0,2 0-1748 0 0,0 5-2360 0 0</inkml:trace>
</inkml:ink>
</file>

<file path=ppt/ink/ink1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0:28.36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479 956 0 0,'3'-7'734'0'0,"1"-1"0"0"0,-1 1 0 0 0,2-1-1 0 0,-1 1 1 0 0,1 0 0 0 0,0 1 0 0 0,0-1 0 0 0,1 1 0 0 0,-1 0-1 0 0,12-8 1 0 0,-14 13-689 0 0,-1 0 1 0 0,0 0-1 0 0,0 1 0 0 0,0-1 0 0 0,0 1 0 0 0,1 0 1 0 0,-1 0-1 0 0,0 0 0 0 0,0 0 0 0 0,1 0 0 0 0,-1 0 1 0 0,0 1-1 0 0,0-1 0 0 0,0 1 0 0 0,1-1 0 0 0,-1 1 1 0 0,0 0-1 0 0,0 0 0 0 0,0 0 0 0 0,0 0 1 0 0,0 0-1 0 0,2 2 0 0 0,2 1 6 0 0,-1 0 0 0 0,0 0 0 0 0,0 1 0 0 0,0 0-1 0 0,0 0 1 0 0,4 6 0 0 0,-5-6 8 0 0,0 1 0 0 0,0 1 0 0 0,-1-1-1 0 0,0 1 1 0 0,0-1 0 0 0,0 1-1 0 0,-1 0 1 0 0,0 0 0 0 0,0 0 0 0 0,-1 0-1 0 0,0 0 1 0 0,0 0 0 0 0,-1 1 0 0 0,0-1-1 0 0,0 0 1 0 0,0 0 0 0 0,-1 1 0 0 0,0-1-1 0 0,-1 0 1 0 0,0 0 0 0 0,0 0 0 0 0,0 0-1 0 0,-1-1 1 0 0,0 1 0 0 0,0-1 0 0 0,-1 1-1 0 0,1-1 1 0 0,-2 0 0 0 0,1 0 0 0 0,0-1-1 0 0,-1 1 1 0 0,0-1 0 0 0,-1 0 0 0 0,1 0-1 0 0,-1-1 1 0 0,0 0 0 0 0,-11 7-1 0 0,14-9 14 0 0,-1 0 0 0 0,1 0 0 0 0,-1 0 0 0 0,0 0 0 0 0,1 0 0 0 0,-1-1 0 0 0,0 1 0 0 0,0-1 0 0 0,0 0 0 0 0,0-1 0 0 0,0 1 0 0 0,-1-1 0 0 0,1 0 0 0 0,0 0 0 0 0,0 0-1 0 0,0 0 1 0 0,0-1 0 0 0,-7-1 0 0 0,10 2-64 0 0,1 0 0 0 0,-1 0-1 0 0,0-1 1 0 0,1 1 0 0 0,-1-1 0 0 0,1 1-1 0 0,-1 0 1 0 0,1-1 0 0 0,-1 1 0 0 0,0-1-1 0 0,1 1 1 0 0,-1-1 0 0 0,1 1-1 0 0,0-1 1 0 0,-1 0 0 0 0,1 1 0 0 0,0-1-1 0 0,-1 1 1 0 0,1-1 0 0 0,0 0 0 0 0,-1 1-1 0 0,1-1 1 0 0,0 0 0 0 0,0 0-1 0 0,0 1 1 0 0,0-1 0 0 0,0 0 0 0 0,0 1-1 0 0,0-1 1 0 0,0-1 0 0 0,0 0-4 0 0,0 1 0 0 0,0-1 0 0 0,1 1 1 0 0,-1-1-1 0 0,1 1 0 0 0,-1-1 0 0 0,1 1 0 0 0,-1-1 1 0 0,1 1-1 0 0,0-1 0 0 0,1-1 0 0 0,5-4-8 0 0,1 0-1 0 0,0 1 1 0 0,0 0 0 0 0,0 0-1 0 0,0 0 1 0 0,15-6-1 0 0,61-21-191 0 0,-50 20 95 0 0,111-37-344 0 0,-82 31 288 0 0,-1-3 0 0 0,79-41 0 0 0,-128 56 140 0 0,-10 6 3 0 0,0 0 0 0 0,0-1-1 0 0,0 1 1 0 0,0-1 0 0 0,0 0-1 0 0,0 1 1 0 0,-1-1 0 0 0,1-1-1 0 0,-1 1 1 0 0,1 0 0 0 0,-1-1-1 0 0,0 1 1 0 0,0-1 0 0 0,3-5-1 0 0,-5 7 12 0 0,0 1 0 0 0,-1-1 0 0 0,0 0 0 0 0,1 1 0 0 0,-1-1 0 0 0,1 1 0 0 0,-1-1 0 0 0,0 1 0 0 0,1-1 0 0 0,-1 1 0 0 0,0-1 0 0 0,1 1 0 0 0,-1 0 0 0 0,0-1 0 0 0,0 1 0 0 0,0 0 0 0 0,1-1 0 0 0,-1 1 0 0 0,0 0 0 0 0,0 0 0 0 0,0 0 0 0 0,1 0 0 0 0,-2 0 0 0 0,-11 1-2 0 0,1 0-1 0 0,0 1 1 0 0,0 0-1 0 0,-1 1 0 0 0,1 0 1 0 0,1 1-1 0 0,-1 0 1 0 0,1 1-1 0 0,-1 0 1 0 0,1 1-1 0 0,1 0 0 0 0,-1 1 1 0 0,1 0-1 0 0,-10 9 1 0 0,19-15 8 0 0,-1 1 1 0 0,1 0 0 0 0,-1-1-1 0 0,1 1 1 0 0,0 0-1 0 0,0-1 1 0 0,0 1 0 0 0,-1 0-1 0 0,2 0 1 0 0,-1 0-1 0 0,0 0 1 0 0,0 0 0 0 0,1 0-1 0 0,-1 0 1 0 0,1 1-1 0 0,-1-1 1 0 0,1 0 0 0 0,0 0-1 0 0,0 0 1 0 0,0 0 0 0 0,0 1-1 0 0,1 1 1 0 0,0-1 6 0 0,0-1-1 0 0,0 1 1 0 0,0-1 0 0 0,0 0 0 0 0,0 1 0 0 0,1-1 0 0 0,-1 0-1 0 0,1 0 1 0 0,0 0 0 0 0,-1 0 0 0 0,1 0 0 0 0,0 0 0 0 0,0 0-1 0 0,0-1 1 0 0,1 1 0 0 0,3 2 0 0 0,-3-3-90 0 0,0 0-1 0 0,-1 0 1 0 0,1 0 0 0 0,-1-1 0 0 0,1 1-1 0 0,0-1 1 0 0,0 0 0 0 0,-1 1-1 0 0,1-1 1 0 0,0 0 0 0 0,0-1 0 0 0,-1 1-1 0 0,5-1 1 0 0,27-10-514 0 0,-30 10 578 0 0,5-3-49 0 0,-6 3 16 0 0,1 0-1 0 0,-1-1 1 0 0,0 1 0 0 0,1 0-1 0 0,-1 1 1 0 0,0-1 0 0 0,1 1-1 0 0,4-1 1 0 0,-7 2 77 0 0,0-1-1 0 0,1 0 1 0 0,-1 1 0 0 0,0 0 0 0 0,0-1 0 0 0,0 1 0 0 0,0 0 0 0 0,1 0-1 0 0,-1-1 1 0 0,0 1 0 0 0,0 0 0 0 0,0 0 0 0 0,0 0 0 0 0,-1 0-1 0 0,1 0 1 0 0,0 1 0 0 0,0-1 0 0 0,-1 0 0 0 0,1 0 0 0 0,-1 0-1 0 0,1 1 1 0 0,-1-1 0 0 0,1 2 0 0 0,3 4 85 0 0,-1 0 0 0 0,2 1 1 0 0,-1-2-1 0 0,1 1 0 0 0,0 0 0 0 0,0-1 0 0 0,0 0 0 0 0,1 0 1 0 0,0-1-1 0 0,1 0 0 0 0,-1 0 0 0 0,1 0 0 0 0,0-1 0 0 0,0 0 0 0 0,0 0 1 0 0,1 0-1 0 0,10 2 0 0 0,-13-4-92 0 0,1 0 1 0 0,0-1-1 0 0,0 1 1 0 0,0-2-1 0 0,0 1 1 0 0,0-1-1 0 0,0 1 0 0 0,0-2 1 0 0,0 1-1 0 0,0-1 1 0 0,0 0-1 0 0,-1 0 1 0 0,1 0-1 0 0,0-1 1 0 0,0 0-1 0 0,-1 0 0 0 0,1-1 1 0 0,-1 1-1 0 0,0-1 1 0 0,1 0-1 0 0,-2-1 1 0 0,1 1-1 0 0,0-1 1 0 0,6-7-1 0 0,1-2-41 0 0,-1-1 0 0 0,-1 0 1 0 0,-1 0-1 0 0,0-1 0 0 0,13-29 0 0 0,24-86-289 0 0,-23 63 235 0 0,76-206 2513 0 0,-99 272-2424 0 0,0 1-1 0 0,0 0 1 0 0,0 0 0 0 0,0-1 0 0 0,0 1 0 0 0,0 0-1 0 0,0 0 1 0 0,0 0 0 0 0,0-1 0 0 0,0 1 0 0 0,0 0-1 0 0,0 0 1 0 0,1-1 0 0 0,-1 1 0 0 0,0 0 0 0 0,0 0-1 0 0,0-1 1 0 0,0 1 0 0 0,0 0 0 0 0,0 0 0 0 0,0 0-1 0 0,1-1 1 0 0,-1 1 0 0 0,0 0 0 0 0,0 0 0 0 0,0 0-1 0 0,1 0 1 0 0,-1 0 0 0 0,0-1 0 0 0,0 1 0 0 0,0 0-1 0 0,1 0 1 0 0,-1 0 0 0 0,0 0 0 0 0,0 0 0 0 0,0 0-1 0 0,1 0 1 0 0,-1 0 0 0 0,0 0 0 0 0,0 0 0 0 0,1 0-1 0 0,-1 0 1 0 0,0 0 0 0 0,0 0 0 0 0,1 0 0 0 0,-1 0-1 0 0,0 0 1 0 0,0 0 0 0 0,1 0 0 0 0,5 15 386 0 0,-1 20-27 0 0,-4-12-321 0 0,5 102-109 0 0,-14 180-1 0 0,8-301-47 0 0,-3 27-1169 0 0,-9 34 0 0 0,11-57 547 0 0,-1-1 1 0 0,-1 1 0 0 0,1-1 0 0 0,-1 0 0 0 0,0 0 0 0 0,-1 0-1 0 0,1-1 1 0 0,-2 1 0 0 0,1-1 0 0 0,-8 9 0 0 0,0-5-3566 0 0</inkml:trace>
</inkml:ink>
</file>

<file path=ppt/ink/ink1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0:28.71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 235 448 0 0,'-1'-3'308'0'0,"-1"-1"0"0"0,1 0 0 0 0,0 1 1 0 0,1-1-1 0 0,-1 0 0 0 0,0 0 0 0 0,1 0 0 0 0,0 1 0 0 0,0-1 0 0 0,0 0 1 0 0,1 0-1 0 0,-1 0 0 0 0,1 0 0 0 0,0 1 0 0 0,0-1 0 0 0,3-7 0 0 0,-1 6-134 0 0,0 1 0 0 0,0-1 0 0 0,0 0 0 0 0,1 1 0 0 0,-1 0 0 0 0,1 0 0 0 0,1 0 0 0 0,-1 0 0 0 0,0 1-1 0 0,8-5 1 0 0,8-3 34 0 0,0 1-1 0 0,1 1 0 0 0,0 1 0 0 0,34-9 0 0 0,14-1 514 0 0,1 2-1 0 0,99-8 0 0 0,-164 24-619 0 0,1-1 0 0 0,-1 1 1 0 0,1 0-1 0 0,-1 1 1 0 0,1-1-1 0 0,0 1 1 0 0,-1 0-1 0 0,0 0 0 0 0,1 1 1 0 0,-1 0-1 0 0,0 0 1 0 0,0 0-1 0 0,0 0 0 0 0,0 1 1 0 0,0 0-1 0 0,0 0 1 0 0,5 5-1 0 0,-5-3-30 0 0,-1 0 0 0 0,0 0 0 0 0,0 0 0 0 0,0 1 0 0 0,-1-1 0 0 0,0 1 0 0 0,0 0 0 0 0,0 0 0 0 0,-1 0 0 0 0,0 0-1 0 0,0 0 1 0 0,0 0 0 0 0,-1 1 0 0 0,1 9 0 0 0,-1-4-212 0 0,0 0 0 0 0,-1 0 0 0 0,-1 0-1 0 0,0 0 1 0 0,-1 0 0 0 0,-3 14 0 0 0,3-19-739 0 0,0 0-1 0 0,-1 0 1 0 0,1-1 0 0 0,-1 1 0 0 0,-1-1 0 0 0,1 0-1 0 0,-5 6 1 0 0,0-4-2371 0 0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2:21.44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14 5 492 0 0,'-7'-2'406'0'0,"0"1"0"0"0,-1 1 0 0 0,1-1 0 0 0,0 1 0 0 0,-1 0 0 0 0,1 1 0 0 0,0 0 0 0 0,-1 0 0 0 0,1 0 0 0 0,-12 5 0 0 0,8-2-69 0 0,0 1 1 0 0,0 0-1 0 0,0 1 0 0 0,1 0 0 0 0,-19 15 0 0 0,10-5 5 0 0,2 1 1 0 0,0 0-1 0 0,0 1 0 0 0,2 1 1 0 0,-24 39-1 0 0,21-27-51 0 0,2-1 0 0 0,1 2 1 0 0,2 0-1 0 0,1 1 0 0 0,1 0 0 0 0,2 1 1 0 0,-5 37-1 0 0,11-47-133 0 0,0 1 0 0 0,2 0 0 0 0,1 0 0 0 0,1 0 0 0 0,1 0 0 0 0,2 0 0 0 0,0-1 0 0 0,1 1 0 0 0,2-1 0 0 0,16 40 0 0 0,-9-33-59 0 0,1 0 0 0 0,2-1-1 0 0,1-1 1 0 0,43 51 0 0 0,-47-64 7 0 0,1 0 0 0 0,0-2 0 0 0,1 0 0 0 0,1 0 0 0 0,0-2 0 0 0,1 0 0 0 0,0-1 0 0 0,1 0 0 0 0,24 8 0 0 0,-32-14-31 0 0,1-2-1 0 0,0 1 0 0 0,0-2 1 0 0,1 0-1 0 0,-1 0 0 0 0,0-1 1 0 0,1-1-1 0 0,-1 0 1 0 0,1 0-1 0 0,-1-1 0 0 0,0-1 1 0 0,1 0-1 0 0,-1-1 0 0 0,0 0 1 0 0,0-1-1 0 0,-1 0 0 0 0,1-1 1 0 0,19-11-1 0 0,-17 7-1 0 0,0-1 1 0 0,-1 0-1 0 0,0-1 0 0 0,-1 0 1 0 0,0-1-1 0 0,-1 0 0 0 0,0-1 1 0 0,-1 0-1 0 0,0 0 1 0 0,-1-2-1 0 0,-1 1 0 0 0,0-1 1 0 0,9-25-1 0 0,-7 10 36 0 0,-1-1 1 0 0,-2 1-1 0 0,-1-2 1 0 0,-2 1 0 0 0,0-1-1 0 0,-3 1 1 0 0,0-1-1 0 0,-2 0 1 0 0,-2 1-1 0 0,0-1 1 0 0,-3 1-1 0 0,-11-42 1 0 0,2 26-128 0 0,-1 0 1 0 0,-3 2 0 0 0,-2 0 0 0 0,-2 1 0 0 0,-1 1-1 0 0,-2 1 1 0 0,-41-49 0 0 0,19 35-3493 0 0,47 55 3170 0 0,0 0 0 0 0,0 0 0 0 0,-1 0 1 0 0,1 0-1 0 0,0 0 0 0 0,-1 1 0 0 0,1-1 1 0 0,-1 1-1 0 0,1-1 0 0 0,-1 1 0 0 0,1 0 1 0 0,-1-1-1 0 0,1 1 0 0 0,-1 0 0 0 0,1 0 1 0 0,-1 0-1 0 0,1 0 0 0 0,-1 0 0 0 0,1 0 1 0 0,-1 1-1 0 0,1-1 0 0 0,-1 0 0 0 0,1 1 0 0 0,-1-1 1 0 0,1 1-1 0 0,-3 1 0 0 0,-6 5-2955 0 0</inkml:trace>
</inkml:ink>
</file>

<file path=ppt/ink/ink1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0:29.06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 241 1044 0 0,'-3'-33'2104'0'0,"2"0"1"0"0,1 0-1 0 0,1 0 0 0 0,7-33 1 0 0,-8 64-2156 0 0,1 0 1 0 0,0 0-1 0 0,0 0 1 0 0,0 0-1 0 0,0 0 1 0 0,0 0-1 0 0,0 0 0 0 0,0 0 1 0 0,1 0-1 0 0,-1 0 1 0 0,1 1-1 0 0,-1-1 1 0 0,1 0-1 0 0,0 1 1 0 0,-1 0-1 0 0,1-1 1 0 0,0 1-1 0 0,0 0 1 0 0,0 0-1 0 0,0 0 1 0 0,0 0-1 0 0,1 0 1 0 0,-1 0-1 0 0,0 1 1 0 0,0-1-1 0 0,0 1 0 0 0,3-1 1 0 0,4 0-625 0 0,1 0-1 0 0,-1 1 1 0 0,0 0 0 0 0,0 0 0 0 0,15 3-1 0 0,10 4-1265 0 0,-16-3 679 0 0</inkml:trace>
</inkml:ink>
</file>

<file path=ppt/ink/ink1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0:29.48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12 2700 0 0,'9'3'329'0'0,"0"1"-1"0"0,0 0 1 0 0,0 0-1 0 0,-1 1 1 0 0,1 0 0 0 0,-1 0-1 0 0,0 1 1 0 0,-1 0-1 0 0,1 0 1 0 0,-1 1-1 0 0,-1 0 1 0 0,1 0-1 0 0,-1 1 1 0 0,-1 0-1 0 0,1 0 1 0 0,-1 0 0 0 0,7 18-1 0 0,-3-6 499 0 0,-2 1 1 0 0,6 29-1 0 0,-4-15-272 0 0,-6-25-301 0 0,-1-5 88 0 0,-1 0 0 0 0,0 1 0 0 0,0 0 0 0 0,0-1 0 0 0,0 9 0 0 0,0-19-346 0 0,0 0 0 0 0,1-1 0 0 0,0 1 0 0 0,0 0-1 0 0,0 0 1 0 0,0 0 0 0 0,1 0 0 0 0,3-5 0 0 0,2-4-125 0 0,-4 6 75 0 0,1 0 1 0 0,1 0 0 0 0,0 1 0 0 0,0-1 0 0 0,0 1 0 0 0,1 0 0 0 0,0 1 0 0 0,0 0 0 0 0,0 0-1 0 0,1 1 1 0 0,12-7 0 0 0,-18 11 37 0 0,1 0 0 0 0,-1 0 0 0 0,1 1 0 0 0,-1 0 0 0 0,1-1 0 0 0,-1 1 0 0 0,1 0 0 0 0,-1 0 0 0 0,1 0 0 0 0,-1 1 0 0 0,1-1 0 0 0,-1 0 0 0 0,0 1 0 0 0,1 0 0 0 0,-1-1 0 0 0,4 3 0 0 0,0 0-5 0 0,-1-1 0 0 0,1 1-1 0 0,-1 1 1 0 0,0-1 0 0 0,7 7 0 0 0,6 9-12 0 0,0 0 0 0 0,-2 1 0 0 0,16 25 0 0 0,26 31 107 0 0,-56-74-65 0 0,0 0 1 0 0,0 0-1 0 0,1 1 1 0 0,-1-1-1 0 0,1-1 1 0 0,-1 1 0 0 0,1 0-1 0 0,0-1 1 0 0,-1 1-1 0 0,1-1 1 0 0,0 0-1 0 0,0 0 1 0 0,0 0-1 0 0,0 0 1 0 0,0 0-1 0 0,0-1 1 0 0,0 1-1 0 0,0-1 1 0 0,0 0 0 0 0,0 0-1 0 0,1 0 1 0 0,-1-1-1 0 0,0 1 1 0 0,0-1-1 0 0,0 1 1 0 0,0-1-1 0 0,0 0 1 0 0,0 0-1 0 0,0 0 1 0 0,-1-1-1 0 0,5-1 1 0 0,0-2-2 0 0,0 1 0 0 0,0-1 0 0 0,-1-1 0 0 0,1 1 0 0 0,-1-1 0 0 0,0 0 1 0 0,-1 0-1 0 0,1-1 0 0 0,-1 0 0 0 0,5-10 0 0 0,7-13-95 0 0,-2 0 0 0 0,-1-1-1 0 0,-2-1 1 0 0,0-1 0 0 0,-3 1 0 0 0,8-46 0 0 0,-19 53-20 0 0,2 24 102 0 0,0 1 1 0 0,0-1 0 0 0,0 0-1 0 0,0 1 1 0 0,0-1 0 0 0,0 0-1 0 0,0 1 1 0 0,0-1 0 0 0,-1 0-1 0 0,1 1 1 0 0,0-1 0 0 0,0 1-1 0 0,-1-1 1 0 0,1 0 0 0 0,0 1-1 0 0,-1-1 1 0 0,1 1 0 0 0,0-1-1 0 0,-1 1 1 0 0,1-1 0 0 0,-1 1-1 0 0,1 0 1 0 0,-1-1 0 0 0,1 1-1 0 0,-1-1 1 0 0,0 1 0 0 0,1 0-1 0 0,-1 0 1 0 0,1-1-1 0 0,-1 1 1 0 0,0 0 0 0 0,1 0-1 0 0,-1 0 1 0 0,0-1 0 0 0,1 1-1 0 0,-1 0 1 0 0,1 0 0 0 0,-1 0-1 0 0,-1 0 1 0 0,-1 2-5 0 0,-1 0-1 0 0,1 1 1 0 0,-1-1 0 0 0,1 0-1 0 0,0 1 1 0 0,0 0 0 0 0,0 0-1 0 0,0 0 1 0 0,1 0-1 0 0,-1 0 1 0 0,1 1 0 0 0,0-1-1 0 0,0 1 1 0 0,0 0 0 0 0,0-1-1 0 0,0 1 1 0 0,-1 5 0 0 0,-4 13-10 0 0,-9 41 0 0 0,13-48 12 0 0,-29 191 196 0 0,-2 6 373 0 0,27-181-489 0 0,-2-1-1 0 0,-1 0 0 0 0,-1-1 1 0 0,-26 51-1 0 0,30-69-24 0 0,-1 1 1 0 0,0-1-1 0 0,0-1 0 0 0,-1 0 0 0 0,0 0 0 0 0,-1 0 1 0 0,0-1-1 0 0,-1-1 0 0 0,-16 11 0 0 0,22-16-19 0 0,1 0 0 0 0,-1-1 0 0 0,0 1 0 0 0,1-1 0 0 0,-1 0 0 0 0,0-1-1 0 0,0 1 1 0 0,0-1 0 0 0,0 0 0 0 0,-1 0 0 0 0,1-1 0 0 0,0 1 0 0 0,0-1 0 0 0,-1-1 0 0 0,1 1-1 0 0,0-1 1 0 0,0 1 0 0 0,0-1 0 0 0,0-1 0 0 0,0 1 0 0 0,0-1 0 0 0,0 0 0 0 0,0 0-1 0 0,0 0 1 0 0,1-1 0 0 0,-1 0 0 0 0,-4-3 0 0 0,6 3-24 0 0,-1 0 0 0 0,0-1 1 0 0,1 0-1 0 0,0 0 0 0 0,0 1 0 0 0,0-2 1 0 0,0 1-1 0 0,0 0 0 0 0,1-1 0 0 0,0 1 1 0 0,0-1-1 0 0,0 1 0 0 0,-1-7 0 0 0,1 3-2 0 0,1-1 0 0 0,0 0-1 0 0,0 0 1 0 0,1 1-1 0 0,0-1 1 0 0,3-17 0 0 0,1 2-6 0 0,2 1 1 0 0,1 0-1 0 0,1 0 1 0 0,16-34-1 0 0,7-4 6 0 0,3 1 0 0 0,51-68 0 0 0,95-101 30 0 0,-4 5-59 0 0,-173 220 14 0 0,0 0 0 0 0,0-1 1 0 0,-1 1-1 0 0,1 0 0 0 0,-1-1 0 0 0,0 1 1 0 0,2-10-1 0 0,-4 13 9 0 0,0 0 0 0 0,1-1 0 0 0,-1 1 0 0 0,0-1 0 0 0,-1 1 0 0 0,1-1 0 0 0,0 1 0 0 0,0 0 1 0 0,0-1-1 0 0,-1 1 0 0 0,1 0 0 0 0,-1-1 0 0 0,1 1 0 0 0,-1 0 0 0 0,0-1 0 0 0,1 1 0 0 0,-1 0 0 0 0,0 0 0 0 0,0 0 0 0 0,0 0 0 0 0,0 0 0 0 0,0 0 0 0 0,0 0 0 0 0,0 0 0 0 0,0 0 0 0 0,0 0 0 0 0,0 0 0 0 0,-1 1 1 0 0,1-1-1 0 0,0 0 0 0 0,-2 0 0 0 0,-3-1 0 0 0,0 0 1 0 0,0 0 0 0 0,0 0 0 0 0,0 1 0 0 0,-1 0-1 0 0,1 0 1 0 0,0 0 0 0 0,-1 1 0 0 0,1 0 0 0 0,-1 0-1 0 0,1 1 1 0 0,0 0 0 0 0,-1 0 0 0 0,1 0 0 0 0,0 1-1 0 0,0 0 1 0 0,0 0 0 0 0,0 1 0 0 0,0-1 0 0 0,-8 6 0 0 0,10-5 3 0 0,0-1 1 0 0,-1 1 0 0 0,1 1 0 0 0,1-1 0 0 0,-1 0-1 0 0,0 1 1 0 0,1 0 0 0 0,-1 0 0 0 0,1 0 0 0 0,0 0 0 0 0,1 1-1 0 0,-1-1 1 0 0,1 1 0 0 0,0-1 0 0 0,0 1 0 0 0,0 0 0 0 0,0 0-1 0 0,1 0 1 0 0,0 0 0 0 0,0 0 0 0 0,1 0 0 0 0,-1 0-1 0 0,1 0 1 0 0,0 0 0 0 0,1 10 0 0 0,4 5-987 0 0,0-1 1 0 0,2 0-1 0 0,12 28 1 0 0,-8-21-2840 0 0,-6-13-308 0 0</inkml:trace>
</inkml:ink>
</file>

<file path=ppt/ink/ink1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1:47.98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0 1 172 0 0,'0'0'4536'0'0</inkml:trace>
</inkml:ink>
</file>

<file path=ppt/ink/ink1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1:51.212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92 12 1416 0 0,'0'0'1108'0'0,"-12"-6"3511"0"0,11 5-4478 0 0,-1 0-1 0 0,1 1 0 0 0,-1-1 1 0 0,1 0-1 0 0,-1 1 0 0 0,1 0 0 0 0,-1-1 1 0 0,0 1-1 0 0,1 0 0 0 0,-1 0 1 0 0,0 0-1 0 0,1 0 0 0 0,-1 0 1 0 0,0 0-1 0 0,1 0 0 0 0,-1 1 0 0 0,1-1 1 0 0,-3 1-1 0 0,-1 2-151 0 0,0-1 0 0 0,1 0 0 0 0,-1 1 0 0 0,1 0 0 0 0,-5 4 0 0 0,-11 9 20 0 0,2 0 1 0 0,0 2-1 0 0,1-1 0 0 0,1 2 1 0 0,-16 22-1 0 0,23-25 23 0 0,-1 0 0 0 0,2 0 0 0 0,0 1 0 0 0,1-1 0 0 0,1 2 0 0 0,0-1 0 0 0,-4 30 0 0 0,3-3 129 0 0,3 0 0 0 0,1 46 1 0 0,10 91 13 0 0,-1-6 625 0 0,-5-85-207 0 0,4 0-1 0 0,4 0 1 0 0,28 120 0 0 0,20-42-362 0 0,-28-87-130 0 0,-8-23 266 0 0,2-1-1 0 0,3-1 1 0 0,48 79-1 0 0,-63-121-315 0 0,-1 0-1 0 0,2-1 1 0 0,0-1-1 0 0,0 0 0 0 0,27 20 1 0 0,-8-10 126 0 0,54 28 1 0 0,-60-39-86 0 0,1-1 0 0 0,0-2 0 0 0,0 0 1 0 0,32 4-1 0 0,-7 0-46 0 0,-14-4 212 0 0,0-1 0 0 0,1-1 0 0 0,66 1 0 0 0,-51-10-106 0 0,97-18 1 0 0,-131 18-142 0 0,173-31 254 0 0,-146 23 156 0 0,-31 8-276 0 0,0-1-1 0 0,27-10 1 0 0,-2 0-41 0 0,-30 11-136 0 0,39-11 427 0 0,58-23-1 0 0,-93 30-251 0 0,0 0-1 0 0,0 0 1 0 0,0-1 0 0 0,-1-1-1 0 0,0 0 1 0 0,-1-1 0 0 0,0 0 0 0 0,14-17-1 0 0,-4-1-13 0 0,-2-1 0 0 0,-1-1 0 0 0,-1-1 0 0 0,-2 0 0 0 0,-1-1-1 0 0,-1-1 1 0 0,14-55 0 0 0,-16 43-110 0 0,-3-2 0 0 0,8-89-1 0 0,-16 82-64 0 0,-1-1 0 0 0,-4 1-1 0 0,-1-1 1 0 0,-17-71 0 0 0,-38-103 227 0 0,46 191-169 0 0,-1-1 0 0 0,-1 2 0 0 0,-39-63 0 0 0,-86-99 5 0 0,117 170-50 0 0,-2 0 0 0 0,-1 1-1 0 0,-2 2 1 0 0,-39-29 0 0 0,41 36 7 0 0,-1 1-1 0 0,0 1 0 0 0,-1 1 1 0 0,0 2-1 0 0,-2 1 0 0 0,0 1 1 0 0,0 2-1 0 0,0 1 0 0 0,-45-6 1 0 0,13 9-83 0 0,0 3 0 0 0,0 2 1 0 0,-93 12-1 0 0,-186 45-591 0 0,315-50 641 0 0,-164 41-1456 0 0,162-37 387 0 0,0 1 0 0 0,1 1 0 0 0,0 2-1 0 0,-34 22 1 0 0,50-27-213 0 0,1 0-1 0 0,1 1 1 0 0,-11 11-1 0 0,10-10-483 0 0,-9 9-2361 0 0</inkml:trace>
</inkml:ink>
</file>

<file path=ppt/ink/ink1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1:53.156"/>
    </inkml:context>
    <inkml:brush xml:id="br0">
      <inkml:brushProperty name="width" value="0.1" units="cm"/>
      <inkml:brushProperty name="height" value="0.1" units="cm"/>
    </inkml:brush>
  </inkml:definitions>
  <inkml:trace contextRef="#ctx0" brushRef="#br0">626 33 984 0 0,'0'0'2060'0'0,"-15"7"150"0"0,-239 15 2870 0 0,200-20-4676 0 0,-1-3-1 0 0,-93-13 1 0 0,127 12-356 0 0,15 1-147 0 0,0 1 0 0 0,-1-1 0 0 0,1 0 0 0 0,0 0 0 0 0,0-1 0 0 0,0 0 0 0 0,0 0 0 0 0,0 0 0 0 0,0-1 0 0 0,-7-4 0 0 0,9-1-1918 0 0,9-9-4066 0 0</inkml:trace>
</inkml:ink>
</file>

<file path=ppt/ink/ink1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1:53.52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67 42 680 0 0,'-5'-13'2881'0'0,"-12"-14"-119"0"0,15 25-2590 0 0,-15 9 286 0 0,11-3-271 0 0,0 0 0 0 0,0 0 0 0 0,0 0 0 0 0,0 1 0 0 0,0 0 0 0 0,1 0 0 0 0,0 0 1 0 0,0 0-1 0 0,-8 12 0 0 0,5-4 108 0 0,0 1 0 0 0,0-1 1 0 0,-8 23-1 0 0,12-24-153 0 0,-1 1-1 0 0,2 1 1 0 0,0-1 0 0 0,0 1-1 0 0,1-1 1 0 0,1 1 0 0 0,0 0-1 0 0,1-1 1 0 0,0 1 0 0 0,2 0 0 0 0,-1 0-1 0 0,5 15 1 0 0,-4-20-216 0 0,1-1 1 0 0,0 0-1 0 0,0 0 1 0 0,1 0-1 0 0,0 0 0 0 0,0 0 1 0 0,1-1-1 0 0,0 0 1 0 0,0 0-1 0 0,1 0 0 0 0,0-1 1 0 0,0 0-1 0 0,1 0 1 0 0,-1 0-1 0 0,1-1 1 0 0,0 0-1 0 0,1 0 0 0 0,-1-1 1 0 0,1 0-1 0 0,10 4 1 0 0,-14-6-442 0 0,2 1-201 0 0,1-2-2519 0 0,10 0-197 0 0</inkml:trace>
</inkml:ink>
</file>

<file path=ppt/ink/ink1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1:55.13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0 1 864 0 0,'0'0'1485'0'0,"3"0"-333"0"0,42 8 2655 0 0,48 1 0 0 0,120-5-1997 0 0,-180-4-1037 0 0,-5-5-569 0 0,-24 4-343 0 0,-1 0-334 0 0</inkml:trace>
</inkml:ink>
</file>

<file path=ppt/ink/ink1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1:55.45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0 1 1556 0 0,'2'1'3136'0'0,"0"1"-2848"0"0,0 1-1 0 0,0-1 0 0 0,0 1 1 0 0,-1 0-1 0 0,1-1 0 0 0,-1 1 0 0 0,1 0 1 0 0,-1 0-1 0 0,0 0 0 0 0,0 0 1 0 0,-1 0-1 0 0,1 0 0 0 0,0 6 0 0 0,4 50 1272 0 0,-4-43-1221 0 0,-4 145 946 0 0,-6-53-3304 0 0,9-102 1735 0 0,3 26-4682 0 0</inkml:trace>
</inkml:ink>
</file>

<file path=ppt/ink/ink1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1:55.799"/>
    </inkml:context>
    <inkml:brush xml:id="br0">
      <inkml:brushProperty name="width" value="0.1" units="cm"/>
      <inkml:brushProperty name="height" value="0.1" units="cm"/>
    </inkml:brush>
  </inkml:definitions>
  <inkml:trace contextRef="#ctx0" brushRef="#br0">0 33 704 0 0,'2'-2'1644'0'0,"0"0"-1136"0"0,17-15 3360 0 0,-19 17-3816 0 0,1 0 0 0 0,-1 0 0 0 0,1-1 0 0 0,0 1 0 0 0,-1 0 0 0 0,1 0 0 0 0,-1 0 0 0 0,1 0 0 0 0,0 0 0 0 0,-1 0 0 0 0,1 0 0 0 0,-1 0 0 0 0,1 0 0 0 0,0 0 1 0 0,-1 0-1 0 0,1 0 0 0 0,-1 0 0 0 0,1 1 0 0 0,0-1 0 0 0,-1 0 0 0 0,1 0 0 0 0,-1 1 0 0 0,1-1 0 0 0,-1 0 0 0 0,1 1 0 0 0,-1-1 0 0 0,1 0 0 0 0,-1 1 0 0 0,1-1 0 0 0,-1 1 0 0 0,0-1 1 0 0,1 1-1 0 0,-1-1 0 0 0,0 1 0 0 0,1-1 0 0 0,-1 1 0 0 0,0-1 0 0 0,0 1 0 0 0,1-1 0 0 0,-1 1 0 0 0,0 0 0 0 0,0 0 0 0 0,7 18 902 0 0,8 37-1 0 0,-11-36-610 0 0,1-1 0 0 0,11 27 0 0 0,-15-43-320 0 0,0 1 0 0 0,0-1 0 0 0,1 0 0 0 0,0 1 0 0 0,0-1 0 0 0,0 0 0 0 0,0 0 0 0 0,0 0 0 0 0,1 0 0 0 0,-1 0 0 0 0,1-1 0 0 0,0 1 0 0 0,0-1 0 0 0,-1 0 0 0 0,2 0 0 0 0,-1 0 0 0 0,0 0 0 0 0,0 0 0 0 0,1-1 0 0 0,-1 1 0 0 0,1-1 0 0 0,-1 0 0 0 0,1 0 0 0 0,6 1 0 0 0,-4-2 20 0 0,-1 1-1 0 0,1-1 1 0 0,0 0-1 0 0,-1-1 1 0 0,1 1-1 0 0,0-1 1 0 0,-1 0-1 0 0,1 0 1 0 0,-1-1-1 0 0,1 0 1 0 0,-1 0-1 0 0,0 0 1 0 0,0-1-1 0 0,1 1 1 0 0,-2-1-1 0 0,1 0 1 0 0,0-1-1 0 0,-1 1 1 0 0,1-1-1 0 0,-1 0 1 0 0,0 0-1 0 0,0 0 1 0 0,-1-1-1 0 0,6-7 1 0 0,-6 6-20 0 0,0 1-1 0 0,0 0 1 0 0,0 0-1 0 0,-1-1 1 0 0,0 0 0 0 0,0 1-1 0 0,0-1 1 0 0,-1 0 0 0 0,0 0-1 0 0,0 0 1 0 0,-1 0 0 0 0,1 0-1 0 0,-1 0 1 0 0,-1-7 0 0 0,1 9-17 0 0,-1-1 1 0 0,0 1-1 0 0,0 0 1 0 0,-1 0 0 0 0,1 0-1 0 0,-1 0 1 0 0,1 0-1 0 0,-1 1 1 0 0,-1-1-1 0 0,1 0 1 0 0,0 1 0 0 0,-1 0-1 0 0,0-1 1 0 0,1 1-1 0 0,-1 0 1 0 0,-1 0 0 0 0,1 1-1 0 0,0-1 1 0 0,-1 1-1 0 0,-4-3 1 0 0,3 2-72 0 0,1 1 0 0 0,-1 1-1 0 0,0-1 1 0 0,0 1 0 0 0,1 0 0 0 0,-1 0-1 0 0,0 0 1 0 0,0 1 0 0 0,0-1 0 0 0,0 1 0 0 0,0 0-1 0 0,0 1 1 0 0,-8 1 0 0 0,6-1-921 0 0,0 1 0 0 0,0 0-1 0 0,1 0 1 0 0,-10 6 0 0 0</inkml:trace>
</inkml:ink>
</file>

<file path=ppt/ink/ink1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1:56.12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456 1 1028 0 0,'3'3'1393'0'0,"-3"-3"-1219"0"0,1 0 0 0 0,-1 1 0 0 0,0-1 0 0 0,0 1 1 0 0,1-1-1 0 0,-1 1 0 0 0,0-1 0 0 0,0 1 0 0 0,0-1 0 0 0,0 1 0 0 0,0-1 0 0 0,0 1 0 0 0,-4 13 1033 0 0,-1 0-1 0 0,0-1 0 0 0,-10 15 1 0 0,-51 74 1432 0 0,24-39-1514 0 0,-103 143 685 0 0,2-4-4492 0 0,137-192 1758 0 0,-6 10-943 0 0,1-7-2665 0 0,4-5 1857 0 0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2:22.06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17 91 1512 0 0,'0'-9'5435'0'0,"-10"43"-3974"0"0,2-1-1 0 0,2 2 1 0 0,-4 67-1 0 0,4-40-783 0 0,-30 286 1890 0 0,35-337-2546 0 0,1-6 185 0 0,-1 1-1 0 0,1-1 1 0 0,-1 0-1 0 0,0 1 1 0 0,-1-1-1 0 0,1 0 1 0 0,-1 0-1 0 0,-3 7 1 0 0,3-10-1 0 0,0-3-34 0 0,0 0-173 0 0,0-1 1 0 0,1 1 0 0 0,-1 0-1 0 0,1-1 1 0 0,-1 1 0 0 0,1-1 0 0 0,0 1-1 0 0,-1-1 1 0 0,1 0 0 0 0,0 0-1 0 0,0 0 1 0 0,0 1 0 0 0,0-1-1 0 0,1 0 1 0 0,-1 0 0 0 0,0 0-1 0 0,1 0 1 0 0,0 0 0 0 0,-1 0 0 0 0,1 0-1 0 0,0-1 1 0 0,0-3 0 0 0,0-9-360 0 0,2-31 1 0 0,-1 41 314 0 0,8-60-285 0 0,2 1 1 0 0,4 0-1 0 0,2 1 1 0 0,3 1-1 0 0,2 0 1 0 0,40-73-1 0 0,-56 122 299 0 0,5-9-67 0 0,19-29 0 0 0,-27 47 86 0 0,0 0-1 0 0,0 0 1 0 0,1 0-1 0 0,-1 0 0 0 0,1 0 1 0 0,0 1-1 0 0,0 0 1 0 0,0-1-1 0 0,0 1 0 0 0,0 1 1 0 0,1-1-1 0 0,8-3 1 0 0,-11 6 33 0 0,0-1 0 0 0,-1 1 0 0 0,1 0 0 0 0,0 0 0 0 0,-1 0 0 0 0,1 0 0 0 0,0 0 1 0 0,0 1-1 0 0,-1-1 0 0 0,1 0 0 0 0,0 1 0 0 0,-1-1 0 0 0,1 1 0 0 0,-1 0 0 0 0,1-1 0 0 0,-1 1 0 0 0,1 0 1 0 0,-1 0-1 0 0,1 0 0 0 0,-1 0 0 0 0,0 0 0 0 0,1 0 0 0 0,-1 1 0 0 0,1 0 0 0 0,2 3 74 0 0,0 0-1 0 0,0 0 1 0 0,0 1-1 0 0,4 9 1 0 0,7 17 146 0 0,-2 0 0 0 0,16 61 0 0 0,3 70 69 0 0,-27-133-729 0 0,-2 1 1 0 0,0 1-1 0 0,-3-1 0 0 0,-5 56 0 0 0,-3-56-1618 0 0,-2-10-2815 0 0,1-8-515 0 0</inkml:trace>
</inkml:ink>
</file>

<file path=ppt/ink/ink1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1:56.50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56 37 1200 0 0,'3'-2'546'0'0,"4"-3"807"0"0,1-1 0 0 0,0 1 0 0 0,16-7 0 0 0,-20 10-1213 0 0,0 1 0 0 0,0 0 0 0 0,0 0 0 0 0,0 1-1 0 0,0-1 1 0 0,0 1 0 0 0,0 0 0 0 0,0 0 0 0 0,0 0 0 0 0,0 0-1 0 0,0 1 1 0 0,6 1 0 0 0,-6-1-31 0 0,0 0-1 0 0,0 0 1 0 0,0 1 0 0 0,-1-1-1 0 0,1 1 1 0 0,0 0-1 0 0,-1 0 1 0 0,1 0 0 0 0,-1 0-1 0 0,0 1 1 0 0,1 0 0 0 0,-1-1-1 0 0,4 6 1 0 0,-6-6-18 0 0,0 0 0 0 0,1 1 0 0 0,-1-1 0 0 0,0 0 0 0 0,0 1 0 0 0,0-1 1 0 0,-1 1-1 0 0,1-1 0 0 0,-1 1 0 0 0,1 0 0 0 0,-1-1 0 0 0,0 1 0 0 0,0 0 0 0 0,0-1 0 0 0,0 1 1 0 0,0 0-1 0 0,-1-1 0 0 0,1 1 0 0 0,-1-1 0 0 0,0 1 0 0 0,0-1 0 0 0,0 1 0 0 0,0-1 0 0 0,-1 3 1 0 0,-8 15 589 0 0,-23 35 0 0 0,33-54-673 0 0,-1 0 0 0 0,0 0-1 0 0,1 0 1 0 0,-1 0 0 0 0,1 1 0 0 0,-1-1-1 0 0,1 0 1 0 0,0 0 0 0 0,-1 1-1 0 0,1-1 1 0 0,0 0 0 0 0,0 0-1 0 0,0 1 1 0 0,0-1 0 0 0,0 0 0 0 0,0 1-1 0 0,0-1 1 0 0,0 0 0 0 0,0 0-1 0 0,1 1 1 0 0,-1-1 0 0 0,1 0-1 0 0,-1 0 1 0 0,1 0 0 0 0,-1 0 0 0 0,1 1-1 0 0,-1-1 1 0 0,1 0 0 0 0,0 0-1 0 0,1 1 1 0 0,3 4-3 0 0,0-1 1 0 0,1 1-1 0 0,-1-1 0 0 0,8 5 1 0 0,1 1-5 0 0,-11-9-78 0 0,-1 0 172 0 0,1 1 1 0 0,-1-1-1 0 0,1 0 0 0 0,-1 1 1 0 0,0-1-1 0 0,0 1 0 0 0,3 5 1 0 0,-5-7-39 0 0,0-1 1 0 0,1 1 0 0 0,-1 0-1 0 0,0-1 1 0 0,0 1 0 0 0,0 0-1 0 0,0-1 1 0 0,0 1-1 0 0,0-1 1 0 0,0 1 0 0 0,0 0-1 0 0,0-1 1 0 0,0 1 0 0 0,0 0-1 0 0,0-1 1 0 0,-1 1-1 0 0,1 0 1 0 0,0-1 0 0 0,-1 2-1 0 0,0-1 62 0 0,0 0-1 0 0,0 0 1 0 0,0 0-1 0 0,0 0 1 0 0,-1 0-1 0 0,1 0 1 0 0,0 0-1 0 0,0 0 0 0 0,-1 0 1 0 0,1 0-1 0 0,-1-1 1 0 0,-1 1-1 0 0,-5 2 174 0 0,0 0-1 0 0,0-1 1 0 0,0 0-1 0 0,-1-1 1 0 0,1 0-1 0 0,-14 0 0 0 0,-54-6-1002 0 0,43 1-1096 0 0,30 4 1843 0 0,-46-5-10545 0 0</inkml:trace>
</inkml:ink>
</file>

<file path=ppt/ink/ink1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1:58.798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0 0 636 0 0,'0'0'3065'0'0,"0"13"-841"0"0,-5-2-1711 0 0,2 1 1 0 0,0-1 0 0 0,0 1 0 0 0,1 0 0 0 0,0 0 0 0 0,1 0 0 0 0,1 0 0 0 0,0 1 0 0 0,2 15 0 0 0,-1-19-395 0 0,1 0-1 0 0,0 0 1 0 0,1 0 0 0 0,0 0-1 0 0,0-1 1 0 0,1 1 0 0 0,0-1-1 0 0,1 0 1 0 0,0 0 0 0 0,0-1-1 0 0,0 1 1 0 0,1-1 0 0 0,7 7-1 0 0,-10-12-78 0 0,-1 1-1 0 0,1 0 1 0 0,0-1-1 0 0,0 1 1 0 0,0-1-1 0 0,1 0 1 0 0,-1 0 0 0 0,0 0-1 0 0,1 0 1 0 0,0-1-1 0 0,6 2 1 0 0,-8-2-28 0 0,1-1 0 0 0,-1 0 0 0 0,1 0 0 0 0,-1 0 1 0 0,1 0-1 0 0,-1-1 0 0 0,1 1 0 0 0,-1-1 0 0 0,1 0 1 0 0,-1 1-1 0 0,0-1 0 0 0,1 0 0 0 0,-1 0 0 0 0,0-1 1 0 0,0 1-1 0 0,1 0 0 0 0,2-4 0 0 0,-2 2-2 0 0,0 0-1 0 0,1 0 0 0 0,-2 0 1 0 0,1-1-1 0 0,0 1 0 0 0,-1-1 1 0 0,1 0-1 0 0,-1 0 1 0 0,0 0-1 0 0,1-4 0 0 0,6-9-12 0 0,-2-4 352 0 0,-9 18-130 0 0,-4 11-133 0 0,3-2-48 0 0,0 1 0 0 0,0 0-1 0 0,1 0 1 0 0,0 0 0 0 0,0 0 0 0 0,0 0 0 0 0,1 0 0 0 0,0 0 0 0 0,0 13 0 0 0,2 8 71 0 0,5 33 0 0 0,-3-32-50 0 0,8 49-1834 0 0,-3-26-4598 0 0,-8-36 2096 0 0</inkml:trace>
</inkml:ink>
</file>

<file path=ppt/ink/ink1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1:59.286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47 16 1012 0 0,'-12'-11'2932'0'0,"10"10"-2779"0"0,-1 1 0 0 0,1-1 1 0 0,0 0-1 0 0,-1 1 0 0 0,1-1 1 0 0,-1 1-1 0 0,1-1 0 0 0,-1 1 0 0 0,0 0 1 0 0,1 0-1 0 0,-1 1 0 0 0,1-1 1 0 0,-1 0-1 0 0,1 1 0 0 0,-1 0 1 0 0,1-1-1 0 0,0 1 0 0 0,-1 0 0 0 0,1 0 1 0 0,0 0-1 0 0,-1 1 0 0 0,1-1 1 0 0,0 0-1 0 0,0 1 0 0 0,-2 2 1 0 0,-5 3 199 0 0,0 0 0 0 0,1 1 0 0 0,0 1 0 0 0,-12 16 1 0 0,4-2-61 0 0,1 2 1 0 0,2 0 0 0 0,0 1 0 0 0,2 0 0 0 0,1 0 0 0 0,1 2 0 0 0,1-1-1 0 0,1 1 1 0 0,2 0 0 0 0,1 0 0 0 0,-1 49 0 0 0,5-35-89 0 0,1 1 0 0 0,3-1 0 0 0,1 0 0 0 0,3-1 0 0 0,1 1 0 0 0,2-1 0 0 0,20 48 0 0 0,-15-51-137 0 0,2 0 1 0 0,1-1-1 0 0,2-2 0 0 0,2 0 1 0 0,1-1-1 0 0,2-2 1 0 0,31 32-1 0 0,-31-39-843 0 0,0-1 0 0 0,43 29 0 0 0,-58-46-299 0 0,0 0 0 0 0,1 0 0 0 0,0-1 0 0 0,0-1 0 0 0,14 5 1 0 0,0-3-3164 0 0</inkml:trace>
</inkml:ink>
</file>

<file path=ppt/ink/ink1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1:59.916"/>
    </inkml:context>
    <inkml:brush xml:id="br0">
      <inkml:brushProperty name="width" value="0.1" units="cm"/>
      <inkml:brushProperty name="height" value="0.1" units="cm"/>
    </inkml:brush>
  </inkml:definitions>
  <inkml:trace contextRef="#ctx0" brushRef="#br0">0 0 1072 0 0,'3'1'2834'0'0,"0"-1"-2532"0"0,0 2 0 0 0,0-1 0 0 0,0 0 0 0 0,0 0 0 0 0,0 1 0 0 0,0 0 0 0 0,-1 0 1 0 0,1 0-1 0 0,0 0 0 0 0,-1 0 0 0 0,0 0 0 0 0,1 0 0 0 0,-1 1 0 0 0,0-1 0 0 0,0 1 0 0 0,0 0 0 0 0,1 4 1 0 0,7 10 792 0 0,13 29 1 0 0,-22-41-899 0 0,170 415 6459 0 0,-161-394-6592 0 0,-2 0 0 0 0,-1 0-1 0 0,-2 1 1 0 0,0-1 0 0 0,-2 2 0 0 0,0-1 0 0 0,-2 0 0 0 0,-1 0 0 0 0,-2 0 0 0 0,0 1 0 0 0,-2-1 0 0 0,-1-1 0 0 0,-1 1 0 0 0,-16 44-1 0 0,8-39-1677 0 0,-30 54-1 0 0,-6-14-5439 0 0,26-42 395 0 0</inkml:trace>
</inkml:ink>
</file>

<file path=ppt/ink/ink1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2:06.78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0 12 1192 0 0,'-4'-1'1909'0'0,"-52"-9"7825"0"0,60 10-9220 0 0,304 22 1283 0 0,76 6-1450 0 0,-338-25-371 0 0,43 6-329 0 0,-86-8 110 0 0,-14 4-4736 0 0,10-5 4837 0 0,0 0 0 0 0,1 0 0 0 0,-1 0-1 0 0,0-1 1 0 0,0 1 0 0 0,-13-2-1646 0 0,8 1-431 0 0,-6-2-411 0 0</inkml:trace>
</inkml:ink>
</file>

<file path=ppt/ink/ink1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2:07.52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 28 808 0 0,'0'-1'295'0'0,"-1"0"0"0"0,1 0 0 0 0,-1-1 0 0 0,1 1 0 0 0,0 0 0 0 0,-1-1 0 0 0,1 1 0 0 0,0 0 0 0 0,0 0 0 0 0,0-1 0 0 0,0 1 0 0 0,0 0 0 0 0,0-1 0 0 0,0 1 0 0 0,0 0 0 0 0,1-1 0 0 0,-1 1 0 0 0,1 0-1 0 0,0-2 1 0 0,0 3-207 0 0,0 0-1 0 0,0 0 0 0 0,1 0 0 0 0,-1 0 0 0 0,0 0 1 0 0,0 0-1 0 0,1 0 0 0 0,-1 0 0 0 0,0 1 0 0 0,0-1 1 0 0,1 0-1 0 0,-1 1 0 0 0,0-1 0 0 0,0 1 0 0 0,0-1 0 0 0,0 1 1 0 0,0 0-1 0 0,0-1 0 0 0,0 1 0 0 0,0 0 0 0 0,0 0 1 0 0,1 1-1 0 0,21 16 197 0 0,0 2 0 0 0,-1 0 1 0 0,-2 1-1 0 0,0 1 0 0 0,-1 1 1 0 0,-1 1-1 0 0,-1 0 0 0 0,-2 1 0 0 0,15 30 1 0 0,-27-48-262 0 0,-1 0 0 0 0,1 0 0 0 0,-1 0 1 0 0,0 0-1 0 0,-1 0 0 0 0,0 1 0 0 0,0-1 0 0 0,0 1 1 0 0,-1-1-1 0 0,0 0 0 0 0,0 1 0 0 0,-1-1 0 0 0,0 0 1 0 0,-1 1-1 0 0,1-1 0 0 0,-5 12 0 0 0,4-14 1 0 0,-1-1-1 0 0,1 1 1 0 0,-1 0-1 0 0,1-1 1 0 0,-1 1-1 0 0,-1-1 1 0 0,1 0-1 0 0,0 0 1 0 0,-1 0 0 0 0,0-1-1 0 0,0 1 1 0 0,0-1-1 0 0,0 0 1 0 0,-1 0-1 0 0,0 0 1 0 0,1-1-1 0 0,-1 1 1 0 0,0-1-1 0 0,0 0 1 0 0,0-1 0 0 0,0 1-1 0 0,0-1 1 0 0,-8 1-1 0 0,10-2-3 0 0,1 1-1 0 0,-1-1 1 0 0,0 0-1 0 0,0 0 1 0 0,1 0 0 0 0,-1 0-1 0 0,0-1 1 0 0,1 1-1 0 0,-1-1 1 0 0,0 1-1 0 0,1-1 1 0 0,-1 0-1 0 0,1 0 1 0 0,-1 0 0 0 0,1-1-1 0 0,-1 1 1 0 0,1 0-1 0 0,0-1 1 0 0,0 0-1 0 0,0 1 1 0 0,0-1 0 0 0,0 0-1 0 0,-3-3 1 0 0,4 2-15 0 0,0 1 1 0 0,0 0 0 0 0,0-1 0 0 0,0 1 0 0 0,0-1-1 0 0,0 1 1 0 0,1-1 0 0 0,-1 1 0 0 0,1-1-1 0 0,0 0 1 0 0,-1 1 0 0 0,1-1 0 0 0,1 0-1 0 0,-1 1 1 0 0,0-1 0 0 0,1 1 0 0 0,-1-1 0 0 0,1 0-1 0 0,0 1 1 0 0,-1-1 0 0 0,1 1 0 0 0,1 0-1 0 0,0-3 1 0 0,5-7 0 0 0,1 1-1 0 0,0 0 0 0 0,0 0 1 0 0,1 1-1 0 0,0 0 0 0 0,1 1 1 0 0,0 0-1 0 0,21-14 0 0 0,11-4-27 0 0,49-23 0 0 0,-24 15 15 0 0,97-49-97 0 0,-159 82 77 0 0,-4 1 38 0 0,0 0 1 0 0,0 1-1 0 0,0-1 1 0 0,0 1-1 0 0,0-1 1 0 0,0 1-1 0 0,0-1 1 0 0,1 1-1 0 0,-1 0 0 0 0,0 0 1 0 0,0-1-1 0 0,2 1 1 0 0,-2 0-4 0 0,-1 0 0 0 0,0 0 0 0 0,0 0 1 0 0,1 0-1 0 0,-1 0 0 0 0,0 1 0 0 0,0-1 0 0 0,1 0 0 0 0,-1 0 1 0 0,0 0-1 0 0,0 0 0 0 0,0 0 0 0 0,1 0 0 0 0,-1 0 0 0 0,0 0 1 0 0,0 1-1 0 0,0-1 0 0 0,1 0 0 0 0,-1 0 0 0 0,0 0 0 0 0,0 0 1 0 0,0 1-1 0 0,0-1 0 0 0,1 0 0 0 0,-1 0 0 0 0,0 1 0 0 0,0-1 1 0 0,0 0-1 0 0,0 0 0 0 0,0 0 0 0 0,0 1 0 0 0,0-1 1 0 0,0 0-1 0 0,0 0 0 0 0,0 1 0 0 0,0-1 0 0 0,0 0 0 0 0,0 0 1 0 0,0 1-1 0 0,0-1 0 0 0,0 0 0 0 0,0 0 0 0 0,0 1 0 0 0,0-1 1 0 0,0 0-1 0 0,0 1 0 0 0,-6 14 118 0 0,4-10-94 0 0,-1 3 39 0 0,1 0 1 0 0,0 0-1 0 0,0 0 1 0 0,1 0-1 0 0,0 1 1 0 0,0-1-1 0 0,1 0 0 0 0,0 11 1 0 0,1-13 26 0 0,1 0 0 0 0,-1 1 1 0 0,1-1-1 0 0,0 0 0 0 0,1 0 1 0 0,-1 0-1 0 0,1-1 0 0 0,0 1 1 0 0,1-1-1 0 0,-1 1 0 0 0,7 6 1 0 0,-2-4-14 0 0,0 0 0 0 0,1 0 1 0 0,0 0-1 0 0,0-1 0 0 0,1-1 0 0 0,0 0 1 0 0,0 0-1 0 0,0-1 0 0 0,16 6 1 0 0,-22-10-64 0 0,0 1 0 0 0,1-1 0 0 0,-1 0 1 0 0,1 0-1 0 0,0-1 0 0 0,-1 1 1 0 0,1-1-1 0 0,-1 0 0 0 0,1 0 0 0 0,0-1 1 0 0,7-1-1 0 0,-9 1-15 0 0,-1 0 1 0 0,1 0-1 0 0,0-1 0 0 0,0 1 1 0 0,-1-1-1 0 0,1 1 0 0 0,-1-1 1 0 0,0 0-1 0 0,1 0 0 0 0,-1 0 1 0 0,0 0-1 0 0,0 0 0 0 0,0-1 1 0 0,0 1-1 0 0,-1-1 0 0 0,1 1 1 0 0,0-1-1 0 0,-1 0 0 0 0,2-3 1 0 0,-2 2-8 0 0,1 0 0 0 0,-1 0 0 0 0,0 0 0 0 0,0-1 0 0 0,0 1 0 0 0,-1 0 0 0 0,1 0 0 0 0,-1 0 0 0 0,0-1 0 0 0,0 1 1 0 0,-1 0-1 0 0,1 0 0 0 0,-1 0 0 0 0,0-1 0 0 0,-2-6 0 0 0,0 5 9 0 0,0 0 1 0 0,0-1-1 0 0,-1 2 0 0 0,0-1 0 0 0,0 0 0 0 0,0 1 1 0 0,-1-1-1 0 0,-9-7 0 0 0,-4-1-156 0 0,0 0 0 0 0,0 2 0 0 0,-2 0 0 0 0,-38-16 0 0 0,41 19-784 0 0,-34-12-485 0 0,17 14-7152 0 0</inkml:trace>
</inkml:ink>
</file>

<file path=ppt/ink/ink1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2:07.98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1368 0 0,'0'0'1722'0'0,"4"0"-352"0"0,-1 0-1141 0 0,-1 0-1 0 0,1 0 0 0 0,-1 0 0 0 0,1 0 1 0 0,-1 0-1 0 0,1 0 0 0 0,-1 1 0 0 0,1 0 0 0 0,-1-1 1 0 0,1 1-1 0 0,-1 0 0 0 0,0 0 0 0 0,0 0 1 0 0,1 0-1 0 0,-1 1 0 0 0,0-1 0 0 0,0 1 0 0 0,0-1 1 0 0,0 1-1 0 0,-1 0 0 0 0,1 0 0 0 0,0-1 1 0 0,-1 1-1 0 0,1 1 0 0 0,2 3 0 0 0,47 141 5593 0 0,3 9-3682 0 0,-53-154-2103 0 0,0 1 16 0 0,0 0 1 0 0,1-1-1 0 0,-1 1 1 0 0,1-1-1 0 0,-1 1 1 0 0,1-1-1 0 0,2 3 1 0 0,-3-4-68 0 0,0-1-1 0 0,-1 1 1 0 0,1-1 0 0 0,0 1-1 0 0,0-1 1 0 0,0 1 0 0 0,-1-1-1 0 0,1 0 1 0 0,0 0 0 0 0,0 1-1 0 0,0-1 1 0 0,0 0 0 0 0,0 0-1 0 0,0 0 1 0 0,0 0 0 0 0,-1 0-1 0 0,1 0 1 0 0,0 0 0 0 0,0 0 0 0 0,0 0-1 0 0,0 0 1 0 0,0-1 0 0 0,0 1-1 0 0,0 0 1 0 0,-1-1 0 0 0,1 1-1 0 0,0 0 1 0 0,0-1 0 0 0,1 0-1 0 0,16-11-426 0 0,0-1 0 0 0,-2-1-1 0 0,1 0 1 0 0,-2-1-1 0 0,16-18 1 0 0,-30 32 427 0 0,0 0-1 0 0,-1 0 1 0 0,1 0-1 0 0,0 1 1 0 0,-1-1 0 0 0,1 0-1 0 0,0 1 1 0 0,0-1-1 0 0,0 1 1 0 0,0-1 0 0 0,-1 1-1 0 0,1-1 1 0 0,0 1-1 0 0,0 0 1 0 0,0 0 0 0 0,0-1-1 0 0,0 1 1 0 0,0 0-1 0 0,0 0 1 0 0,0 0 0 0 0,0 0-1 0 0,0 0 1 0 0,0 0-1 0 0,0 0 1 0 0,0 0 0 0 0,0 0-1 0 0,0 1 1 0 0,0-1-1 0 0,0 0 1 0 0,0 1-1 0 0,0-1 1 0 0,0 0 0 0 0,0 1-1 0 0,0-1 1 0 0,-1 1-1 0 0,1 0 1 0 0,0-1 0 0 0,0 1-1 0 0,-1 0 1 0 0,2 0-1 0 0,4 6 9 0 0,0-1 0 0 0,0 1-1 0 0,-1 0 1 0 0,4 7 0 0 0,3 3 50 0 0,5 1 661 0 0,0 0 0 0 0,0-2-1 0 0,27 19 1 0 0,-43-34-634 0 0,0 0 0 0 0,1 0 0 0 0,-1 0 0 0 0,1 0 0 0 0,0 0 0 0 0,-1 0 0 0 0,1-1 0 0 0,0 1-1 0 0,-1 0 1 0 0,1-1 0 0 0,0 0 0 0 0,0 1 0 0 0,0-1 0 0 0,-1 0 0 0 0,1 0 0 0 0,0 0 0 0 0,0 0 0 0 0,0 0 0 0 0,-1 0 0 0 0,1-1 0 0 0,0 1 0 0 0,0-1 0 0 0,-1 1 0 0 0,1-1 0 0 0,0 1 0 0 0,-1-1 0 0 0,1 0 0 0 0,0 0 0 0 0,-1 0 0 0 0,1 0 0 0 0,-1 0 0 0 0,0 0 0 0 0,1 0 0 0 0,-1-1 0 0 0,0 1 0 0 0,0 0 0 0 0,0-1 0 0 0,2-2 0 0 0,1-2-23 0 0,0 0 0 0 0,-1-1 1 0 0,1 1-1 0 0,-1-1 0 0 0,-1 0 0 0 0,1 0 0 0 0,-1 0 1 0 0,1-7-1 0 0,-1-1-49 0 0,-1 0 1 0 0,-1 1 0 0 0,0-1-1 0 0,-1 0 1 0 0,0 1-1 0 0,-1-1 1 0 0,-1 1-1 0 0,-1-1 1 0 0,-8-23-1 0 0,8 27-626 0 0,-1 0 0 0 0,-1 1 0 0 0,1-1 0 0 0,-9-9 0 0 0,-3 1-4465 0 0</inkml:trace>
</inkml:ink>
</file>

<file path=ppt/ink/ink1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2:08.49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 976 0 0,'3'0'2880'0'0,"-2"0"-2769"0"0,-1 0 0 0 0,1 0-1 0 0,0 0 1 0 0,-1 0 0 0 0,1 0 0 0 0,0 0 0 0 0,0 0 0 0 0,-1 0 0 0 0,1 0 0 0 0,0 0 0 0 0,-1 0 0 0 0,1 0 0 0 0,0 1 0 0 0,-1-1 0 0 0,1 0 0 0 0,0 0 0 0 0,-1 1 0 0 0,1-1 0 0 0,-1 0-1 0 0,1 1 1 0 0,0-1 0 0 0,-1 1 0 0 0,1-1 0 0 0,0 1 0 0 0,-1 1 129 0 0,1 0-1 0 0,0 0 1 0 0,-1-1-1 0 0,1 1 1 0 0,-1 0-1 0 0,1 0 1 0 0,-1 0-1 0 0,0 0 1 0 0,0 0-1 0 0,0-1 1 0 0,0 4 0 0 0,0 21 686 0 0,1 0 0 0 0,1 0 0 0 0,1 0 0 0 0,1 0 0 0 0,10 32 0 0 0,-10-45-776 0 0,0-1-4 0 0,-1 1 0 0 0,2-1 1 0 0,0 0-1 0 0,0 0 0 0 0,14 21 0 0 0,-16-31-127 0 0,-1 0-1 0 0,1-1 1 0 0,-1 1-1 0 0,1-1 1 0 0,0 1-1 0 0,-1-1 1 0 0,1 0-1 0 0,0 0 1 0 0,0 0-1 0 0,0-1 1 0 0,0 1-1 0 0,0-1 1 0 0,0 1-1 0 0,0-1 1 0 0,0 0 0 0 0,0 0-1 0 0,0-1 1 0 0,0 1-1 0 0,4-1 1 0 0,4-2-73 0 0,-1-1 0 0 0,0 0 0 0 0,0 0 0 0 0,-1-1 0 0 0,1 0 0 0 0,-1-1 0 0 0,16-13 0 0 0,-2 3-202 0 0,-22 15 192 0 0,0 3-34 0 0,0 0 86 0 0,0 0 0 0 0,0 0 0 0 0,0 0 1 0 0,0 0-1 0 0,-1 0 0 0 0,1 0 0 0 0,-1 0 1 0 0,1 0-1 0 0,-1 0 0 0 0,0 0 0 0 0,0 1 1 0 0,0 2-1 0 0,1 11 27 0 0,1-11 80 0 0,0-1 0 0 0,0 1 0 0 0,0-1 0 0 0,0 0 0 0 0,1 0 0 0 0,0 0 0 0 0,0-1 0 0 0,0 1 0 0 0,0-1 0 0 0,0 1 0 0 0,1-1 0 0 0,-1 0-1 0 0,1 0 1 0 0,0 0 0 0 0,0-1 0 0 0,0 0 0 0 0,0 1 0 0 0,1-1 0 0 0,-1-1 0 0 0,0 1 0 0 0,1-1 0 0 0,0 1 0 0 0,8 0 0 0 0,-9-1-29 0 0,1-1 0 0 0,0 1 0 0 0,0-1 0 0 0,-1 0 0 0 0,1 0 0 0 0,0-1 0 0 0,0 0 0 0 0,-1 1 0 0 0,1-1 0 0 0,0-1 0 0 0,-1 1 0 0 0,1-1 0 0 0,-1 0 0 0 0,1 0 0 0 0,-1 0 0 0 0,0 0 0 0 0,0-1 0 0 0,0 0 0 0 0,0 0 0 0 0,-1 0 0 0 0,1 0-1 0 0,-1-1 1 0 0,5-5 0 0 0,-2 0-54 0 0,-1 1-1 0 0,0-1 0 0 0,-1 0 0 0 0,0 0 1 0 0,0 0-1 0 0,-1 0 0 0 0,0-1 0 0 0,-1 0 1 0 0,0 1-1 0 0,-1-1 0 0 0,0 0 0 0 0,0 0 1 0 0,-1 0-1 0 0,0 0 0 0 0,-1 0 0 0 0,0 0 1 0 0,0 1-1 0 0,-1-1 0 0 0,0 0 0 0 0,-1 1 1 0 0,0-1-1 0 0,-1 1 0 0 0,-8-15 0 0 0,7 14-475 0 0,-1 1 0 0 0,-1 0 0 0 0,1 0-1 0 0,-1 1 1 0 0,-1 0 0 0 0,1 0 0 0 0,-2 1-1 0 0,-10-8 1 0 0,-13-13-5385 0 0</inkml:trace>
</inkml:ink>
</file>

<file path=ppt/ink/ink1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2:09.06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2 195 1316 0 0,'6'2'583'0'0,"0"0"0"0"0,-1 0 1 0 0,1 1-1 0 0,-1 0 0 0 0,0 0 0 0 0,0 0 0 0 0,0 0 0 0 0,0 1 0 0 0,0 0 0 0 0,-1 0 1 0 0,0 0-1 0 0,8 10 0 0 0,-6-5-67 0 0,-1 0 0 0 0,0-1 0 0 0,0 2 0 0 0,-1-1 0 0 0,-1 0 1 0 0,1 1-1 0 0,1 11 0 0 0,1 8-1 0 0,-2 0 0 0 0,-2 0 0 0 0,0 0 0 0 0,-4 43 0 0 0,1-54-1084 0 0,-2 30-910 0 0,-6-16-5331 0 0,4-20 2471 0 0</inkml:trace>
  <inkml:trace contextRef="#ctx0" brushRef="#br0" timeOffset="1">56 118 1292 0 0,'-6'-17'1284'0'0,"2"1"-320"0"0,-2 4-192 0 0,2-1-156 0 0,-2 2-92 0 0,2 0-155 0 0,-2 2-73 0 0,2 2 156 0 0,-4-5-300 0 0,0 3-808 0 0</inkml:trace>
</inkml:ink>
</file>

<file path=ppt/ink/ink1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2:09.47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52 7 1112 0 0,'0'0'1142'0'0,"3"0"-259"0"0,4-3 450 0 0,-14 0 706 0 0,5 3-1999 0 0,1 0 1 0 0,-1 0-1 0 0,1 0 1 0 0,-1 0-1 0 0,1 1 1 0 0,-1-1 0 0 0,1 1-1 0 0,-1-1 1 0 0,1 1-1 0 0,-1-1 1 0 0,1 1-1 0 0,0 0 1 0 0,0 0 0 0 0,-1 0-1 0 0,1-1 1 0 0,0 1-1 0 0,0 0 1 0 0,-2 3-1 0 0,-16 20 729 0 0,17-18-617 0 0,0 1-1 0 0,0-1 1 0 0,1 1-1 0 0,0-1 0 0 0,0 1 1 0 0,1-1-1 0 0,0 1 1 0 0,0-1-1 0 0,0 1 1 0 0,1 0-1 0 0,0-1 1 0 0,0 0-1 0 0,1 1 1 0 0,3 8-1 0 0,4 10 342 0 0,2 0-1 0 0,16 29 1 0 0,-11-25-47 0 0,-6-10-196 0 0,-5-11-115 0 0,-1 1 0 0 0,1-1 0 0 0,-1 1 0 0 0,-1 0-1 0 0,0 1 1 0 0,0-1 0 0 0,1 11 0 0 0,-4-18-119 0 0,0 0 0 0 0,0 0 1 0 0,0 0-1 0 0,-1 0 0 0 0,1 0 1 0 0,-1-1-1 0 0,1 1 0 0 0,-1 0 1 0 0,0 0-1 0 0,0 0 0 0 0,0 0 1 0 0,0-1-1 0 0,0 1 0 0 0,0 0 1 0 0,0-1-1 0 0,-1 1 0 0 0,1-1 1 0 0,0 1-1 0 0,-1-1 0 0 0,1 0 1 0 0,-1 1-1 0 0,0-1 0 0 0,1 0 1 0 0,-1 0-1 0 0,0 0 0 0 0,0 0 1 0 0,0-1-1 0 0,0 1 0 0 0,0 0 1 0 0,0-1-1 0 0,-2 1 0 0 0,-3 1 7 0 0,0-1-1 0 0,0 0 1 0 0,1 0-1 0 0,-1 0 1 0 0,0-1-1 0 0,0 0 1 0 0,-11-2-1 0 0,7 0-372 0 0,0-1 0 0 0,1 0 0 0 0,-18-8 0 0 0,25 10-119 0 0,-1 0 1 0 0,1-1-1 0 0,0 1 0 0 0,0-1 1 0 0,0 0-1 0 0,1 0 0 0 0,-1 0 1 0 0,0-1-1 0 0,1 1 0 0 0,-1-1 1 0 0,1 1-1 0 0,0-1 0 0 0,0 0 1 0 0,0 0-1 0 0,-2-5 0 0 0,1-1-2503 0 0</inkml:trace>
  <inkml:trace contextRef="#ctx0" brushRef="#br0" timeOffset="1">272 151 1620 0 0,'3'0'2656'0'0,"10"-3"89"0"0,-9 3-1935 0 0,55 11 2161 0 0,-57-10-2920 0 0,26 6 432 0 0,1-2 0 0 0,29 2 0 0 0,-49-7-440 0 0,0 0-1 0 0,0 0 1 0 0,0-1-1 0 0,0 0 0 0 0,0 0 1 0 0,0-1-1 0 0,0-1 0 0 0,0 1 1 0 0,-1-2-1 0 0,13-5 1 0 0,-20 9-44 0 0,0-1 0 0 0,1 0 1 0 0,-1 0-1 0 0,0 1 1 0 0,1-1-1 0 0,-1 0 1 0 0,0 0-1 0 0,0-1 1 0 0,0 1-1 0 0,0 0 1 0 0,0 0-1 0 0,0 0 1 0 0,0-1-1 0 0,0 1 1 0 0,0 0-1 0 0,-1-1 1 0 0,1 1-1 0 0,-1-1 1 0 0,1 1-1 0 0,-1-1 1 0 0,1 1-1 0 0,-1-1 1 0 0,0 1-1 0 0,0-1 1 0 0,1 0-1 0 0,-1 1 1 0 0,-1-1-1 0 0,1 1 1 0 0,0-1-1 0 0,0 1 1 0 0,0-1-1 0 0,-1 0 1 0 0,0-1-1 0 0,-1 1-2 0 0,1 0-1 0 0,-1 1 0 0 0,0-1 1 0 0,0 1-1 0 0,1 0 0 0 0,-1 0 1 0 0,0 0-1 0 0,0 0 0 0 0,0 0 1 0 0,0 0-1 0 0,-1 0 0 0 0,1 0 1 0 0,-3 0-1 0 0,2 0 4 0 0,-4 0 41 0 0,-1-1 0 0 0,0 1 0 0 0,1 1 0 0 0,-1-1 0 0 0,0 1 0 0 0,0 1 0 0 0,1-1 1 0 0,-1 1-1 0 0,0 1 0 0 0,1-1 0 0 0,-1 1 0 0 0,1 1 0 0 0,0-1 0 0 0,-1 1 0 0 0,-9 6 0 0 0,13-7 70 0 0,-1 1 0 0 0,1 0 0 0 0,0 0-1 0 0,-1 1 1 0 0,1-1 0 0 0,1 1 0 0 0,-1 0-1 0 0,0 0 1 0 0,1 0 0 0 0,-4 7 0 0 0,5-8-37 0 0,0 0-1 0 0,1 1 1 0 0,0-1 0 0 0,0 0 0 0 0,0 1 0 0 0,0-1 0 0 0,0 1 0 0 0,1-1 0 0 0,-1 1-1 0 0,1 0 1 0 0,0-1 0 0 0,0 1 0 0 0,0-1 0 0 0,1 1 0 0 0,-1 0 0 0 0,3 4-1 0 0,0 3 26 0 0,2 0-1 0 0,0-1 0 0 0,0 1 0 0 0,1-1 1 0 0,0 0-1 0 0,0-1 0 0 0,1 0 0 0 0,1 0 0 0 0,-1 0 1 0 0,17 13-1 0 0,-6-7-666 0 0,0-1-1 0 0,1 0 1 0 0,1-2 0 0 0,29 15 0 0 0,-45-25-121 0 0,0-1 1 0 0,0 1-1 0 0,0-1 0 0 0,0 0 1 0 0,0 0-1 0 0,0 0 1 0 0,0 0-1 0 0,0-1 1 0 0,1 0-1 0 0,5 0 1 0 0,4-3-3405 0 0</inkml:trace>
</inkml:ink>
</file>

<file path=ppt/ink/ink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2:22.45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6 159 964 0 0,'-3'-2'685'0'0,"-1"0"-1"0"0,1 0 1 0 0,-1 0-1 0 0,1 0 1 0 0,0 0-1 0 0,0-1 1 0 0,0 1-1 0 0,0-1 1 0 0,0 0-1 0 0,1 0 1 0 0,-1 0-1 0 0,1 0 1 0 0,-3-4-1 0 0,5 6-580 0 0,0 0-1 0 0,-1 0 1 0 0,1 0-1 0 0,0-1 0 0 0,0 1 1 0 0,-1 0-1 0 0,1 0 1 0 0,0 0-1 0 0,0 0 0 0 0,0-1 1 0 0,1 1-1 0 0,-1 0 0 0 0,0 0 1 0 0,0 0-1 0 0,1 0 1 0 0,-1-1-1 0 0,0 1 0 0 0,1-1 1 0 0,1 0-22 0 0,-1 0 1 0 0,1-1-1 0 0,-1 1 1 0 0,1 0 0 0 0,0 0-1 0 0,0 0 1 0 0,0 1-1 0 0,0-1 1 0 0,0 0-1 0 0,5-1 1 0 0,7-5 60 0 0,1 0 0 0 0,0 2 0 0 0,1 0 0 0 0,0 0 1 0 0,0 2-1 0 0,22-4 0 0 0,103-9-1988 0 0,-123 15 1226 0 0,77-5-5261 0 0,-65 5 2206 0 0</inkml:trace>
</inkml:ink>
</file>

<file path=ppt/ink/ink1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2:09.97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652 0 0,'0'0'1708'0'0,"9"12"2475"0"0,-1 84 1620 0 0,3 32-2764 0 0,31 135-1512 0 0,-22-152-9043 0 0</inkml:trace>
</inkml:ink>
</file>

<file path=ppt/ink/ink1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2:10.37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9 104 320 0 0,'-2'-2'2062'0'0,"1"2"-1808"0"0,-12-12 3018 0 0,13 12-3208 0 0,0-1-1 0 0,-1 1 0 0 0,1 0 1 0 0,0-1-1 0 0,0 1 0 0 0,-1-1 0 0 0,1 1 1 0 0,0 0-1 0 0,0-1 0 0 0,0 1 1 0 0,-1-1-1 0 0,1 1 0 0 0,0 0 1 0 0,0-1-1 0 0,0 1 0 0 0,0-1 0 0 0,0 1 1 0 0,0-1-1 0 0,0 1 0 0 0,0 0 1 0 0,0-1-1 0 0,0 1 0 0 0,0-1 0 0 0,0 1 1 0 0,0-1-1 0 0,1 1 0 0 0,-1 0 1 0 0,0-1-1 0 0,0 1 0 0 0,0-1 1 0 0,1 1-1 0 0,-1 0 0 0 0,0-1 0 0 0,0 1 1 0 0,1 0-1 0 0,-1-1 0 0 0,0 1 1 0 0,1 0-1 0 0,-1-1 0 0 0,0 1 1 0 0,1 0-1 0 0,0-1 0 0 0,5-2 168 0 0,1-1 0 0 0,0 1 0 0 0,0 0 0 0 0,0 1 0 0 0,1 0-1 0 0,11-2 1 0 0,52-5 393 0 0,-47 7-466 0 0,-3 0-71 0 0,303-35 3025 0 0,-323 36-3101 0 0,0 1-1 0 0,-1 0 1 0 0,1 0 0 0 0,0 0 0 0 0,0 0 0 0 0,0 0 0 0 0,0 0 0 0 0,0 0-1 0 0,-1 0 1 0 0,1 0 0 0 0,0 0 0 0 0,0 0 0 0 0,0 0 0 0 0,0 1 0 0 0,-1-1-1 0 0,1 0 1 0 0,0 1 0 0 0,0-1 0 0 0,0 0 0 0 0,-1 1 0 0 0,1-1 0 0 0,0 1 0 0 0,-1-1-1 0 0,1 1 1 0 0,0 0 0 0 0,-1-1 0 0 0,1 1 0 0 0,-1 0 0 0 0,1-1 0 0 0,-1 1-1 0 0,1 0 1 0 0,-1 0 0 0 0,0-1 0 0 0,1 1 0 0 0,-1 0 0 0 0,0 0 0 0 0,1 1 0 0 0,-1 3 71 0 0,1-1 0 0 0,-1 1 0 0 0,0 0 0 0 0,-1 0 0 0 0,-1 8 0 0 0,1 8 279 0 0,2-13-232 0 0,1 0-1 0 0,0 0 0 0 0,0-1 0 0 0,1 1 0 0 0,0-1 0 0 0,1 0 0 0 0,0 1 1 0 0,0-2-1 0 0,0 1 0 0 0,1 0 0 0 0,0-1 0 0 0,0 0 0 0 0,1 0 0 0 0,-1 0 1 0 0,1-1-1 0 0,0 0 0 0 0,1 0 0 0 0,7 4 0 0 0,-6-3-62 0 0,0-1 0 0 0,0-1 0 0 0,0 1 0 0 0,1-2 0 0 0,-1 1 0 0 0,1-1 0 0 0,0 0 0 0 0,0-1 0 0 0,0 0 0 0 0,1 0 0 0 0,-1-1 0 0 0,0 0 0 0 0,1-1 0 0 0,-1 0 0 0 0,14-1 0 0 0,-20 0-58 0 0,0 1 1 0 0,0-1 0 0 0,-1 0-1 0 0,1 0 1 0 0,0 0 0 0 0,0 0-1 0 0,-1 0 1 0 0,1-1 0 0 0,0 1-1 0 0,-1-1 1 0 0,1 0 0 0 0,-1 0-1 0 0,0 1 1 0 0,0-2 0 0 0,0 1-1 0 0,0 0 1 0 0,0 0 0 0 0,0-1-1 0 0,0 1 1 0 0,-1-1 0 0 0,1 1-1 0 0,-1-1 1 0 0,0 1 0 0 0,0-1-1 0 0,0 0 1 0 0,0 0 0 0 0,0 0-1 0 0,0 0 1 0 0,-1 0 0 0 0,0 0-1 0 0,1 0 1 0 0,-1-5 0 0 0,-1 2-13 0 0,0 0 0 0 0,0 0 0 0 0,0 1 1 0 0,0-1-1 0 0,-1 0 0 0 0,0 1 0 0 0,0-1 1 0 0,-1 1-1 0 0,1 0 0 0 0,-1-1 0 0 0,0 1 1 0 0,-1 0-1 0 0,1 1 0 0 0,-1-1 0 0 0,-7-6 1 0 0,1 3-266 0 0,0-1 0 0 0,0 2 0 0 0,-1 0 0 0 0,0 0 0 0 0,-1 1 0 0 0,-21-9 0 0 0,22 11-585 0 0,1 1-1 0 0,-1 1 1 0 0,0-1-1 0 0,-16 0 1 0 0,25 3 647 0 0,0 0 1 0 0,0 0-1 0 0,0 0 1 0 0,-1 0 0 0 0,1 1-1 0 0,0-1 1 0 0,0 1 0 0 0,0-1-1 0 0,0 1 1 0 0,1 0 0 0 0,-4 1-1 0 0,-11 3-4822 0 0</inkml:trace>
</inkml:ink>
</file>

<file path=ppt/ink/ink1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2:10.72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8 996 0 0,'1'-2'422'0'0,"-1"0"-1"0"0,1 1 1 0 0,0-1-1 0 0,0 1 1 0 0,0-1-1 0 0,0 1 1 0 0,0-1 0 0 0,0 1-1 0 0,0-1 1 0 0,0 1-1 0 0,1 0 1 0 0,-1 0-1 0 0,0 0 1 0 0,1 0-1 0 0,-1 0 1 0 0,1 0 0 0 0,-1 0-1 0 0,1 0 1 0 0,0 0-1 0 0,-1 1 1 0 0,4-2-1 0 0,-4 3-246 0 0,1-1 0 0 0,0 1 0 0 0,-1 0 0 0 0,1 0 0 0 0,0 0 0 0 0,-1 0-1 0 0,1 0 1 0 0,-1 0 0 0 0,0 0 0 0 0,1 0 0 0 0,-1 0 0 0 0,0 1 0 0 0,0-1 0 0 0,0 0-1 0 0,1 1 1 0 0,-2-1 0 0 0,1 1 0 0 0,0-1 0 0 0,0 1 0 0 0,1 3 0 0 0,55 115 3424 0 0,-43-85-3299 0 0,-1 1 1 0 0,-1 1-1 0 0,7 46 1 0 0,-16-68-628 0 0,-1 1 0 0 0,-2-1 0 0 0,1 1 0 0 0,-3 19 0 0 0,1-27-506 0 0,0 0 1 0 0,-1 0 0 0 0,-5 15 0 0 0,5-19 37 0 0,1 0 0 0 0,-1-1-1 0 0,0 1 1 0 0,0 0 0 0 0,-1-1-1 0 0,1 0 1 0 0,-1 1 0 0 0,-4 3 0 0 0</inkml:trace>
</inkml:ink>
</file>

<file path=ppt/ink/ink1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2:11.29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409 660 0 0,'1'-3'299'0'0,"0"0"0"0"0,0 0-1 0 0,0 0 1 0 0,0 0 0 0 0,0 1 0 0 0,1-1-1 0 0,-1 0 1 0 0,1 1 0 0 0,0-1 0 0 0,0 1-1 0 0,0 0 1 0 0,0-1 0 0 0,0 1 0 0 0,1 0-1 0 0,-1 0 1 0 0,0 0 0 0 0,1 1 0 0 0,0-1-1 0 0,-1 1 1 0 0,1-1 0 0 0,5-1 0 0 0,6-2-88 0 0,1 0 1 0 0,0 1-1 0 0,17-2 1 0 0,-13 2 176 0 0,159-19 409 0 0,-121 18 102 0 0,92-20 0 0 0,-136 21-722 0 0,-18 4-55 0 0,-23 9-61 0 0,14-3 28 0 0,0 1 0 0 0,1 1-1 0 0,0 1 1 0 0,0-1 0 0 0,1 2-1 0 0,-13 12 1 0 0,23-20-27 0 0,-1 1 0 0 0,1-1 0 0 0,-1 1-1 0 0,1 0 1 0 0,0 0 0 0 0,0 0 0 0 0,0 0 0 0 0,1 0 0 0 0,-1 0 0 0 0,1 1-1 0 0,-1-1 1 0 0,1 1 0 0 0,0-1 0 0 0,1 1 0 0 0,-1-1 0 0 0,0 1-1 0 0,1-1 1 0 0,0 1 0 0 0,0 0 0 0 0,0-1 0 0 0,0 1 0 0 0,1-1 0 0 0,-1 1-1 0 0,1 0 1 0 0,0-1 0 0 0,0 1 0 0 0,0-1 0 0 0,1 0 0 0 0,-1 1-1 0 0,1-1 1 0 0,0 0 0 0 0,2 4 0 0 0,-1-3-35 0 0,0-1 1 0 0,0 1-1 0 0,1-1 0 0 0,-1 1 0 0 0,1-1 1 0 0,0 0-1 0 0,-1 0 0 0 0,1-1 1 0 0,1 1-1 0 0,-1-1 0 0 0,0 0 0 0 0,1 0 1 0 0,-1-1-1 0 0,1 1 0 0 0,-1-1 1 0 0,1 0-1 0 0,0 0 0 0 0,-1 0 0 0 0,1-1 1 0 0,0 1-1 0 0,0-1 0 0 0,-1 0 1 0 0,1-1-1 0 0,0 1 0 0 0,0-1 0 0 0,7-2 1 0 0,-2 0-101 0 0,-1 0 0 0 0,1 0 1 0 0,-1-1-1 0 0,0 0 0 0 0,0 0 1 0 0,-1-1-1 0 0,1 0 0 0 0,-1-1 1 0 0,0 0-1 0 0,0 0 0 0 0,13-15 1 0 0,-16 15-12 0 0,1-1 1 0 0,-1 1-1 0 0,-1-1 1 0 0,1-1 0 0 0,-1 1-1 0 0,-1 0 1 0 0,1-1-1 0 0,1-8 1 0 0,-5 16 77 0 0,0 0 0 0 0,0-1 0 0 0,0 1 0 0 0,0-1 0 0 0,0 1 1 0 0,0 0-1 0 0,0-1 0 0 0,0 1 0 0 0,0 0 0 0 0,-1-1 0 0 0,1 1 0 0 0,0 0 0 0 0,0-1 0 0 0,-1 1 1 0 0,1 0-1 0 0,0-1 0 0 0,0 1 0 0 0,-1 0 0 0 0,1 0 0 0 0,0-1 0 0 0,-1 1 0 0 0,1 0 1 0 0,0 0-1 0 0,-1 0 0 0 0,1-1 0 0 0,0 1 0 0 0,-1 0 0 0 0,1 0 0 0 0,0 0 0 0 0,-1 0 0 0 0,1 0 1 0 0,-1 0-1 0 0,1 0 0 0 0,0 0 0 0 0,-1 0 0 0 0,1 0 0 0 0,0 0 0 0 0,-1 0 0 0 0,1 0 0 0 0,-1 0 1 0 0,0 0 11 0 0,0 0 0 0 0,0 0 0 0 0,0 0 0 0 0,1 0 1 0 0,-1 0-1 0 0,0 0 0 0 0,0 0 0 0 0,1 0 1 0 0,-1 1-1 0 0,0-1 0 0 0,0 0 0 0 0,1 1 0 0 0,-1-1 1 0 0,0 0-1 0 0,0 1 0 0 0,1-1 0 0 0,-1 1 1 0 0,1-1-1 0 0,-1 1 0 0 0,-1 0 0 0 0,2 1 48 0 0,-1 0-1 0 0,0 0 0 0 0,1 0 1 0 0,0 0-1 0 0,-1 1 0 0 0,1-1 1 0 0,0 0-1 0 0,0 0 0 0 0,0 0 1 0 0,0 0-1 0 0,1 1 0 0 0,-1-1 0 0 0,0 0 1 0 0,1 0-1 0 0,0 0 0 0 0,-1 0 1 0 0,1 0-1 0 0,0 0 0 0 0,1 2 1 0 0,1 0 28 0 0,-1 0 1 0 0,1-1-1 0 0,0 1 1 0 0,1-1-1 0 0,-1 0 1 0 0,0 0-1 0 0,1 0 0 0 0,7 4 1 0 0,0 0 36 0 0,0-2 0 0 0,0 1 0 0 0,1-2-1 0 0,0 1 1 0 0,0-2 0 0 0,14 4 0 0 0,-14-5-42 0 0,0-1-1 0 0,0 1 0 0 0,0-2 1 0 0,0 0-1 0 0,0 0 0 0 0,0-1 1 0 0,-1-1-1 0 0,1 0 1 0 0,0-1-1 0 0,21-7 0 0 0,-25 6-74 0 0,1 0 0 0 0,-1 0 0 0 0,0-1 0 0 0,-1 0 0 0 0,1 0 0 0 0,-1-1-1 0 0,0 0 1 0 0,-1 0 0 0 0,1-1 0 0 0,-1 1 0 0 0,0-1 0 0 0,-1-1 0 0 0,0 1-1 0 0,8-15 1 0 0,-3 0-122 0 0,-1 1 0 0 0,0-1 0 0 0,-2-1 0 0 0,8-36 0 0 0,-13 49 92 0 0,-1-1 0 0 0,1 1 0 0 0,-2 0 0 0 0,1-1 0 0 0,-2 1 1 0 0,1 0-1 0 0,-1-1 0 0 0,-1 1 0 0 0,0 0 0 0 0,0 0 0 0 0,-1 0 0 0 0,-8-19 0 0 0,8 25 22 0 0,1 0-1 0 0,-1-1 0 0 0,0 1 0 0 0,0 0 1 0 0,-1 0-1 0 0,1 1 0 0 0,-1-1 0 0 0,0 1 1 0 0,0 0-1 0 0,0 0 0 0 0,0 0 0 0 0,-1 0 1 0 0,1 1-1 0 0,-1-1 0 0 0,1 1 0 0 0,-8-2 1 0 0,4 2 27 0 0,1 0 1 0 0,-1 1 0 0 0,1 0 0 0 0,-1 1-1 0 0,0 0 1 0 0,1 0 0 0 0,-1 0 0 0 0,1 1-1 0 0,-1 0 1 0 0,-11 3 0 0 0,10-1 26 0 0,0 0 0 0 0,0 0 0 0 0,0 1 0 0 0,1 0 0 0 0,-1 1 0 0 0,1 0 0 0 0,0 0 0 0 0,-10 10 0 0 0,13-11-13 0 0,0 0 1 0 0,1 1 0 0 0,0 0-1 0 0,0 0 1 0 0,0 0 0 0 0,0 0-1 0 0,1 0 1 0 0,0 1 0 0 0,0 0-1 0 0,1 0 1 0 0,-1-1 0 0 0,-2 12 0 0 0,4-8 26 0 0,0-1 0 0 0,1 1 0 0 0,0 0 0 0 0,0-1 0 0 0,1 1 0 0 0,0 0 0 0 0,1-1 0 0 0,-1 1 0 0 0,2-1 0 0 0,-1 1 0 0 0,1-1 0 0 0,0 0 0 0 0,8 13 0 0 0,1 0-19 0 0,1-1 0 0 0,1 0 0 0 0,29 31 0 0 0,-28-34-659 0 0,1-2 0 0 0,1 0 0 0 0,36 24 0 0 0,-40-31-1363 0 0,0 0 0 0 0,1-1 0 0 0,24 8-1 0 0,-20-9-2929 0 0</inkml:trace>
</inkml:ink>
</file>

<file path=ppt/ink/ink1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2:12.04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2 74 424 0 0,'-6'-27'5795'0'0,"6"26"-5721"0"0,0 1 0 0 0,0 0 0 0 0,0-1 0 0 0,0 1 0 0 0,0 0 0 0 0,0 0 0 0 0,0-1 0 0 0,0 1 0 0 0,0 0 0 0 0,0-1 0 0 0,0 1 0 0 0,-1 0 0 0 0,1 0 0 0 0,0-1 0 0 0,0 1 0 0 0,0 0 0 0 0,0 0 0 0 0,0 0 0 0 0,-1-1 0 0 0,1 1 0 0 0,0 0 0 0 0,0 0 0 0 0,0 0 0 0 0,-1-1-1 0 0,1 1 1 0 0,0 0 0 0 0,0 0 0 0 0,-1 0 0 0 0,1 0 0 0 0,0 0 0 0 0,0 0 0 0 0,-1 0 0 0 0,1-1 0 0 0,0 1 0 0 0,-1 0 0 0 0,-4 6 226 0 0,0 0 0 0 0,0 1 0 0 0,1-1 0 0 0,-1 1 0 0 0,1 0-1 0 0,1 0 1 0 0,0 0 0 0 0,0 0 0 0 0,0 1 0 0 0,1-1 0 0 0,0 1 0 0 0,0 0 0 0 0,1-1 0 0 0,0 1-1 0 0,0 0 1 0 0,1 11 0 0 0,0-11-186 0 0,0 0-1 0 0,0 0 1 0 0,1 0-1 0 0,0 0 0 0 0,1 0 1 0 0,0 0-1 0 0,0-1 1 0 0,1 1-1 0 0,-1-1 1 0 0,2 0-1 0 0,-1 1 1 0 0,1-1-1 0 0,0-1 0 0 0,0 1 1 0 0,1-1-1 0 0,8 9 1 0 0,-11-14-92 0 0,0 1 0 0 0,0-1 1 0 0,0-1-1 0 0,1 1 0 0 0,-1 0 1 0 0,0-1-1 0 0,1 1 0 0 0,-1-1 0 0 0,0 1 1 0 0,1-1-1 0 0,-1 0 0 0 0,1 0 1 0 0,3-1-1 0 0,-5 1-18 0 0,2 0-22 0 0,1-1-1 0 0,-1 1 0 0 0,0-1 0 0 0,0 0 1 0 0,-1 0-1 0 0,1 0 0 0 0,0 0 0 0 0,0-1 1 0 0,0 1-1 0 0,-1-1 0 0 0,1 1 0 0 0,-1-1 0 0 0,1 0 1 0 0,-1 0-1 0 0,0 0 0 0 0,4-4 0 0 0,1-3-132 0 0,0 0-1 0 0,11-18 1 0 0,13-34-416 0 0,-30 60 523 0 0,2 3-77 0 0,0 0 119 0 0,0 0 0 0 0,0 0 0 0 0,0 1 0 0 0,0-1 0 0 0,4 6 0 0 0,2 1 21 0 0,3-1 119 0 0,1 0 0 0 0,0-1-1 0 0,0-1 1 0 0,1 0-1 0 0,-1-1 1 0 0,1 0 0 0 0,23 4-1 0 0,-31-8-37 0 0,-1-1-1 0 0,1 1 0 0 0,-1-1 1 0 0,1 0-1 0 0,-1 0 1 0 0,0-1-1 0 0,1 1 1 0 0,-1-1-1 0 0,1 0 0 0 0,-1-1 1 0 0,0 1-1 0 0,0-1 1 0 0,0 0-1 0 0,0-1 0 0 0,6-2 1 0 0,-9 2-84 0 0,1 1 0 0 0,0 0 0 0 0,-1 0 0 0 0,0-1 0 0 0,1 1 0 0 0,-1-1 0 0 0,0 0 0 0 0,0 0 0 0 0,-1 0 0 0 0,1 0-1 0 0,0 0 1 0 0,-1 0 0 0 0,0 0 0 0 0,0 0 0 0 0,0-1 0 0 0,0 1 0 0 0,0 0 0 0 0,-1-1 0 0 0,0 1 0 0 0,1-1 0 0 0,-1 1 0 0 0,0-1 0 0 0,-1 1 0 0 0,1 0 0 0 0,-1-1 0 0 0,1 1 0 0 0,-1 0 0 0 0,-3-7 0 0 0,1 1-169 0 0,0 0 1 0 0,-1 0 0 0 0,0 0-1 0 0,-1 0 1 0 0,0 1 0 0 0,0 0-1 0 0,-1 0 1 0 0,0 0 0 0 0,-8-7-1 0 0,4 6-1211 0 0,-1 1 1 0 0,-1 0-1 0 0,-24-13 0 0 0,12 7-3461 0 0</inkml:trace>
</inkml:ink>
</file>

<file path=ppt/ink/ink1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2:12.42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1 298 1444 0 0,'3'2'1648'0'0,"2"0"-1028"0"0,-1 0 1 0 0,0 0 0 0 0,0 1 0 0 0,1-1 0 0 0,-2 1 0 0 0,1 0 0 0 0,0 1-1 0 0,0-1 1 0 0,-1 0 0 0 0,0 1 0 0 0,5 6 0 0 0,-3-2-58 0 0,-1 1 0 0 0,1-1 0 0 0,-1 1 0 0 0,0 0 1 0 0,3 13-1 0 0,0 8-563 0 0,-2 0-1 0 0,4 52 1 0 0,-12-51-2534 0 0,-1-16-2577 0 0,1-5 1240 0 0</inkml:trace>
  <inkml:trace contextRef="#ctx0" brushRef="#br0" timeOffset="1">65 162 1124 0 0,'-13'-48'5624'0'0,"9"32"-4068"0"0,0 1 1 0 0,-1 0 0 0 0,-12-25 0 0 0,11 24-822 0 0,3 6-1669 0 0,2 9 885 0 0,1 1-1 0 0,0 0 1 0 0,-1 0-1 0 0,1 0 1 0 0,0 0 0 0 0,-1 0-1 0 0,1-1 1 0 0,0 1-1 0 0,-1 0 1 0 0,1 0 0 0 0,0 0-1 0 0,-1 0 1 0 0,1 0 0 0 0,0 0-1 0 0,-1 0 1 0 0,1 0-1 0 0,0 0 1 0 0,-1 0 0 0 0,1 0-1 0 0,0 0 1 0 0,0 1-1 0 0,-1-1 1 0 0,1 0 0 0 0,0 0-1 0 0,-1 0 1 0 0,1 0 0 0 0,0 0-1 0 0,-1 1 1 0 0,1-1-1 0 0,-1 1-80 0 0,1-1 1 0 0,0 1-1 0 0,0-1 0 0 0,-1 1 0 0 0,1-1 0 0 0,0 1 0 0 0,0-1 0 0 0,0 1 0 0 0,0 0 0 0 0,0-1 1 0 0,0 1-1 0 0,0-1 0 0 0,0 1 0 0 0,0-1 0 0 0,0 1 0 0 0,0 0 0 0 0,0-1 0 0 0,0 1 0 0 0,0-1 1 0 0,0 1-1 0 0,1-1 0 0 0,-1 1 0 0 0,0-1 0 0 0,0 1 0 0 0,1-1 0 0 0,-1 1 0 0 0,1 0 0 0 0,5 9-2415 0 0</inkml:trace>
</inkml:ink>
</file>

<file path=ppt/ink/ink1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2:12.77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84 0 0,'4'1'1888'0'0,"1"0"-1290"0"0,1 0 1 0 0,-1 1 0 0 0,1-1 0 0 0,-1 1-1 0 0,0 1 1 0 0,0-1 0 0 0,0 1 0 0 0,0 0-1 0 0,0 0 1 0 0,-1 0 0 0 0,6 5 0 0 0,-4-2-153 0 0,0 0 0 0 0,-1 1 0 0 0,0-1 1 0 0,0 1-1 0 0,0 0 0 0 0,-1 0 0 0 0,6 13 0 0 0,3 15 335 0 0,-1 0-1 0 0,-1 1 0 0 0,-2 0 0 0 0,7 56 0 0 0,-7 67-6700 0 0,-6-144 1456 0 0</inkml:trace>
</inkml:ink>
</file>

<file path=ppt/ink/ink1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2:13.12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8 1576 0 0,'7'-7'4810'0'0,"-5"6"-4489"0"0,0 4 109 0 0,0 0 1 0 0,-1 1 0 0 0,1-1 0 0 0,-1 0 0 0 0,1 0 0 0 0,-1 1 0 0 0,0-1 0 0 0,0 1 0 0 0,0 5-1 0 0,3 39 1316 0 0,-3-26-1129 0 0,11 204 2657 0 0,-10-74-5951 0 0,-1-140 1542 0 0,2 5-4891 0 0</inkml:trace>
</inkml:ink>
</file>

<file path=ppt/ink/ink1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2:13.54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1 1 180 0 0,'1'2'5387'0'0,"0"7"-4571"0"0,1 1 1 0 0,-1 0-1 0 0,-1 0 0 0 0,-1 19 0 0 0,1 7 282 0 0,19 145 2213 0 0,-2-38-2015 0 0,-16-141-1167 0 0,-1 0 0 0 0,0 0 0 0 0,0 0 0 0 0,0 1 0 0 0,0-1 0 0 0,0 0 0 0 0,0 0 0 0 0,-1 0 0 0 0,1 0 0 0 0,-1 0 0 0 0,-1 4-1 0 0,1-5-106 0 0,1-1 0 0 0,-1 1 0 0 0,1-1 0 0 0,-1 1-1 0 0,1-1 1 0 0,-1 1 0 0 0,1-1 0 0 0,-1 0 0 0 0,0 1-1 0 0,1-1 1 0 0,-1 0 0 0 0,0 0 0 0 0,1 0 0 0 0,-1 1-1 0 0,0-1 1 0 0,1 0 0 0 0,-1 0 0 0 0,0 0 0 0 0,1 0-1 0 0,-1 0 1 0 0,0 0 0 0 0,1 0 0 0 0,-1 0 0 0 0,0 0-1 0 0,0-1 1 0 0,1 1 0 0 0,-1 0 0 0 0,1 0-1 0 0,-2-1 1 0 0,1 0-13 0 0,0 0-1 0 0,0 0 0 0 0,0 0 0 0 0,0-1 1 0 0,0 1-1 0 0,0 0 0 0 0,0 0 0 0 0,0-1 1 0 0,1 1-1 0 0,-1-1 0 0 0,0 1 0 0 0,1 0 1 0 0,-1-1-1 0 0,1 1 0 0 0,0-1 0 0 0,0 1 1 0 0,-1-1-1 0 0,1 0 0 0 0,0 1 0 0 0,0-2 1 0 0,1-5-29 0 0,-1 1 0 0 0,1-1 1 0 0,0 1-1 0 0,0 0 1 0 0,1-1-1 0 0,0 1 0 0 0,1 0 1 0 0,0 0-1 0 0,0 0 1 0 0,0 0-1 0 0,1 1 0 0 0,-1-1 1 0 0,2 1-1 0 0,7-10 1 0 0,-5 8-7 0 0,0 0-1 0 0,1 0 1 0 0,0 1 0 0 0,0 0 0 0 0,0 0 0 0 0,1 1 0 0 0,0 0 0 0 0,0 1 0 0 0,18-8 0 0 0,-20 11 14 0 0,0 0 1 0 0,0 1-1 0 0,0-1 1 0 0,0 2-1 0 0,0-1 0 0 0,0 1 1 0 0,0 0-1 0 0,0 0 1 0 0,0 1-1 0 0,0 0 0 0 0,0 0 1 0 0,0 1-1 0 0,0 0 1 0 0,0 0-1 0 0,-1 1 0 0 0,1-1 1 0 0,-1 2-1 0 0,8 3 1 0 0,-9-4 6 0 0,1 1 1 0 0,-1 0 0 0 0,0 0-1 0 0,0 0 1 0 0,0 0 0 0 0,-1 1-1 0 0,0-1 1 0 0,1 1 0 0 0,-2 1-1 0 0,1-1 1 0 0,0 0 0 0 0,-1 1-1 0 0,0 0 1 0 0,-1-1 0 0 0,1 1-1 0 0,-1 0 1 0 0,0 1 0 0 0,0-1-1 0 0,-1 0 1 0 0,1 9 0 0 0,-2-10 8 0 0,0 1 0 0 0,-1 0 0 0 0,0-1 0 0 0,0 1 0 0 0,0-1 0 0 0,-1 0 0 0 0,0 1 0 0 0,0-1 0 0 0,0 0 0 0 0,-1 0 0 0 0,1 0 0 0 0,-1 0 0 0 0,0 0 0 0 0,-1-1 0 0 0,1 1 1 0 0,-1-1-1 0 0,0 0 0 0 0,0 0 0 0 0,0-1 0 0 0,-1 1 0 0 0,1-1 0 0 0,-8 5 0 0 0,-4 1 26 0 0,0 0 1 0 0,-1-1-1 0 0,1-1 1 0 0,-1 0-1 0 0,-29 6 1 0 0,22-8-232 0 0,0-2 1 0 0,-1 0-1 0 0,-40-2 1 0 0,64-1 153 0 0,-3 0-423 0 0,1-1 0 0 0,-1 1 0 0 0,1-1 0 0 0,-1 0 0 0 0,1 0-1 0 0,-6-3 1 0 0,3 2-448 0 0,5 2 747 0 0,1 0-1 0 0,-1 0 0 0 0,1-1 0 0 0</inkml:trace>
</inkml:ink>
</file>

<file path=ppt/ink/ink1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2:13.92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64 32 0 0,'3'0'3423'0'0,"2"0"-2859"0"0,-1 1 0 0 0,0-1 0 0 0,1 1 0 0 0,-1 0-1 0 0,1 1 1 0 0,-1-1 0 0 0,0 1 0 0 0,0 0 0 0 0,0 0 0 0 0,0 0 0 0 0,7 5 0 0 0,24 12 284 0 0,-27-16-739 0 0,0 0 0 0 0,0-1 0 0 0,1 0 0 0 0,-1 0 0 0 0,1-1-1 0 0,0 0 1 0 0,-1-1 0 0 0,18-1 0 0 0,-23 1-102 0 0,-1 0-1 0 0,1 0 1 0 0,-1 0 0 0 0,1-1-1 0 0,-1 0 1 0 0,1 1 0 0 0,-1-1-1 0 0,0 0 1 0 0,1 0 0 0 0,-1 0 0 0 0,0 0-1 0 0,0-1 1 0 0,1 1 0 0 0,-1-1-1 0 0,0 1 1 0 0,0-1 0 0 0,-1 0 0 0 0,1 1-1 0 0,0-1 1 0 0,-1 0 0 0 0,1 0-1 0 0,-1-1 1 0 0,1 1 0 0 0,-1 0-1 0 0,0 0 1 0 0,0-1 0 0 0,0 1 0 0 0,0 0-1 0 0,-1-1 1 0 0,1 1 0 0 0,-1-1-1 0 0,1 1 1 0 0,-1-1 0 0 0,0-4-1 0 0,0 5 16 0 0,0-1-1 0 0,0 1 0 0 0,-1-1 1 0 0,1 1-1 0 0,-1 0 0 0 0,1-1 0 0 0,-1 1 1 0 0,0 0-1 0 0,0 0 0 0 0,0-1 1 0 0,0 1-1 0 0,0 0 0 0 0,-1 0 0 0 0,1 0 1 0 0,-1 0-1 0 0,1 1 0 0 0,-1-1 1 0 0,0 0-1 0 0,0 1 0 0 0,0-1 0 0 0,1 1 1 0 0,-2-1-1 0 0,1 1 0 0 0,0 0 1 0 0,0 0-1 0 0,0 0 0 0 0,0 0 0 0 0,-1 0 1 0 0,1 1-1 0 0,0-1 0 0 0,-1 1 1 0 0,1-1-1 0 0,-4 1 0 0 0,-2-1 93 0 0,-1 0-1 0 0,1 1 1 0 0,0 0 0 0 0,0 1 0 0 0,-1 0-1 0 0,1 0 1 0 0,0 0 0 0 0,-13 5-1 0 0,18-5-67 0 0,0 0-1 0 0,0 0 0 0 0,0 1 1 0 0,0-1-1 0 0,0 1 0 0 0,0-1 1 0 0,0 1-1 0 0,1 0 0 0 0,-1 0 1 0 0,1 0-1 0 0,-1 1 0 0 0,1-1 0 0 0,0 1 1 0 0,0-1-1 0 0,0 1 0 0 0,0 0 1 0 0,0-1-1 0 0,0 1 0 0 0,1 0 1 0 0,-1 0-1 0 0,1 0 0 0 0,0 0 1 0 0,0 1-1 0 0,0-1 0 0 0,1 0 1 0 0,-1 4-1 0 0,1-1 0 0 0,0 0 1 0 0,1-1-1 0 0,0 1 1 0 0,0-1-1 0 0,0 0 1 0 0,0 1-1 0 0,1-1 1 0 0,0 0-1 0 0,0 1 1 0 0,1-1-1 0 0,-1-1 0 0 0,1 1 1 0 0,0 0-1 0 0,7 7 1 0 0,3 4-300 0 0,0-1 1 0 0,2-1-1 0 0,-1 0 0 0 0,2-1 1 0 0,19 13-1 0 0,-24-19-1139 0 0,1 0 1 0 0,0-1-1 0 0,0-1 1 0 0,1 0-1 0 0,15 4 1 0 0,-12-4-2264 0 0</inkml:trace>
</inkml:ink>
</file>

<file path=ppt/ink/ink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2:22.83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2 322 304 0 0,'2'8'2789'0'0,"-2"-3"-1296"0"0,1-1-1 0 0,0 1 0 0 0,0-1 0 0 0,1 0 0 0 0,2 8 0 0 0,-3-10-993 0 0,14 2 305 0 0,-7-3-669 0 0,0 0 1 0 0,0-1-1 0 0,0 0 1 0 0,0 0 0 0 0,0-1-1 0 0,1 0 1 0 0,9-3-1 0 0,-12 3-98 0 0,1 0-13 0 0,0-1-1 0 0,0 0 1 0 0,0 0 0 0 0,0 0 0 0 0,0-1-1 0 0,-1 0 1 0 0,1-1 0 0 0,-1 1-1 0 0,0-1 1 0 0,0-1 0 0 0,0 1-1 0 0,0-1 1 0 0,-1 0 0 0 0,0 0 0 0 0,0 0-1 0 0,0-1 1 0 0,0 0 0 0 0,-1 0-1 0 0,0 0 1 0 0,-1 0 0 0 0,1-1 0 0 0,2-7-1 0 0,-3 5-20 0 0,0-1 1 0 0,-1 1-1 0 0,0-1 0 0 0,0 1 0 0 0,-1-1 0 0 0,-1 0 0 0 0,1 0 0 0 0,-1 1 1 0 0,-1-1-1 0 0,0 0 0 0 0,0 0 0 0 0,-1 1 0 0 0,-1-1 0 0 0,1 1 0 0 0,-1 0 1 0 0,-5-10-1 0 0,3 9-25 0 0,0 0 1 0 0,0 1-1 0 0,-10-15 1 0 0,12 21 13 0 0,0 0 1 0 0,0 0-1 0 0,0 0 1 0 0,0 0 0 0 0,0 0-1 0 0,-1 0 1 0 0,1 1 0 0 0,-1 0-1 0 0,0 0 1 0 0,-8-4-1 0 0,11 6 8 0 0,0 0 0 0 0,0 0 0 0 0,0-1 0 0 0,0 1 0 0 0,0 0 1 0 0,-1 0-1 0 0,1 0 0 0 0,0 0 0 0 0,0 1 0 0 0,0-1 0 0 0,0 0 0 0 0,-1 0 0 0 0,1 1 0 0 0,0-1 0 0 0,0 1 0 0 0,0-1 0 0 0,0 1 0 0 0,0-1 0 0 0,0 1 0 0 0,0 0 0 0 0,0-1 0 0 0,0 1 0 0 0,0 0 0 0 0,0 0 0 0 0,1 0 0 0 0,-1-1 0 0 0,0 1 0 0 0,1 0 0 0 0,-1 0 0 0 0,0 0 0 0 0,1 0 0 0 0,-1 0 0 0 0,0 3 0 0 0,-1 0 1 0 0,0 1 0 0 0,0 0-1 0 0,1 0 1 0 0,-1 1 0 0 0,0 7 0 0 0,1 5-22 0 0,0-1 0 0 0,2 1 1 0 0,0-1-1 0 0,5 29 1 0 0,23 69 35 0 0,-9-41 121 0 0,-16-56-86 0 0,7 27 158 0 0,9 76 0 0 0,-19-106-22 0 0,-1 0 1 0 0,0 0-1 0 0,-1-1 1 0 0,0 1-1 0 0,-1 0 0 0 0,-1-1 1 0 0,0 0-1 0 0,-1 1 1 0 0,-9 19-1 0 0,10-28-51 0 0,0 0 0 0 0,-1 1-1 0 0,0-1 1 0 0,0-1 0 0 0,0 1 0 0 0,-1 0 0 0 0,0-1 0 0 0,0 0 0 0 0,0 0-1 0 0,-1-1 1 0 0,0 0 0 0 0,0 1 0 0 0,0-2 0 0 0,0 1 0 0 0,0-1-1 0 0,-1 0 1 0 0,1 0 0 0 0,-1-1 0 0 0,-13 3 0 0 0,17-4-105 0 0,0-1 0 0 0,0 0 1 0 0,1 1-1 0 0,-1-1 0 0 0,0-1 1 0 0,0 1-1 0 0,0 0 0 0 0,1-1 1 0 0,-1 1-1 0 0,0-1 0 0 0,0 0 1 0 0,1 0-1 0 0,-1 0 0 0 0,1 0 1 0 0,-1 0-1 0 0,1-1 0 0 0,-4-2 1 0 0,4 2-46 0 0,0 0 0 0 0,0 0 0 0 0,1 0 0 0 0,-1 0 0 0 0,1 0 0 0 0,0-1 0 0 0,-1 1 0 0 0,1 0 1 0 0,0-1-1 0 0,0 1 0 0 0,1-1 0 0 0,-1 0 0 0 0,0 1 0 0 0,1-1 0 0 0,-1-2 0 0 0,1-5-293 0 0,0 1 0 0 0,1 0-1 0 0,0-1 1 0 0,0 1 0 0 0,1 0-1 0 0,0 0 1 0 0,1 0 0 0 0,5-14-1 0 0,4 0-1454 0 0,0 0-1 0 0,1 2 1 0 0,1-1-1 0 0,1 2 1 0 0,22-24-1 0 0,-14 21-2765 0 0</inkml:trace>
</inkml:ink>
</file>

<file path=ppt/ink/ink1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2:14.32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30 45 296 0 0,'0'-2'323'0'0,"1"1"0"0"0,-1-1 0 0 0,0 0 0 0 0,0 1 0 0 0,1-1 0 0 0,-1 1 0 0 0,-1-1 0 0 0,1 1 0 0 0,0-1 0 0 0,0 0 0 0 0,0 1 0 0 0,-1-1 1 0 0,1 1-1 0 0,-1-1 0 0 0,1 1 0 0 0,-2-2 0 0 0,1 2-166 0 0,0 0 0 0 0,-1 0 0 0 0,1 1 0 0 0,0-1 0 0 0,0 0 0 0 0,-1 1 0 0 0,1-1 0 0 0,-1 1 0 0 0,1 0 0 0 0,-1-1 1 0 0,1 1-1 0 0,-1 0 0 0 0,1 0 0 0 0,0 0 0 0 0,-1 0 0 0 0,1 0 0 0 0,-1 0 0 0 0,-2 1 0 0 0,-6 1 72 0 0,0 0 0 0 0,0 0 1 0 0,1 1-1 0 0,-1 0 0 0 0,1 1 0 0 0,0 0 0 0 0,0 1 0 0 0,0 0 1 0 0,0 0-1 0 0,1 1 0 0 0,0 0 0 0 0,0 1 0 0 0,0-1 0 0 0,1 2 1 0 0,0-1-1 0 0,1 1 0 0 0,0 0 0 0 0,0 0 0 0 0,0 0 0 0 0,-7 18 1 0 0,9-19-106 0 0,1 0 1 0 0,0 1 0 0 0,0-1-1 0 0,1 1 1 0 0,0 0 0 0 0,1 0 0 0 0,0 0-1 0 0,0 0 1 0 0,0 0 0 0 0,1 0 0 0 0,2 16-1 0 0,-1-18-64 0 0,1 1-1 0 0,0-1 1 0 0,0 0-1 0 0,0 0 1 0 0,1 0-1 0 0,-1 0 1 0 0,2 0-1 0 0,-1-1 1 0 0,1 1-1 0 0,-1-1 1 0 0,1 0-1 0 0,1 0 1 0 0,-1 0-1 0 0,1 0 1 0 0,0-1-1 0 0,6 5 1 0 0,-4-4-40 0 0,1-1 0 0 0,-1 0 0 0 0,1 0 0 0 0,0 0 1 0 0,0-1-1 0 0,0 0 0 0 0,1 0 0 0 0,-1-1 0 0 0,0 0 0 0 0,1-1 0 0 0,0 0 0 0 0,-1 0 1 0 0,1-1-1 0 0,0 0 0 0 0,-1 0 0 0 0,1-1 0 0 0,-1 0 0 0 0,1-1 0 0 0,-1 0 1 0 0,1 0-1 0 0,-1-1 0 0 0,0 0 0 0 0,10-5 0 0 0,-10 4-21 0 0,-1 0 1 0 0,0 0-1 0 0,0-1 0 0 0,-1 0 0 0 0,0 0 0 0 0,0 0 1 0 0,0-1-1 0 0,0 0 0 0 0,-1 0 0 0 0,0 0 0 0 0,0-1 1 0 0,0 1-1 0 0,-1-1 0 0 0,0 0 0 0 0,-1-1 0 0 0,1 1 1 0 0,-1-1-1 0 0,-1 1 0 0 0,0-1 0 0 0,0 0 0 0 0,0 0 1 0 0,-1 0-1 0 0,0 0 0 0 0,0-16 0 0 0,-2 16 13 0 0,-1 0-1 0 0,1 0 1 0 0,-1-1-1 0 0,-1 2 1 0 0,1-1-1 0 0,-1 0 1 0 0,-1 0-1 0 0,0 1 1 0 0,0 0-1 0 0,0 0 1 0 0,-1 0-1 0 0,0 0 1 0 0,0 1 0 0 0,0 0-1 0 0,-1 0 1 0 0,0 0-1 0 0,-9-6 1 0 0,7 6-328 0 0,0 0 0 0 0,-1 0 0 0 0,1 1 0 0 0,-1 0 0 0 0,0 1 0 0 0,-1 0 0 0 0,1 0 0 0 0,-1 1 0 0 0,0 0 0 0 0,0 1 0 0 0,0 0 0 0 0,0 0 0 0 0,-18 1 0 0 0,-25 5-5192 0 0,25 0 1080 0 0</inkml:trace>
</inkml:ink>
</file>

<file path=ppt/ink/ink1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3:13.35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8 82 616 0 0,'-2'-1'6545'0'0,"-24"-4"3610"0"0,28 4-9783 0 0,1-1-302 0 0,0 0 1 0 0,0 0 0 0 0,0 0 0 0 0,1 1 0 0 0,-1 0-1 0 0,0-1 1 0 0,1 1 0 0 0,-1 0 0 0 0,7 0 0 0 0,40-5 127 0 0,-33 5-130 0 0,202-16 401 0 0,-24 3-1070 0 0,-67 0-3158 0 0,-106 7-1095 0 0</inkml:trace>
</inkml:ink>
</file>

<file path=ppt/ink/ink1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3:14.67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 34 956 0 0,'0'-2'1723'0'0,"0"-2"-1208"0"0,-3-23 7391 0 0,8 40-7638 0 0,19 96 2317 0 0,-1-3-1972 0 0,-1-19-193 0 0,-10-37-2413 0 0,26 67 1 0 0,-37-114 1015 0 0,1-27-6643 0 0</inkml:trace>
</inkml:ink>
</file>

<file path=ppt/ink/ink1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3:15.03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 191 224 0 0,'-4'-58'5663'0'0,"16"62"-4515"0"0,-7 1-903 0 0,0-1-1 0 0,0 1 1 0 0,-1 0 0 0 0,1 0 0 0 0,-1 0 0 0 0,0 1 0 0 0,3 6 0 0 0,7 8 143 0 0,56 65 1049 0 0,119 110 1 0 0,-186-192-1267 0 0,0-1-1 0 0,0 1 0 0 0,0 0 1 0 0,1-1-1 0 0,0 0 0 0 0,-1 0 1 0 0,1 0-1 0 0,0 0 1 0 0,0-1-1 0 0,0 1 0 0 0,5 0 1 0 0,-7-1-115 0 0,-1-1 1 0 0,1 0 0 0 0,0 0-1 0 0,0 0 1 0 0,0 0-1 0 0,0 0 1 0 0,-1 0-1 0 0,1-1 1 0 0,0 1-1 0 0,0-1 1 0 0,-1 1 0 0 0,1-1-1 0 0,0 1 1 0 0,-1-1-1 0 0,1 0 1 0 0,0 0-1 0 0,-1 0 1 0 0,1 0 0 0 0,-1 0-1 0 0,1 0 1 0 0,-1 0-1 0 0,0-1 1 0 0,0 1-1 0 0,1 0 1 0 0,-1-1-1 0 0,0 1 1 0 0,0-1 0 0 0,1-2-1 0 0,3-6 43 0 0,-1-1-1 0 0,0 0 1 0 0,0 1 0 0 0,-1-1-1 0 0,-1-1 1 0 0,0 1 0 0 0,0 0-1 0 0,0-22 1 0 0,-3-8 228 0 0,-6-43 0 0 0,6 80-307 0 0,-2-24 139 0 0,-1 1-1 0 0,-12-37 1 0 0,12 52-641 0 0,0 1-1 0 0,0-1 1 0 0,-1 1 0 0 0,-1 0 0 0 0,0 0-1 0 0,-1 1 1 0 0,-11-15 0 0 0,-4 10-7196 0 0,20 15 7109 0 0</inkml:trace>
</inkml:ink>
</file>

<file path=ppt/ink/ink1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3:15.52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4 1 820 0 0,'3'2'383'0'0,"-1"0"-1"0"0,0 1 1 0 0,0-1-1 0 0,0 0 0 0 0,0 1 1 0 0,0 0-1 0 0,-1-1 1 0 0,1 1-1 0 0,-1 0 1 0 0,1 0-1 0 0,-1 0 1 0 0,0 0-1 0 0,0 0 1 0 0,-1 0-1 0 0,1 0 1 0 0,-1 0-1 0 0,1 0 1 0 0,-1 4-1 0 0,0 9 540 0 0,-1-1-1 0 0,-4 26 0 0 0,0 2 252 0 0,4-26-934 0 0,1-1 0 0 0,1 0 0 0 0,1 1 0 0 0,0-1 0 0 0,1 0 0 0 0,1 0 0 0 0,0 0 0 0 0,1-1 0 0 0,1 1 0 0 0,0-1 0 0 0,1 0 0 0 0,1-1 0 0 0,0 0 0 0 0,1 0 0 0 0,1-1 0 0 0,0 0 0 0 0,19 19-1 0 0,-26-29-107 0 0,1 1 0 0 0,0-1 0 0 0,0-1 0 0 0,0 1 0 0 0,0 0-1 0 0,0-1 1 0 0,1 0 0 0 0,6 3 0 0 0,-10-5-120 0 0,0 1 0 0 0,0-1 1 0 0,0 0-1 0 0,0 0 0 0 0,0 1 1 0 0,1-1-1 0 0,-1 0 0 0 0,0 0 0 0 0,0 0 1 0 0,0 0-1 0 0,0-1 0 0 0,0 1 1 0 0,0 0-1 0 0,0 0 0 0 0,1-1 0 0 0,-1 1 1 0 0,0 0-1 0 0,0-1 0 0 0,0 1 1 0 0,0-1-1 0 0,0 0 0 0 0,-1 1 0 0 0,1-1 1 0 0,0 0-1 0 0,0 1 0 0 0,0-1 1 0 0,0 0-1 0 0,-1 0 0 0 0,1 0 0 0 0,0 0 1 0 0,-1 0-1 0 0,1 0 0 0 0,-1 0 1 0 0,1 0-1 0 0,-1 0 0 0 0,1 0 1 0 0,-1 0-1 0 0,0 0 0 0 0,1 0 0 0 0,-1 0 1 0 0,0-2-1 0 0,1-7 4 0 0,1-1 0 0 0,-2 1 0 0 0,0 0 0 0 0,0-1 0 0 0,-1 1 0 0 0,0 0 0 0 0,-1 0 0 0 0,0 0 0 0 0,-4-12 1 0 0,0 2-13 0 0,-1 0 1 0 0,-2 1 0 0 0,-14-27-1 0 0,16 34-354 0 0,0 0 0 0 0,-1 1 0 0 0,0 0 0 0 0,-1 0 0 0 0,0 0 0 0 0,-1 2 0 0 0,0-1-1 0 0,-1 1 1 0 0,0 0 0 0 0,0 1 0 0 0,-1 0 0 0 0,-20-9 0 0 0,26 15-392 0 0,0 0 0 0 0,0 1 0 0 0,0 0 0 0 0,-8-1 1 0 0,11 2-291 0 0</inkml:trace>
</inkml:ink>
</file>

<file path=ppt/ink/ink1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3:15.91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 820 0 0,'4'-1'1655'0'0,"0"1"-1056"0"0,0-1-1 0 0,0 1 1 0 0,0 0 0 0 0,0 0 0 0 0,0 0-1 0 0,0 1 1 0 0,7 1 0 0 0,-10-1-486 0 0,0-1-1 0 0,1 1 1 0 0,-1 0 0 0 0,0-1-1 0 0,0 1 1 0 0,0 0 0 0 0,0 0-1 0 0,0 0 1 0 0,0 0 0 0 0,0 0-1 0 0,0 0 1 0 0,0 0 0 0 0,-1 1-1 0 0,1-1 1 0 0,0 0 0 0 0,-1 0-1 0 0,1 0 1 0 0,-1 1 0 0 0,1-1-1 0 0,-1 0 1 0 0,0 1 0 0 0,1-1-1 0 0,-1 1 1 0 0,0-1 0 0 0,0 0-1 0 0,0 3 1 0 0,1 14 335 0 0,1 0 1 0 0,1 0 0 0 0,0 0-1 0 0,2-1 1 0 0,0 0-1 0 0,10 24 1 0 0,-11-33-394 0 0,0 1 1 0 0,1-1-1 0 0,0 0 0 0 0,1 0 1 0 0,0 0-1 0 0,0 0 1 0 0,1-1-1 0 0,-1 0 1 0 0,2-1-1 0 0,-1 0 0 0 0,1 0 1 0 0,0 0-1 0 0,12 6 1 0 0,-14-9-69 0 0,-1-1 0 0 0,1 0 0 0 0,0 0 0 0 0,0-1 0 0 0,-1 1 0 0 0,1-1 0 0 0,0-1 0 0 0,0 1 0 0 0,0-1 1 0 0,0 0-1 0 0,9-1 0 0 0,2-1-203 0 0,0-2 1 0 0,24-7-1 0 0,-39 10 156 0 0,1 1 2 0 0,-1-1 37 0 0,0 1 0 0 0,1 0 0 0 0,-1 0 0 0 0,0 0 0 0 0,0 0 0 0 0,1 0 0 0 0,-1 0 0 0 0,0 1 0 0 0,3 0 0 0 0,-3 0-1 0 0,10 9-13 0 0,-1-7 352 0 0,-1 0 0 0 0,1-1 0 0 0,0 0 0 0 0,0-1-1 0 0,-1 0 1 0 0,1-1 0 0 0,0 0 0 0 0,18-2 0 0 0,-26 1-251 0 0,1 1-1 0 0,-1-1 1 0 0,0 0 0 0 0,0 0-1 0 0,0-1 1 0 0,0 1 0 0 0,0 0 0 0 0,0-1-1 0 0,0 0 1 0 0,0 0 0 0 0,-1 0-1 0 0,1 0 1 0 0,-1 0 0 0 0,1 0-1 0 0,-1-1 1 0 0,0 1 0 0 0,0-1-1 0 0,0 0 1 0 0,0 1 0 0 0,-1-1-1 0 0,1 0 1 0 0,-1 0 0 0 0,1 0-1 0 0,-1 0 1 0 0,0 0 0 0 0,0-1-1 0 0,-1 1 1 0 0,1 0 0 0 0,0 0-1 0 0,-1-1 1 0 0,0 1 0 0 0,0 0-1 0 0,0-4 1 0 0,-1-7-31 0 0,1 1 0 0 0,-2-1 1 0 0,0 1-1 0 0,0-1 0 0 0,-1 1 0 0 0,-9-24 0 0 0,9 32-246 0 0,1 0-1 0 0,0 1 0 0 0,-1-1 1 0 0,0 1-1 0 0,0-1 1 0 0,-1 1-1 0 0,1 0 1 0 0,-1 0-1 0 0,-5-4 0 0 0,6 6-157 0 0,0 0 1 0 0,0 0-1 0 0,0 0 0 0 0,0 0 0 0 0,0 1 0 0 0,-1 0 0 0 0,1-1 0 0 0,0 1 0 0 0,-1 1 0 0 0,1-1 0 0 0,-1 0 0 0 0,0 1 0 0 0,1 0 0 0 0,-1-1 0 0 0,-4 2 0 0 0,3-1-227 0 0,-3 0-166 0 0,-4 2-2480 0 0,-7 1-102 0 0</inkml:trace>
</inkml:ink>
</file>

<file path=ppt/ink/ink1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3:16.38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77 7 1516 0 0,'-4'-2'320'0'0,"0"1"-1"0"0,-1 0 1 0 0,1 0 0 0 0,-1 0-1 0 0,1 1 1 0 0,-1-1 0 0 0,1 1-1 0 0,-1 0 1 0 0,1 1 0 0 0,-1-1-1 0 0,1 1 1 0 0,-1-1-1 0 0,1 1 1 0 0,0 1 0 0 0,-1-1-1 0 0,1 1 1 0 0,-7 3 0 0 0,-5 3 184 0 0,0 0 0 0 0,0 1 0 0 0,-16 13 0 0 0,21-14-299 0 0,1 0 1 0 0,0 1-1 0 0,0 0 1 0 0,0 0-1 0 0,2 1 1 0 0,-1 1-1 0 0,1-1 1 0 0,-10 19-1 0 0,15-24-138 0 0,1 1 1 0 0,0 0-1 0 0,-1 0 0 0 0,2 0 1 0 0,-1 0-1 0 0,1 0 0 0 0,0 0 1 0 0,0 0-1 0 0,0 0 0 0 0,1 1 1 0 0,0-1-1 0 0,0 0 0 0 0,1 1 1 0 0,0-1-1 0 0,0 0 0 0 0,0 0 1 0 0,1 0-1 0 0,0 0 0 0 0,0 0 1 0 0,4 7-1 0 0,0-3-10 0 0,0 0-1 0 0,1-1 1 0 0,0 1-1 0 0,0-1 1 0 0,1-1-1 0 0,0 0 1 0 0,1 0 0 0 0,0 0-1 0 0,0-1 1 0 0,14 7-1 0 0,-6-3 10 0 0,0-2-1 0 0,1 0 1 0 0,0-1-1 0 0,1-1 0 0 0,24 6 1 0 0,-35-11-11 0 0,0-1 0 0 0,0 1 0 0 0,0-1 1 0 0,1-1-1 0 0,-1 1 0 0 0,0-2 0 0 0,0 1 0 0 0,0-1 0 0 0,1 0 0 0 0,-1-1 1 0 0,0 1-1 0 0,9-5 0 0 0,-13 4-36 0 0,0 1 0 0 0,0-2 0 0 0,-1 1 1 0 0,1 0-1 0 0,0-1 0 0 0,-1 0 0 0 0,0 0 0 0 0,1 0 0 0 0,-1 0 1 0 0,0 0-1 0 0,-1-1 0 0 0,1 1 0 0 0,0-1 0 0 0,-1 0 0 0 0,0 0 0 0 0,0 0 1 0 0,0 0-1 0 0,-1 0 0 0 0,1 0 0 0 0,-1 0 0 0 0,0-1 0 0 0,0 1 1 0 0,1-9-1 0 0,-2 5-11 0 0,0 0 1 0 0,-1 0 0 0 0,1 0-1 0 0,-1 0 1 0 0,-1 0 0 0 0,0 0-1 0 0,0 0 1 0 0,0 0 0 0 0,-1 1 0 0 0,0-1-1 0 0,-1 1 1 0 0,0 0 0 0 0,0 0-1 0 0,0 0 1 0 0,-7-7 0 0 0,-9-10-1145 0 0,-1 1 1 0 0,-37-32 0 0 0,54 51 794 0 0,1 1-619 0 0,0 0 0 0 0,0 0 0 0 0,0-1 0 0 0,0 0 1 0 0,0 1-1 0 0,-2-6 0 0 0</inkml:trace>
</inkml:ink>
</file>

<file path=ppt/ink/ink1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3:16.83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 1244 0 0,'3'-1'1258'0'0,"-1"1"-1074"0"0,-1 0 1 0 0,0-1 0 0 0,0 1 0 0 0,1 0 0 0 0,-1 0 0 0 0,0-1 0 0 0,1 1 0 0 0,-1 0 0 0 0,0 0-1 0 0,1 1 1 0 0,-1-1 0 0 0,0 0 0 0 0,1 0 0 0 0,-1 1 0 0 0,0-1 0 0 0,1 1 0 0 0,-1-1 0 0 0,0 1-1 0 0,0-1 1 0 0,0 1 0 0 0,1 0 0 0 0,0 1 0 0 0,0 0 38 0 0,0 0-1 0 0,0 1 1 0 0,0-1 0 0 0,-1 0 0 0 0,1 1-1 0 0,-1-1 1 0 0,1 1 0 0 0,-1 0 0 0 0,0-1-1 0 0,1 5 1 0 0,1 7 433 0 0,0 1 1 0 0,-1 0-1 0 0,0 20 1 0 0,-2-31-445 0 0,3 237 3963 0 0,-4-164-1853 0 0,1-75-1292 0 0,7-3-1058 0 0,0 0 0 0 0,0-1 0 0 0,0-1 0 0 0,0 1-1 0 0,0-1 1 0 0,-1 0 0 0 0,0-1 0 0 0,1 1 0 0 0,5-6 0 0 0,14-6-149 0 0,-10 8 81 0 0,0 0 0 0 0,0 1 0 0 0,0 0 0 0 0,1 2 1 0 0,33-6-1 0 0,-43 9 55 0 0,-1 0 0 0 0,1 1 0 0 0,0-1 0 0 0,0 2 0 0 0,-1-1 0 0 0,1 1 0 0 0,0 0 0 0 0,-1 0 0 0 0,1 0 1 0 0,-1 1-1 0 0,1 0 0 0 0,-1 1 0 0 0,0-1 0 0 0,0 1 0 0 0,0 1 0 0 0,0-1 0 0 0,-1 1 0 0 0,8 6 0 0 0,-11-9 37 0 0,-1 0-1 0 0,0 1 1 0 0,1-1-1 0 0,-1 1 1 0 0,0 0 0 0 0,0-1-1 0 0,0 1 1 0 0,0 0-1 0 0,0-1 1 0 0,0 1-1 0 0,-1 0 1 0 0,1 0-1 0 0,0 0 1 0 0,-1 0 0 0 0,0 0-1 0 0,1 0 1 0 0,-1 0-1 0 0,0 0 1 0 0,0 0-1 0 0,0 2 1 0 0,-1-1 4 0 0,0 0 1 0 0,0 1-1 0 0,0-1 1 0 0,0 0-1 0 0,0 0 1 0 0,-1 0-1 0 0,0-1 1 0 0,1 1-1 0 0,-1 0 1 0 0,0 0-1 0 0,-3 2 1 0 0,-3 3 14 0 0,1-1 1 0 0,-2 0-1 0 0,1 0 1 0 0,-1-1-1 0 0,0 0 1 0 0,-14 6 0 0 0,0-1-2 0 0,0-2 1 0 0,-1-1 0 0 0,-35 8-1 0 0,45-13-730 0 0,0-1-1 0 0,-1 0 1 0 0,-26-2-1 0 0,37 0 359 0 0,1 0 0 0 0,0 0-1 0 0,-1 0 1 0 0,1-1 0 0 0,0 0 0 0 0,-1 0-1 0 0,1 0 1 0 0,0 0 0 0 0,0 0 0 0 0,0 0 0 0 0,-4-3-1 0 0,-4-7-4442 0 0</inkml:trace>
</inkml:ink>
</file>

<file path=ppt/ink/ink1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3:17.19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52 84 816 0 0,'8'-9'1413'0'0,"0"0"1"0"0,0-1-1 0 0,-2 1 0 0 0,11-18 1 0 0,-17 26-1379 0 0,1 1 0 0 0,-1 0 0 0 0,0-1 0 0 0,0 1 0 0 0,1-1 0 0 0,-1 1 1 0 0,0-1-1 0 0,0 1 0 0 0,1-1 0 0 0,-1 1 0 0 0,0 0 0 0 0,0-1 0 0 0,0 1 0 0 0,0-1 0 0 0,0 1 1 0 0,0-1-1 0 0,0 1 0 0 0,0-1 0 0 0,0 1 0 0 0,0-1 0 0 0,0 1 0 0 0,0-1 0 0 0,0 1 1 0 0,0-1-1 0 0,0 1 0 0 0,-1-1 0 0 0,1 1 0 0 0,0-1 0 0 0,0 1 0 0 0,0-1 0 0 0,-1 1 0 0 0,1 0 1 0 0,0-1-1 0 0,-1 1 0 0 0,1 0 0 0 0,0-1 0 0 0,-1 1 0 0 0,1 0 0 0 0,-1-1 0 0 0,1 1 1 0 0,0 0-1 0 0,-1-1 0 0 0,1 1 0 0 0,-1 0 0 0 0,0 0 0 0 0,-16-1 715 0 0,16 2-712 0 0,0 0 0 0 0,0 0 0 0 0,0 1 0 0 0,0-1 0 0 0,0 0 1 0 0,0 0-1 0 0,0 1 0 0 0,1-1 0 0 0,-1 1 0 0 0,0-1 0 0 0,1 1 0 0 0,-1-1 0 0 0,1 1 0 0 0,0-1 0 0 0,-1 3 0 0 0,1 0 5 0 0,-1 1 0 0 0,2-1 0 0 0,-1 0 0 0 0,0 0 0 0 0,1 0 0 0 0,0 0 0 0 0,-1 0 0 0 0,2 0 0 0 0,-1-1 0 0 0,0 1 0 0 0,1 0 0 0 0,2 4 0 0 0,28 45 480 0 0,-26-45-408 0 0,22 31 369 0 0,-11-16-222 0 0,15 28 0 0 0,-28-45-210 0 0,-1 0 0 0 0,0 1 0 0 0,0 0 0 0 0,0 0 1 0 0,-1 0-1 0 0,0 0 0 0 0,-1 0 0 0 0,1 0 0 0 0,-1 11 0 0 0,-1-15-37 0 0,0 0-1 0 0,0-1 1 0 0,0 1-1 0 0,-1 0 0 0 0,0-1 1 0 0,1 1-1 0 0,-1-1 1 0 0,0 1-1 0 0,0 0 1 0 0,0-1-1 0 0,0 0 1 0 0,-1 1-1 0 0,1-1 1 0 0,-1 0-1 0 0,1 0 0 0 0,-1 1 1 0 0,0-1-1 0 0,0-1 1 0 0,0 1-1 0 0,0 0 1 0 0,0 0-1 0 0,0-1 1 0 0,-1 1-1 0 0,1-1 0 0 0,-1 0 1 0 0,1 0-1 0 0,-1 1 1 0 0,1-2-1 0 0,-1 1 1 0 0,1 0-1 0 0,-1 0 1 0 0,-3-1-1 0 0,0 1-62 0 0,1 0 0 0 0,0-1 0 0 0,-1 0 0 0 0,1 0 0 0 0,0 0 0 0 0,-1-1 1 0 0,1 1-1 0 0,0-1 0 0 0,-1-1 0 0 0,1 1 0 0 0,0-1 0 0 0,0 0 0 0 0,0 0 0 0 0,0 0 0 0 0,-8-6 0 0 0,7 2-107 0 0,0 0 1 0 0,0 0-1 0 0,0 0 0 0 0,1-1 0 0 0,0 0 1 0 0,-5-9-1 0 0,-16-20-467 0 0,25 35 629 0 0,0 0 0 0 0,0 0-1 0 0,0 1 1 0 0,0-1 0 0 0,0 1 0 0 0,0-1 0 0 0,0 1 0 0 0,0-1 0 0 0,0 1 0 0 0,0 0 0 0 0,-1-1 0 0 0,1 1-1 0 0,0 0 1 0 0,0 0 0 0 0,0 0 0 0 0,0 0 0 0 0,0 0 0 0 0,-1 0 0 0 0,1 0 0 0 0,0 0 0 0 0,0 0 0 0 0,0 1 0 0 0,0-1-1 0 0,0 0 1 0 0,0 1 0 0 0,0-1 0 0 0,-2 1 0 0 0,-24 15 111 0 0,25-14-118 0 0,-1 0-10 0 0,0 0-1 0 0,1 0 1 0 0,-1 1-1 0 0,0 0 1 0 0,1-1-1 0 0,0 1 1 0 0,-1 0-1 0 0,1 0 1 0 0,0 0-1 0 0,1 0 1 0 0,-1 1-1 0 0,0-1 1 0 0,1 0-1 0 0,0 1 1 0 0,0-1-1 0 0,0 1 1 0 0,0 0-1 0 0,0 4 1 0 0,1-5-222 0 0,0 0-1 0 0,0-1 1 0 0,0 1 0 0 0,0 0-1 0 0,1 0 1 0 0,-1-1 0 0 0,1 1-1 0 0,0 0 1 0 0,0-1 0 0 0,0 1-1 0 0,0-1 1 0 0,0 1 0 0 0,1-1-1 0 0,-1 0 1 0 0,3 4 0 0 0,9 3-2592 0 0,-10-8 2191 0 0</inkml:trace>
</inkml:ink>
</file>

<file path=ppt/ink/ink1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3:17.52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73 1508 0 0,'27'-10'1894'0'0,"-1"-2"0"0"0,43-24 1 0 0,-57 29-1563 0 0,-1-1 1 0 0,0 0-1 0 0,0 0 0 0 0,-1-1 1 0 0,0-1-1 0 0,-1 0 1 0 0,14-18-1 0 0,-22 27-303 0 0,-1 0-1 0 0,1 1 1 0 0,-1-1 0 0 0,1 0-1 0 0,-1 1 1 0 0,1-1-1 0 0,-1 0 1 0 0,0 0 0 0 0,1 1-1 0 0,-1-1 1 0 0,0 0 0 0 0,0 0-1 0 0,1 1 1 0 0,-1-1-1 0 0,0 0 1 0 0,0 0 0 0 0,0 0-1 0 0,0 0 1 0 0,0 1-1 0 0,0-1 1 0 0,0 0 0 0 0,-1 0-1 0 0,1-1 1 0 0,-1 1-8 0 0,1 1 1 0 0,-1-1-1 0 0,0 1 1 0 0,1-1-1 0 0,-1 1 1 0 0,0-1-1 0 0,1 1 1 0 0,-1-1-1 0 0,0 1 1 0 0,0 0-1 0 0,1-1 1 0 0,-1 1-1 0 0,0 0 1 0 0,0 0-1 0 0,0 0 1 0 0,0 0-1 0 0,1 0 1 0 0,-3 0-1 0 0,-3 0 31 0 0,1 0 0 0 0,-1 1 0 0 0,0-1 0 0 0,1 1 0 0 0,-10 4-1 0 0,8-3-25 0 0,0 1 0 0 0,1 1 0 0 0,0-1 0 0 0,0 1 0 0 0,0 0 0 0 0,0 1-1 0 0,0-1 1 0 0,1 1 0 0 0,0 0 0 0 0,0 0 0 0 0,0 1 0 0 0,1-1 0 0 0,0 1-1 0 0,0 0 1 0 0,-5 12 0 0 0,7-15-23 0 0,1 1 0 0 0,-1-1 0 0 0,1 1 0 0 0,0-1 0 0 0,0 1 0 0 0,1-1-1 0 0,-1 1 1 0 0,1 0 0 0 0,0 0 0 0 0,0-1 0 0 0,0 1 0 0 0,0 0 0 0 0,1-1 0 0 0,-1 1 0 0 0,1 0 0 0 0,0-1-1 0 0,0 1 1 0 0,0 0 0 0 0,1-1 0 0 0,-1 0 0 0 0,1 1 0 0 0,0-1 0 0 0,0 0 0 0 0,0 0 0 0 0,0 0 0 0 0,0 0 0 0 0,1 0-1 0 0,0-1 1 0 0,-1 1 0 0 0,1-1 0 0 0,5 4 0 0 0,-6-4-260 0 0,0-1-1 0 0,1 1 1 0 0,-1-1 0 0 0,0 0-1 0 0,1 0 1 0 0,-1 0 0 0 0,1 0-1 0 0,-1 0 1 0 0,1 0 0 0 0,-1-1-1 0 0,1 1 1 0 0,-1-1-1 0 0,1 0 1 0 0,0 1 0 0 0,-1-1-1 0 0,1-1 1 0 0,-1 1 0 0 0,1 0-1 0 0,0-1 1 0 0,-1 1 0 0 0,1-1-1 0 0,-1 0 1 0 0,1 1 0 0 0,3-3-1 0 0,4-5-2667 0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05:33.88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5 40 1308 0 0,'0'-39'6806'0'0,"0"41"-6474"0"0,-5 16 194 0 0,2 1 0 0 0,0 0 1 0 0,1 0-1 0 0,1 0 0 0 0,1 0 0 0 0,2 21 0 0 0,23 116 964 0 0,-24-151-1463 0 0,5 21 40 0 0,-3-12 869 0 0,0 0-1 0 0,1 20 1 0 0,-4-32-538 0 0,-2-14 323 0 0,-7-57-1073 0 0,4-1 1 0 0,3-76-1 0 0,2 104 120 0 0,0 39 185 0 0,3 5-51 0 0,-1 0 95 0 0,0 0 0 0 0,0-1 1 0 0,0 1-1 0 0,0 1 0 0 0,0-1 0 0 0,-1 0 0 0 0,4 5 0 0 0,1 1 15 0 0,7 5 40 0 0,2 1 0 0 0,-1-2 0 0 0,2 0 0 0 0,0 0 0 0 0,0-2 0 0 0,1 0 0 0 0,0-1 0 0 0,1 0 0 0 0,0-2 0 0 0,21 7 0 0 0,-34-13-49 0 0,0-1-1 0 0,1 1 1 0 0,-1-1-1 0 0,0 0 1 0 0,1-1-1 0 0,-1 1 1 0 0,0-1-1 0 0,0 0 1 0 0,0 0-1 0 0,1-1 1 0 0,-1 1-1 0 0,0-1 1 0 0,-1 0-1 0 0,1-1 1 0 0,0 1-1 0 0,-1-1 1 0 0,7-4-1 0 0,3-4 143 0 0,0 0 0 0 0,-1 0 0 0 0,21-26-1 0 0,-32 35-87 0 0,15-14 68 0 0,-17 15-121 0 0,0 1-1 0 0,1 0 0 0 0,-1 0 0 0 0,1-1 1 0 0,-1 1-1 0 0,0 0 0 0 0,1 0 0 0 0,-1 0 1 0 0,1-1-1 0 0,-1 1 0 0 0,1 0 0 0 0,-1 0 1 0 0,1 0-1 0 0,-1 0 0 0 0,1 0 0 0 0,-1 0 1 0 0,0 0-1 0 0,1 0 0 0 0,-1 0 0 0 0,1 0 1 0 0,-1 0-1 0 0,1 0 0 0 0,-1 1 0 0 0,1-1 1 0 0,-1 0-1 0 0,0 0 0 0 0,1 0 0 0 0,-1 1 1 0 0,1-1-1 0 0,-1 0 0 0 0,0 0 0 0 0,1 1 1 0 0,-1-1-1 0 0,0 0 0 0 0,1 1 0 0 0,-1-1 1 0 0,0 0-1 0 0,1 1 0 0 0,-1 0 0 0 0,1 1 12 0 0,0 1-1 0 0,0-1 1 0 0,-1 1-1 0 0,1 0 1 0 0,-1-1 0 0 0,0 1-1 0 0,0 0 1 0 0,0-1-1 0 0,0 1 1 0 0,0 0-1 0 0,-1 0 1 0 0,1-1-1 0 0,-2 4 1 0 0,0 12 57 0 0,1 60 30 0 0,-1-23-531 0 0,3-1-1 0 0,12 87 1 0 0,-12-136 186 0 0,0-1 0 0 0,0 1 1 0 0,1-1-1 0 0,0 1 1 0 0,0-1-1 0 0,0 0 1 0 0,3 5-1 0 0,-4-8-42 0 0,0 1-1 0 0,0-1 0 0 0,0 0 0 0 0,0 1 1 0 0,0-1-1 0 0,0 0 0 0 0,0 0 0 0 0,1 0 1 0 0,-1 0-1 0 0,0 0 0 0 0,1 0 1 0 0,-1 0-1 0 0,1 0 0 0 0,-1-1 0 0 0,1 1 1 0 0,-1-1-1 0 0,1 1 0 0 0,-1-1 0 0 0,1 1 1 0 0,0-1-1 0 0,-1 0 0 0 0,1 0 1 0 0,0 0-1 0 0,-1 0 0 0 0,1 0 0 0 0,3 0 1 0 0,21-6-4450 0 0</inkml:trace>
</inkml:ink>
</file>

<file path=ppt/ink/ink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2:23.19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97 92 1020 0 0,'13'-6'1797'0'0,"0"-1"-1"0"0,-1-1 1 0 0,0 0-1 0 0,0-1 1 0 0,18-17-1 0 0,-24 11-1116 0 0,-6 15-663 0 0,0-1 1 0 0,0 1-1 0 0,0 0 0 0 0,0-1 1 0 0,0 1-1 0 0,0-1 0 0 0,0 1 1 0 0,1 0-1 0 0,-1-1 1 0 0,0 1-1 0 0,0 0 0 0 0,0-1 1 0 0,-1 1-1 0 0,1-1 0 0 0,0 1 1 0 0,0 0-1 0 0,0-1 0 0 0,0 1 1 0 0,0 0-1 0 0,0-1 0 0 0,0 1 1 0 0,-1 0-1 0 0,1-1 0 0 0,0 1 1 0 0,0 0-1 0 0,0-1 1 0 0,-1 1-1 0 0,1 0 0 0 0,0 0 1 0 0,0-1-1 0 0,-1 1 0 0 0,1 0 1 0 0,0 0-1 0 0,-1 0 0 0 0,1-1 1 0 0,0 1-1 0 0,-1 0 0 0 0,1 0 1 0 0,0 0-1 0 0,-1 0 1 0 0,-7 1 103 0 0,0 0 0 0 0,0 1 0 0 0,1 0 0 0 0,-1 0 0 0 0,1 0 0 0 0,-1 1 0 0 0,1 1 0 0 0,0-1 0 0 0,0 1 0 0 0,1 0 0 0 0,-1 1 0 0 0,1 0 0 0 0,-7 6 0 0 0,-9 9 330 0 0,0 1 0 0 0,-22 28 0 0 0,33-35-201 0 0,0 1 0 0 0,0 0-1 0 0,1 0 1 0 0,1 1 0 0 0,1 0-1 0 0,0 1 1 0 0,-8 26 0 0 0,13-34-135 0 0,1 0 0 0 0,0 0 1 0 0,1 0-1 0 0,0-1 0 0 0,1 1 1 0 0,-1 0-1 0 0,2 0 0 0 0,-1 0 1 0 0,1 0-1 0 0,1 0 0 0 0,-1 0 1 0 0,2 0-1 0 0,-1-1 0 0 0,1 1 1 0 0,0-1-1 0 0,1 1 1 0 0,5 8-1 0 0,-2-6-56 0 0,0-1 0 0 0,1 1-1 0 0,1-1 1 0 0,-1-1 0 0 0,1 0 0 0 0,1 0 0 0 0,0 0-1 0 0,0-1 1 0 0,1-1 0 0 0,-1 0 0 0 0,2 0 0 0 0,-1-1 0 0 0,1-1-1 0 0,0 0 1 0 0,0 0 0 0 0,19 4 0 0 0,32 6-5918 0 0</inkml:trace>
</inkml:ink>
</file>

<file path=ppt/ink/ink2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3:20.21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24 1008 0 0,'2'0'214'0'0,"0"-1"-1"0"0,0 1 1 0 0,0 0 0 0 0,0 0-1 0 0,-1 0 1 0 0,1 0 0 0 0,0 0-1 0 0,0 1 1 0 0,0-1 0 0 0,0 1-1 0 0,0-1 1 0 0,-1 1 0 0 0,1-1-1 0 0,0 1 1 0 0,0 0 0 0 0,-1 0-1 0 0,1 0 1 0 0,-1 0 0 0 0,1 0-1 0 0,-1 0 1 0 0,1 0 0 0 0,-1 1-1 0 0,1-1 1 0 0,-1 0 0 0 0,2 4-1 0 0,5 4 473 0 0,0 1-1 0 0,10 18 0 0 0,1 4 179 0 0,-2 0-1 0 0,14 40 0 0 0,-23-50-546 0 0,-1-1 1 0 0,-1 1 0 0 0,-1 0-1 0 0,4 40 1 0 0,-9-57-250 0 0,0 0-1 0 0,-1 0 1 0 0,1 0 0 0 0,-1 0-1 0 0,0 0 1 0 0,0 0-1 0 0,-1 0 1 0 0,1 0 0 0 0,-1-1-1 0 0,-3 7 1 0 0,4-10-43 0 0,1 0-1 0 0,-1 0 1 0 0,0 0 0 0 0,0 0 0 0 0,0 0 0 0 0,1 0-1 0 0,-1 0 1 0 0,0 0 0 0 0,0 0 0 0 0,-1 0 0 0 0,1 0-1 0 0,0-1 1 0 0,0 1 0 0 0,0 0 0 0 0,0-1 0 0 0,-1 1-1 0 0,1-1 1 0 0,-2 1 0 0 0,2-1-16 0 0,-1 0-1 0 0,0 0 1 0 0,0-1 0 0 0,1 1 0 0 0,-1 0-1 0 0,0-1 1 0 0,1 1 0 0 0,-1-1 0 0 0,1 1-1 0 0,-1-1 1 0 0,0 0 0 0 0,1 0 0 0 0,-1 1-1 0 0,1-1 1 0 0,0 0 0 0 0,-1 0-1 0 0,1-1 1 0 0,-2-1 0 0 0,-2-2-11 0 0,0-1 0 0 0,0 0-1 0 0,0 0 1 0 0,1-1 0 0 0,0 1 0 0 0,0-1-1 0 0,1 0 1 0 0,0 0 0 0 0,0 0 0 0 0,1-1 0 0 0,0 1-1 0 0,0-1 1 0 0,0 1 0 0 0,1-1 0 0 0,0 0 0 0 0,1 1-1 0 0,0-1 1 0 0,0 0 0 0 0,2-13 0 0 0,-1 11-4 0 0,1 0 0 0 0,0 0 0 0 0,1 0 0 0 0,0 0 0 0 0,0 1 0 0 0,1-1 0 0 0,0 1 0 0 0,0 0 0 0 0,1 0 0 0 0,1 0 0 0 0,-1 1 0 0 0,1 0 0 0 0,1 0 0 0 0,12-12 0 0 0,6 2-26 0 0,1 1 1 0 0,1 1-1 0 0,0 1 0 0 0,1 1 1 0 0,34-11-1 0 0,2-2 441 0 0,-52 21 115 0 0,0 0-1 0 0,17-13 0 0 0,-28 18-443 0 0,2 0-50 0 0,6-2-32 0 0,-5 3-11 0 0,-3 2 12 0 0,1-1 0 0 0,-1 1 1 0 0,1 0-1 0 0,-1 0 0 0 0,0 0 0 0 0,0 0 0 0 0,1 0 1 0 0,-1 0-1 0 0,-1 0 0 0 0,1 0 0 0 0,0 1 0 0 0,0-1 1 0 0,-1 0-1 0 0,0 0 0 0 0,1 1 0 0 0,-1-1 0 0 0,0 0 0 0 0,0 5 1 0 0,0 4-10 0 0,5 28 36 0 0,0 2-58 0 0,14 55 0 0 0,-16-84 90 0 0,1-1 1 0 0,-1-1-1 0 0,2 1 0 0 0,0-1 0 0 0,0 1 1 0 0,0-1-1 0 0,2-1 0 0 0,-1 1 0 0 0,15 15 1 0 0,-20-23 1 0 0,1-1 1 0 0,0 1 0 0 0,0 0 0 0 0,0-1 0 0 0,0 0-1 0 0,0 1 1 0 0,0-1 0 0 0,0 0 0 0 0,1 0 0 0 0,-1 0 0 0 0,0 0-1 0 0,1 0 1 0 0,-1-1 0 0 0,0 1 0 0 0,1-1 0 0 0,-1 1-1 0 0,1-1 1 0 0,-1 0 0 0 0,1 0 0 0 0,4-1 0 0 0,-3 0-14 0 0,1 0 1 0 0,-1-1 0 0 0,1 1-1 0 0,-1-1 1 0 0,0 0 0 0 0,0-1-1 0 0,0 1 1 0 0,0-1 0 0 0,0 1-1 0 0,5-6 1 0 0,1-2 26 0 0,0-1 1 0 0,0-1-1 0 0,-1 1 0 0 0,0-1 1 0 0,-1-1-1 0 0,7-13 1 0 0,16-39-480 0 0,-4-1-1 0 0,29-97 1 0 0,-56 162 37 0 0,0 0 0 0 0,0 0 1 0 0,0 0-1 0 0,1 0 0 0 0,-1 0 0 0 0,0 0 0 0 0,1 0 0 0 0,-1 0 0 0 0,0 0 0 0 0,1 0 0 0 0,-1 1 0 0 0,6-7-2207 0 0,10 18-3876 0 0</inkml:trace>
</inkml:ink>
</file>

<file path=ppt/ink/ink2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3:20.58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9 117 1012 0 0,'3'0'1402'0'0,"51"-4"6711"0"0,-46 3-8113 0 0,-5 1 662 0 0,15 0-296 0 0,-3-3-191 0 0,-9 2-98 0 0,-1-1 0 0 0,0 1 0 0 0,0-1 0 0 0,0 0 0 0 0,0 0 0 0 0,0-1 0 0 0,0 1 0 0 0,0-1 0 0 0,-1 0 0 0 0,0-1 0 0 0,6-3 0 0 0,-9 5-68 0 0,1 1 0 0 0,-1-1 0 0 0,1 0 0 0 0,-1 1 0 0 0,0-1 0 0 0,0 0 1 0 0,0 0-1 0 0,0 0 0 0 0,0 0 0 0 0,0 0 0 0 0,0 0 0 0 0,0 0 0 0 0,-1 0 0 0 0,1-1 1 0 0,-1 1-1 0 0,0 0 0 0 0,0 0 0 0 0,0 0 0 0 0,0-1 0 0 0,0 1 0 0 0,0 0 0 0 0,0 0 1 0 0,-1 0-1 0 0,1-1 0 0 0,-1 1 0 0 0,1 0 0 0 0,-2-2 0 0 0,1 2-4 0 0,0 1-1 0 0,0 0 0 0 0,0 0 0 0 0,-1 0 1 0 0,1 0-1 0 0,0 0 0 0 0,-1 0 1 0 0,1 0-1 0 0,0 0 0 0 0,-1 0 1 0 0,1 0-1 0 0,-1 1 0 0 0,1-1 1 0 0,-1 1-1 0 0,0-1 0 0 0,1 1 1 0 0,-1-1-1 0 0,0 1 0 0 0,-2 0 1 0 0,-30-2 39 0 0,20 3-8 0 0,1 1 1 0 0,0 0 0 0 0,0 1-1 0 0,0 0 1 0 0,0 1-1 0 0,-21 10 1 0 0,28-12 11 0 0,1 0 0 0 0,0 1 1 0 0,1 0-1 0 0,-1 0 0 0 0,0 0 1 0 0,1 0-1 0 0,0 1 0 0 0,0 0 1 0 0,0 0-1 0 0,0 0 0 0 0,0 0 1 0 0,1 0-1 0 0,0 1 0 0 0,0-1 1 0 0,0 1-1 0 0,1 0 0 0 0,-1 0 1 0 0,-2 11-1 0 0,4-12-9 0 0,1 0-1 0 0,0 0 1 0 0,0 1-1 0 0,0-1 1 0 0,1 0-1 0 0,0 0 1 0 0,-1 0-1 0 0,1 0 1 0 0,1 0-1 0 0,-1 0 1 0 0,1 0-1 0 0,-1 0 1 0 0,1 0 0 0 0,0-1-1 0 0,1 1 1 0 0,-1-1-1 0 0,1 1 1 0 0,-1-1-1 0 0,1 0 1 0 0,0 0-1 0 0,7 5 1 0 0,6 6 19 0 0,0-1 1 0 0,2-1-1 0 0,18 9 1 0 0,-29-17-43 0 0,30 17-2586 0 0,66 24-1 0 0,-85-41-814 0 0,-14-4 2436 0 0</inkml:trace>
</inkml:ink>
</file>

<file path=ppt/ink/ink2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3:20.96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8 40 1936 0 0,'-4'-40'7804'0'0,"-2"68"-5155"0"0,2 9-1701 0 0,1-1 0 0 0,3 59 0 0 0,14 73-443 0 0,-2-46-1450 0 0,-10-96 136 0 0,2 33-1393 0 0,-4-55 1630 0 0,0 1 0 0 0,-1-1 0 0 0,1 1 0 0 0,-1-1 0 0 0,0 1 0 0 0,0-1 0 0 0,-1 0 0 0 0,1 0 0 0 0,-1 1 0 0 0,-3 4 0 0 0,-4 1-2514 0 0</inkml:trace>
</inkml:ink>
</file>

<file path=ppt/ink/ink2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3:21.57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0 164 2056 0 0,'-12'-18'1519'0'0,"6"10"-694"0"0,0 0 1 0 0,1 0-1 0 0,0 0 0 0 0,0 0 0 0 0,-6-18 1 0 0,11 25-794 0 0,0 0 0 0 0,0 0-1 0 0,0 0 1 0 0,0 0 0 0 0,0 0 0 0 0,1 0 0 0 0,-1 0 0 0 0,0 0 0 0 0,0 0 0 0 0,1 0 0 0 0,-1 0-1 0 0,1 0 1 0 0,-1 0 0 0 0,1 0 0 0 0,-1 0 0 0 0,1 0 0 0 0,-1 0 0 0 0,1 0 0 0 0,0 0 0 0 0,0 0-1 0 0,-1 1 1 0 0,1-1 0 0 0,0 0 0 0 0,0 1 0 0 0,0-1 0 0 0,0 0 0 0 0,0 1 0 0 0,0-1 0 0 0,0 1-1 0 0,0 0 1 0 0,1-1 0 0 0,36-10 256 0 0,-34 10-239 0 0,31-4 271 0 0,58-1-1 0 0,-38 3-146 0 0,23-2 59 0 0,181-15 1240 0 0,-255 19-1417 0 0,-1 1 0 0 0,1 0 0 0 0,0 0-1 0 0,-1 0 1 0 0,1 0 0 0 0,-1 0 0 0 0,1 1-1 0 0,-1 0 1 0 0,1 0 0 0 0,-1 0 0 0 0,1 0-1 0 0,-1 0 1 0 0,1 1 0 0 0,-1-1 0 0 0,0 1-1 0 0,0 0 1 0 0,0 0 0 0 0,0 0 0 0 0,0 1-1 0 0,-1-1 1 0 0,1 0 0 0 0,3 5 0 0 0,-2-1 92 0 0,0 1 0 0 0,0 0 1 0 0,-1 0-1 0 0,0 0 0 0 0,0 0 1 0 0,0 0-1 0 0,-1 1 0 0 0,0-1 0 0 0,0 10 1 0 0,2 14 553 0 0,-1 0-1 0 0,-2 0 1 0 0,-1 0 0 0 0,-8 56 0 0 0,9-87-647 0 0,-1 1 0 0 0,0-1 1 0 0,0 1-1 0 0,0-1 0 0 0,0 0 0 0 0,0 1 0 0 0,0-1 1 0 0,-1 1-1 0 0,1-1 0 0 0,0 0 0 0 0,0 1 0 0 0,0-1 1 0 0,0 1-1 0 0,0-1 0 0 0,-1 0 0 0 0,1 1 0 0 0,0-1 1 0 0,0 1-1 0 0,0-1 0 0 0,-1 0 0 0 0,1 1 0 0 0,0-1 1 0 0,-1 0-1 0 0,1 0 0 0 0,0 1 0 0 0,-1-1 0 0 0,1 0 1 0 0,0 0-1 0 0,-1 1 0 0 0,-7-5 586 0 0,7 3-814 0 0,1 0 164 0 0,0 0 0 0 0,-1 0 0 0 0,1 0 0 0 0,0 0 0 0 0,0 0 0 0 0,0-1 0 0 0,0 1 0 0 0,0 0 0 0 0,0 0 0 0 0,0 0 0 0 0,0 0 0 0 0,1 0 0 0 0,-1 0-1 0 0,0 0 1 0 0,1 0 0 0 0,-1 0 0 0 0,1-1 0 0 0,-1 2-1 0 0,3-8-48 0 0,-1 0 0 0 0,2 1 0 0 0,-1 0 0 0 0,1-1 0 0 0,0 1 0 0 0,1 1 0 0 0,-1-1 0 0 0,1 1 0 0 0,0-1 0 0 0,1 1 0 0 0,0 1 0 0 0,0-1 0 0 0,11-7-1 0 0,-14 11 47 0 0,1 1 0 0 0,-1-1-1 0 0,0 1 1 0 0,0 0 0 0 0,0 0-1 0 0,1 0 1 0 0,-1 1 0 0 0,0-1-1 0 0,1 1 1 0 0,-1 0 0 0 0,0 0-1 0 0,1 0 1 0 0,-1 0 0 0 0,1 0-1 0 0,-1 1 1 0 0,0 0 0 0 0,1-1-1 0 0,-1 1 1 0 0,0 1-1 0 0,0-1 1 0 0,5 3 0 0 0,6 2-9 0 0,-1 1 0 0 0,-1 1 1 0 0,18 13-1 0 0,-6-3 51 0 0,0-2 0 0 0,48 25-1 0 0,-68-40-59 0 0,-1-1 0 0 0,1 1 0 0 0,-1-1-1 0 0,1 1 1 0 0,-1-1 0 0 0,1 0 0 0 0,-1 0-1 0 0,1 0 1 0 0,-1-1 0 0 0,1 1-1 0 0,-1-1 1 0 0,1 0 0 0 0,-1 0 0 0 0,1 0-1 0 0,-1-1 1 0 0,0 1 0 0 0,0-1 0 0 0,1 0-1 0 0,4-3 1 0 0,-2-1-106 0 0,0 1-1 0 0,-1 0 1 0 0,0-1 0 0 0,0 0-1 0 0,0-1 1 0 0,-1 1 0 0 0,0-1-1 0 0,0 1 1 0 0,0-1 0 0 0,-1 0-1 0 0,3-9 1 0 0,-2 4 5 0 0,-1-1 1 0 0,0 0-1 0 0,0 0 0 0 0,-1 0 1 0 0,0-22-1 0 0,-2 33 119 0 0,0 0 0 0 0,0 1 0 0 0,0-1 0 0 0,0 0 1 0 0,0 1-1 0 0,-1-1 0 0 0,1 1 0 0 0,0-1 0 0 0,-1 1 0 0 0,1-1 1 0 0,-1 1-1 0 0,0-1 0 0 0,0 1 0 0 0,1-1 0 0 0,-1 1 0 0 0,0 0 1 0 0,0-1-1 0 0,0 1 0 0 0,0 0 0 0 0,-1 0 0 0 0,1 0 0 0 0,0 0 1 0 0,0 0-1 0 0,-1 0 0 0 0,1 0 0 0 0,-1 0 0 0 0,1 0 0 0 0,-3 0 0 0 0,2 0 0 0 0,-1 1 0 0 0,1-1-1 0 0,-1 1 1 0 0,1 0-1 0 0,-1-1 1 0 0,1 1-1 0 0,-1 0 1 0 0,1 1-1 0 0,-1-1 1 0 0,1 0-1 0 0,0 1 1 0 0,-1-1-1 0 0,1 1 1 0 0,-1 0-1 0 0,1 0 1 0 0,-3 2-1 0 0,4-2 12 0 0,-1 0 0 0 0,1 0-1 0 0,0 0 1 0 0,0 0 0 0 0,0 0-1 0 0,0 0 1 0 0,0 0 0 0 0,0 1-1 0 0,0-1 1 0 0,1 0 0 0 0,-1 1-1 0 0,0-1 1 0 0,1 1 0 0 0,-1-1-1 0 0,1 0 1 0 0,0 1-1 0 0,-1-1 1 0 0,1 1 0 0 0,0 0-1 0 0,0-1 1 0 0,0 1 0 0 0,0-1-1 0 0,0 1 1 0 0,0-1 0 0 0,0 1-1 0 0,1 2 1 0 0,0 0 7 0 0,0 1-1 0 0,1-1 1 0 0,-1 0 0 0 0,1 1-1 0 0,-1-1 1 0 0,1 0 0 0 0,4 6-1 0 0,8 7-201 0 0,0 0 0 0 0,1-1-1 0 0,1 0 1 0 0,1-2 0 0 0,0 0 0 0 0,33 21-1 0 0,-30-24-1788 0 0,-1 0-1 0 0,2-1 0 0 0,34 12 1 0 0,-36-16-2008 0 0</inkml:trace>
</inkml:ink>
</file>

<file path=ppt/ink/ink2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3:22.73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71 9 40 0 0,'-3'-1'245'0'0,"0"-1"1"0"0,0 1-1 0 0,-1 0 1 0 0,1 0-1 0 0,0 0 1 0 0,-1 1-1 0 0,1-1 1 0 0,0 1-1 0 0,-1 0 1 0 0,1 0-1 0 0,-1 0 1 0 0,1 0-1 0 0,-1 0 1 0 0,1 1-1 0 0,0 0 1 0 0,-1 0-1 0 0,1-1 1 0 0,0 2-1 0 0,0-1 1 0 0,0 0-1 0 0,-6 4 1 0 0,7-4-167 0 0,0 1 1 0 0,-1-1 0 0 0,1 1-1 0 0,0 0 1 0 0,0 0 0 0 0,0 0-1 0 0,0 0 1 0 0,0 0-1 0 0,0 1 1 0 0,1-1 0 0 0,-1 0-1 0 0,1 1 1 0 0,0-1 0 0 0,-1 1-1 0 0,1 0 1 0 0,1-1-1 0 0,-1 1 1 0 0,0 0 0 0 0,0 0-1 0 0,1-1 1 0 0,0 1 0 0 0,-1 0-1 0 0,1 0 1 0 0,0 0-1 0 0,1 0 1 0 0,-1 3 0 0 0,3 4 34 0 0,-1-1 0 0 0,2 0 0 0 0,-1 0 1 0 0,1 0-1 0 0,0 0 0 0 0,1-1 0 0 0,0 1 0 0 0,8 9 1 0 0,56 60 555 0 0,-37-44-337 0 0,28 39-5 0 0,-53-62-186 0 0,0-1 0 0 0,0 1 0 0 0,-1 0 0 0 0,-1 0 0 0 0,6 18 0 0 0,-10-27-110 0 0,0 0 1 0 0,-1 0 0 0 0,1 0-1 0 0,-1 1 1 0 0,0-1-1 0 0,1 0 1 0 0,-1 0 0 0 0,0 0-1 0 0,0 0 1 0 0,-1 0 0 0 0,1 0-1 0 0,0 0 1 0 0,-1 1-1 0 0,1-1 1 0 0,-1 0 0 0 0,0 0-1 0 0,0 0 1 0 0,1 0 0 0 0,-1-1-1 0 0,-1 1 1 0 0,0 2 0 0 0,0-1-2 0 0,-1-1 1 0 0,1 0 0 0 0,-1 0-1 0 0,1 0 1 0 0,-1 0 0 0 0,0-1 0 0 0,1 1-1 0 0,-1-1 1 0 0,0 0 0 0 0,0 1 0 0 0,0-1-1 0 0,0-1 1 0 0,-3 2 0 0 0,-1-1-33 0 0,1 0-1 0 0,0 0 1 0 0,-1-1 0 0 0,1 1-1 0 0,0-1 1 0 0,-1-1 0 0 0,1 1-1 0 0,0-1 1 0 0,-1-1-1 0 0,1 1 1 0 0,0-1 0 0 0,0 0-1 0 0,0 0 1 0 0,-6-3 0 0 0,6 0-75 0 0,0 1 0 0 0,1 0 1 0 0,-1-1-1 0 0,1 0 0 0 0,0 0 1 0 0,0-1-1 0 0,1 1 0 0 0,0-1 1 0 0,0 0-1 0 0,0 0 0 0 0,1-1 0 0 0,-1 1 1 0 0,1-1-1 0 0,1 1 0 0 0,0-1 1 0 0,0 0-1 0 0,0 0 0 0 0,1 0 1 0 0,-1 0-1 0 0,1-14 0 0 0,1 20 62 0 0,0-1-1 0 0,0 0 0 0 0,0 0 1 0 0,0 1-1 0 0,0-1 0 0 0,0 0 1 0 0,-1 1-1 0 0,1-1 0 0 0,-1 0 1 0 0,1 1-1 0 0,-1-1 1 0 0,0 1-1 0 0,-1-3 0 0 0,2 4 28 0 0,-1-1 0 0 0,1 1 0 0 0,0 0-1 0 0,-1-1 1 0 0,1 1 0 0 0,-1 0 0 0 0,1 0-1 0 0,-1-1 1 0 0,1 1 0 0 0,-1 0 0 0 0,1 0-1 0 0,-1 0 1 0 0,1-1 0 0 0,-1 1 0 0 0,1 0-1 0 0,-1 0 1 0 0,1 0 0 0 0,-1 0 0 0 0,1 0 0 0 0,-1 0-1 0 0,1 0 1 0 0,-1 0 0 0 0,1 0 0 0 0,-1 1-1 0 0,1-1 1 0 0,-2 0 0 0 0,-2 2 66 0 0,1 0 1 0 0,-1 0-1 0 0,1 1 0 0 0,0-1 0 0 0,-1 1 1 0 0,1 0-1 0 0,0 0 0 0 0,-4 6 1 0 0,-26 34-69 0 0,2 2 1 0 0,-31 61-1 0 0,58-90-883 0 0,3-16 768 0 0,1 0 0 0 0,0 1 0 0 0,0-1 0 0 0,0 0 0 0 0,0 0 0 0 0,0 1 0 0 0,0-1 0 0 0,0 0 0 0 0,0 1 0 0 0,0-1 0 0 0,0 0 0 0 0,0 0 0 0 0,0 1 0 0 0,0-1 0 0 0,1 0 0 0 0,-1 0 0 0 0,0 1 0 0 0,0-1 0 0 0,0 0 0 0 0,8 3-3328 0 0,12-9 978 0 0</inkml:trace>
</inkml:ink>
</file>

<file path=ppt/ink/ink2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3:23.09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1248 0 0,'4'0'1621'0'0,"-1"0"-1325"0"0,0 1 0 0 0,0-1 0 0 0,0 1-1 0 0,-1-1 1 0 0,1 1 0 0 0,0 0 0 0 0,0 0 0 0 0,0 1 0 0 0,-1-1 0 0 0,1 0-1 0 0,0 1 1 0 0,-1 0 0 0 0,0-1 0 0 0,1 1 0 0 0,-1 0 0 0 0,0 0 0 0 0,0 1-1 0 0,0-1 1 0 0,3 4 0 0 0,5 11 141 0 0,0 0-1 0 0,-1 0 0 0 0,0 1 1 0 0,-2 0-1 0 0,6 20 1 0 0,9 51-2170 0 0,-21-80 1025 0 0,1 6-3193 0 0,1-3 1242 0 0</inkml:trace>
</inkml:ink>
</file>

<file path=ppt/ink/ink2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3:23.53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2 86 240 0 0,'-10'-34'4008'0'0,"7"29"-3454"0"0,1-1 1 0 0,0 1 0 0 0,1-1-1 0 0,-1 0 1 0 0,0-11-1 0 0,2 17-556 0 0,0-1-1 0 0,1 1 0 0 0,-1-1 0 0 0,0 1 1 0 0,0 0-1 0 0,1-1 0 0 0,-1 1 0 0 0,0 0 1 0 0,0-1-1 0 0,1 1 0 0 0,-1 0 0 0 0,0-1 1 0 0,1 1-1 0 0,-1 0 0 0 0,1 0 0 0 0,-1-1 1 0 0,0 1-1 0 0,1 0 0 0 0,-1 0 0 0 0,1 0 0 0 0,-1 0 1 0 0,1 0-1 0 0,-1-1 0 0 0,0 1 0 0 0,1 0 1 0 0,-1 0-1 0 0,1 0 0 0 0,-1 0 0 0 0,1 0 1 0 0,-1 0-1 0 0,1 1 0 0 0,20 0-414 0 0,-5 4 336 0 0,0 0 0 0 0,0 0 0 0 0,-1 2 1 0 0,0 0-1 0 0,0 0 0 0 0,0 2 0 0 0,-1 0 0 0 0,0 0 0 0 0,19 19 0 0 0,-12-9 504 0 0,0 1 0 0 0,-2 0-1 0 0,-1 2 1 0 0,0 0 0 0 0,14 27-1 0 0,-19-26 184 0 0,-1 1-1 0 0,-2 1 0 0 0,0 0 0 0 0,-2 0 0 0 0,7 38 0 0 0,-6-27 4105 0 0,-13-48-4231 0 0,6 3-515 0 0,0 1 0 0 0,0 0 0 0 0,1-1 0 0 0,-1 1 0 0 0,2 0 0 0 0,-1 1 0 0 0,1-1 0 0 0,1 0 0 0 0,-1 1 0 0 0,1 0 0 0 0,1 0 0 0 0,-1 1 0 0 0,1-1 0 0 0,0 1 0 0 0,0 0 0 0 0,1 1 0 0 0,0 0 0 0 0,0 0 0 0 0,0 0 0 0 0,1 1 0 0 0,-1 0 0 0 0,1 0 0 0 0,12-3 0 0 0,-17 6 24 0 0,0 0 1 0 0,1 1 0 0 0,-1-1-1 0 0,0 1 1 0 0,1 0-1 0 0,-1 0 1 0 0,0 0-1 0 0,1 1 1 0 0,-1-1-1 0 0,0 1 1 0 0,0 0-1 0 0,1 0 1 0 0,-1 0 0 0 0,0 0-1 0 0,0 0 1 0 0,0 1-1 0 0,0-1 1 0 0,0 1-1 0 0,0 0 1 0 0,-1 0-1 0 0,1 0 1 0 0,-1 0-1 0 0,1 1 1 0 0,-1-1 0 0 0,0 1-1 0 0,0-1 1 0 0,0 1-1 0 0,0 0 1 0 0,0 0-1 0 0,0 0 1 0 0,1 4-1 0 0,-1-3 28 0 0,0 1-1 0 0,0 0 0 0 0,-1-1 0 0 0,1 1 0 0 0,-1 0 1 0 0,0 0-1 0 0,-1 0 0 0 0,1 0 0 0 0,-1 0 0 0 0,0 0 1 0 0,0 0-1 0 0,0 0 0 0 0,-1 0 0 0 0,0 0 0 0 0,0 0 1 0 0,0 0-1 0 0,-1 0 0 0 0,1 0 0 0 0,-1-1 0 0 0,-3 7 1 0 0,-12 6 553 0 0,17-16-552 0 0,-1-1 0 0 0,0 1 0 0 0,1-1 0 0 0,-1 0 1 0 0,0 1-1 0 0,0-1 0 0 0,1 0 0 0 0,-1 1 0 0 0,0-1 0 0 0,0 0 0 0 0,1 0 0 0 0,-1 1 0 0 0,0-1 0 0 0,0 0 0 0 0,0 0 0 0 0,0 0 0 0 0,1 0 1 0 0,-1 0-1 0 0,0 0 0 0 0,0-1 0 0 0,0 1 0 0 0,1 0 0 0 0,-1 0 0 0 0,0 0 0 0 0,0-1 0 0 0,0 1 0 0 0,1-1 0 0 0,-1 1 0 0 0,0 0 0 0 0,1-1 1 0 0,-2 0-1 0 0,2 0-12 0 0,0 1 0 0 0,-1-1 0 0 0,1 0 0 0 0,-1 0 1 0 0,1 0-1 0 0,0 0 0 0 0,0 0 0 0 0,0 0 0 0 0,0 1 1 0 0,-1-1-1 0 0,1 0 0 0 0,0 0 0 0 0,0 0 0 0 0,1 0 0 0 0,-1 0 1 0 0,0 0-1 0 0,0 0 0 0 0,0 0 0 0 0,1 1 0 0 0,-1-1 1 0 0,1-1-1 0 0,7-17-58 0 0,-2 8 18 0 0,1 0 1 0 0,0 1-1 0 0,1 0 0 0 0,0 0 0 0 0,0 1 1 0 0,1 0-1 0 0,0 0 0 0 0,1 1 1 0 0,0 0-1 0 0,0 1 0 0 0,1 0 1 0 0,0 0-1 0 0,0 1 0 0 0,1 1 0 0 0,-1 0 1 0 0,1 1-1 0 0,0 0 0 0 0,0 0 1 0 0,14-1-1 0 0,-21 5 31 0 0,0-1 1 0 0,1 1-1 0 0,-1 0 1 0 0,0 1-1 0 0,0-1 0 0 0,0 1 1 0 0,0 0-1 0 0,0 1 1 0 0,0-1-1 0 0,0 1 1 0 0,0 0-1 0 0,0 0 0 0 0,-1 0 1 0 0,1 1-1 0 0,-1 0 1 0 0,0-1-1 0 0,1 2 1 0 0,-1-1-1 0 0,-1 0 0 0 0,1 1 1 0 0,0 0-1 0 0,-1 0 1 0 0,0 0-1 0 0,3 4 0 0 0,1 2-499 0 0,-1 1-1 0 0,-1-1 1 0 0,7 18-1 0 0,7 32-5988 0 0,-12-47 2113 0 0</inkml:trace>
</inkml:ink>
</file>

<file path=ppt/ink/ink2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3:23.88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96 309 2392 0 0,'8'-9'3838'0'0,"-7"8"-3289"0"0,0 0-1 0 0,0 0 0 0 0,1 0 1 0 0,-1 0-1 0 0,4 0 0 0 0,-4 1-498 0 0,0 1-1 0 0,0-1 0 0 0,0 1 0 0 0,0-1 1 0 0,0 1-1 0 0,0 0 0 0 0,-1 0 1 0 0,1-1-1 0 0,0 1 0 0 0,0 0 1 0 0,0 0-1 0 0,-1 0 0 0 0,1 0 0 0 0,-1 0 1 0 0,1 0-1 0 0,0 1 0 0 0,5 23 663 0 0,-5-21-710 0 0,1 10-30 0 0,-1-1 1 0 0,0 26 0 0 0,-5 3-5988 0 0</inkml:trace>
  <inkml:trace contextRef="#ctx0" brushRef="#br0" timeOffset="1">24 147 1392 0 0,'-4'-20'1496'0'0,"0"4"-252"0"0,2-1-56 0 0,2 3-335 0 0,-4 0-53 0 0,2 3-252 0 0,0 0 272 0 0,0-7-544 0 0,0 4-520 0 0,0 3-1876 0 0</inkml:trace>
</inkml:ink>
</file>

<file path=ppt/ink/ink2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3:24.28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1508 0 0,'0'0'1100'0'0,"3"1"-223"0"0,0 0-660 0 0,0 0-1 0 0,0 0 1 0 0,0 0-1 0 0,0 0 1 0 0,-1 1-1 0 0,1-1 1 0 0,-1 1 0 0 0,1 0-1 0 0,-1 0 1 0 0,1-1-1 0 0,-1 2 1 0 0,0-1 0 0 0,0 0-1 0 0,0 0 1 0 0,0 1-1 0 0,-1-1 1 0 0,1 1-1 0 0,1 3 1 0 0,52 166 1651 0 0,-55-171-1808 0 0,1 2 14 0 0,0 0 1 0 0,-1 0-1 0 0,1-1 0 0 0,-1 1 1 0 0,1 0-1 0 0,-1 5 0 0 0,0 47 512 0 0,-1-6-849 0 0,10 92 0 0 0,-9-134-686 0 0</inkml:trace>
</inkml:ink>
</file>

<file path=ppt/ink/ink2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3:24.61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78 26 680 0 0,'-1'-1'184'0'0,"0"-1"0"0"0,0 0-1 0 0,0 1 1 0 0,0-1 0 0 0,0 1-1 0 0,0-1 1 0 0,0 1 0 0 0,0 0 0 0 0,-1-1-1 0 0,1 1 1 0 0,-1 0 0 0 0,1 0 0 0 0,-1 0-1 0 0,1 0 1 0 0,-1 0 0 0 0,0 0 0 0 0,1 1-1 0 0,-1-1 1 0 0,0 0 0 0 0,0 1-1 0 0,0-1 1 0 0,1 1 0 0 0,-1 0 0 0 0,0 0-1 0 0,0 0 1 0 0,0 0 0 0 0,0 0 0 0 0,-2 0-1 0 0,-6 0 298 0 0,0 1-1 0 0,-1 0 1 0 0,-17 5-1 0 0,16-3-241 0 0,0 1 0 0 0,0 0 0 0 0,0 1 0 0 0,0 1 1 0 0,1 0-1 0 0,0 0 0 0 0,-19 15 0 0 0,25-17-169 0 0,0 0 0 0 0,0 0 1 0 0,0 1-1 0 0,1 0 0 0 0,0 0 1 0 0,0 0-1 0 0,0 1 0 0 0,0-1 1 0 0,1 1-1 0 0,0 0 0 0 0,0 0 1 0 0,1 0-1 0 0,-1 0 0 0 0,1 0 0 0 0,1 1 1 0 0,-1-1-1 0 0,0 8 0 0 0,2-9-34 0 0,0 0 0 0 0,1 0-1 0 0,-1 0 1 0 0,1-1 0 0 0,0 1-1 0 0,0 0 1 0 0,1 0 0 0 0,-1-1 0 0 0,1 1-1 0 0,0-1 1 0 0,0 1 0 0 0,1-1-1 0 0,-1 0 1 0 0,1 0 0 0 0,0 0-1 0 0,0 0 1 0 0,0 0 0 0 0,5 3-1 0 0,11 5 155 0 0,-13-12-168 0 0,-2 0 6 0 0,-1 1-35 0 0,0-1 1 0 0,0 0-1 0 0,0 1 1 0 0,0-1-1 0 0,0-1 1 0 0,0 1-1 0 0,0 0 1 0 0,0-1-1 0 0,0 1 1 0 0,0-1-1 0 0,0 0 1 0 0,-1 0-1 0 0,1 0 1 0 0,0 0-1 0 0,0-1 1 0 0,-1 1-1 0 0,1-1 1 0 0,-1 0-1 0 0,4-2 1 0 0,3-4-70 0 0,0 0-1 0 0,-1-1 1 0 0,9-11 0 0 0,-14 17 78 0 0,14-18 352 0 0,20-21 1116 0 0,-36 41-1336 0 0,4 4-76 0 0,-4-3-57 0 0,-1 0 1 0 0,1 0 0 0 0,-1 0 0 0 0,0 0 0 0 0,1 0 0 0 0,-1 0 0 0 0,1 0 0 0 0,-1 0 0 0 0,0 1 0 0 0,1-1-1 0 0,-1 0 1 0 0,1 0 0 0 0,-1 0 0 0 0,0 1 0 0 0,1-1 0 0 0,-1 0 0 0 0,0 0 0 0 0,1 1 0 0 0,-1-1 0 0 0,0 0-1 0 0,1 1 1 0 0,-1-1 0 0 0,0 1 0 0 0,0-1 0 0 0,1 1 0 0 0,22 69 272 0 0,0 1-3245 0 0,-22-68 2285 0 0,11 2-4161 0 0,-4-12 1823 0 0</inkml:trace>
</inkml:ink>
</file>

<file path=ppt/ink/ink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2:26.85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35 17 932 0 0,'-2'-1'1243'0'0,"-1"-1"-930"0"0,0 0 0 0 0,-1 0 0 0 0,1 0 1 0 0,0 1-1 0 0,-1-1 0 0 0,1 1 0 0 0,-1 0 1 0 0,0 0-1 0 0,1 0 0 0 0,-1 1 0 0 0,0-1 0 0 0,1 1 1 0 0,-5 0-1 0 0,-2 1 77 0 0,0 0 1 0 0,0 0 0 0 0,0 1-1 0 0,-11 3 1 0 0,7 0-130 0 0,1 0 1 0 0,-1 1-1 0 0,1 1 1 0 0,0 0-1 0 0,1 0 1 0 0,-1 1-1 0 0,2 1 1 0 0,-1 0-1 0 0,1 1 1 0 0,0 0-1 0 0,1 0 1 0 0,1 1-1 0 0,-1 1 1 0 0,2 0-1 0 0,0 0 1 0 0,0 0-1 0 0,-10 23 1 0 0,16-30-209 0 0,0 1 1 0 0,1-1-1 0 0,-1 0 0 0 0,1 1 1 0 0,0-1-1 0 0,0 1 0 0 0,1 0 1 0 0,0-1-1 0 0,0 1 0 0 0,0 0 1 0 0,0-1-1 0 0,1 1 1 0 0,0-1-1 0 0,0 1 0 0 0,1-1 1 0 0,0 0-1 0 0,-1 1 0 0 0,2-1 1 0 0,-1 0-1 0 0,1 0 0 0 0,-1 0 1 0 0,1 0-1 0 0,1-1 0 0 0,-1 1 1 0 0,1-1-1 0 0,0 0 1 0 0,0 0-1 0 0,0 0 0 0 0,0-1 1 0 0,0 1-1 0 0,1-1 0 0 0,8 5 1 0 0,-9-7-45 0 0,0-1 1 0 0,-1 1-1 0 0,1-1 1 0 0,0 0-1 0 0,0 0 1 0 0,0 0-1 0 0,-1 0 1 0 0,1-1-1 0 0,0 1 1 0 0,0-1-1 0 0,-1 0 1 0 0,1 0-1 0 0,-1 0 1 0 0,1-1-1 0 0,-1 1 0 0 0,1-1 1 0 0,-1 0-1 0 0,0 0 1 0 0,1 0-1 0 0,-1 0 1 0 0,3-4-1 0 0,2-3-6 0 0,1 0-1 0 0,-2 0 1 0 0,1-1-1 0 0,-1-1 1 0 0,-1 1-1 0 0,10-23 1 0 0,21-74 44 0 0,-13 32 79 0 0,-16 62-111 0 0,-5 24 49 0 0,0 8-30 0 0,0-8-93 0 0,5 22-297 0 0,1 0-1 0 0,2 0 1 0 0,24 51-1 0 0,-31-76-437 0 0,10 15-1286 0 0,-1-11-3292 0 0,0-6 2014 0 0</inkml:trace>
</inkml:ink>
</file>

<file path=ppt/ink/ink2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3:24.94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7 252 0 0,'4'-2'378'0'0,"0"0"0"0"0,0 1 1 0 0,0-1-1 0 0,0 1 0 0 0,0 0 0 0 0,0 0 0 0 0,0 0 1 0 0,0 1-1 0 0,1 0 0 0 0,-1 0 0 0 0,0 0 0 0 0,0 0 0 0 0,1 0 1 0 0,-1 1-1 0 0,0 0 0 0 0,0 0 0 0 0,0 0 0 0 0,4 2 1 0 0,-4-2-250 0 0,-1 1 1 0 0,0 0 0 0 0,1 0 0 0 0,-1 0 0 0 0,0 0 0 0 0,-1 1 0 0 0,1-1-1 0 0,0 1 1 0 0,0-1 0 0 0,-1 1 0 0 0,0 0 0 0 0,0 0 0 0 0,0 0-1 0 0,0 1 1 0 0,0-1 0 0 0,0 0 0 0 0,-1 1 0 0 0,1-1 0 0 0,-1 1 0 0 0,0-1-1 0 0,0 5 1 0 0,0-3-65 0 0,-1 0-1 0 0,0 0 0 0 0,0 0 0 0 0,-1 0 0 0 0,1 0 1 0 0,-1 0-1 0 0,0-1 0 0 0,0 1 0 0 0,-1 0 1 0 0,0 0-1 0 0,1-1 0 0 0,-2 1 0 0 0,1-1 1 0 0,0 1-1 0 0,-1-1 0 0 0,0 0 0 0 0,0 0 1 0 0,0 0-1 0 0,0-1 0 0 0,-1 1 0 0 0,1-1 0 0 0,-5 4 1 0 0,6-6 159 0 0,-2-7-190 0 0,3 6-36 0 0,1 0 1 0 0,0 0 0 0 0,0 0 0 0 0,0 0-1 0 0,-1 0 1 0 0,1-1 0 0 0,0 1 0 0 0,0 0-1 0 0,0 0 1 0 0,0 0 0 0 0,-1 0 0 0 0,1-1-1 0 0,0 1 1 0 0,0 0 0 0 0,0 0 0 0 0,0 0 0 0 0,0-1-1 0 0,0 1 1 0 0,0 0 0 0 0,0 0 0 0 0,-1 0-1 0 0,1-1 1 0 0,0 1 0 0 0,0 0 0 0 0,0 0-1 0 0,0-1 1 0 0,0 1 0 0 0,0 0 0 0 0,0 0-1 0 0,0 0 1 0 0,0-1 0 0 0,0 1 0 0 0,1 0-1 0 0,-1 0 1 0 0,0-1 0 0 0,0 1 0 0 0,0 0 0 0 0,0 0-1 0 0,0 0 1 0 0,0-1 0 0 0,0 1 0 0 0,0 0-1 0 0,1 0 1 0 0,-1 0 0 0 0,0 0 0 0 0,0-1-1 0 0,0 1 1 0 0,0 0 0 0 0,1 0 0 0 0,-1 0-1 0 0,0 0 1 0 0,0 0 0 0 0,0 0 0 0 0,1-1-1 0 0,-1 1 1 0 0,0 0 0 0 0,1 0 0 0 0,34-32-134 0 0,1 1 0 0 0,2 2 0 0 0,62-36 0 0 0,-98 63 200 0 0,0 1-1 0 0,0 0 0 0 0,0 0 0 0 0,1 0 1 0 0,-1 0-1 0 0,0 0 0 0 0,1 1 1 0 0,-1-1-1 0 0,1 1 0 0 0,-1-1 0 0 0,0 1 1 0 0,1 0-1 0 0,-1 0 0 0 0,1 0 0 0 0,-1 0 1 0 0,1 0-1 0 0,-1 1 0 0 0,0-1 0 0 0,1 1 1 0 0,-1 0-1 0 0,0-1 0 0 0,1 1 0 0 0,-1 0 1 0 0,0 0-1 0 0,0 1 0 0 0,0-1 1 0 0,0 0-1 0 0,0 1 0 0 0,0-1 0 0 0,0 1 1 0 0,3 3-1 0 0,-1 0-81 0 0,0 1 1 0 0,0-1-1 0 0,0 1 1 0 0,-1 0-1 0 0,0 0 1 0 0,0 0-1 0 0,0 0 1 0 0,-1 0-1 0 0,0 0 1 0 0,2 11-1 0 0,-3-12-1144 0 0,0 1 0 0 0,0 0-1 0 0,0-1 1 0 0,-1 1 0 0 0,-1 6-1 0 0</inkml:trace>
</inkml:ink>
</file>

<file path=ppt/ink/ink2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3:25.30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91 155 2048 0 0,'-89'-142'10493'0'0,"88"140"-10573"0"0,5-2-426 0 0,-4 4 468 0 0,0-1 1 0 0,1 1-1 0 0,-1 0 0 0 0,0-1 0 0 0,0 1 1 0 0,0 0-1 0 0,0-1 0 0 0,0 1 0 0 0,0 0 1 0 0,1-1-1 0 0,-1 1 0 0 0,0 0 1 0 0,0 0-1 0 0,1-1 0 0 0,-1 1 0 0 0,0 0 1 0 0,0 0-1 0 0,1 0 0 0 0,-1-1 1 0 0,0 1-1 0 0,0 0 0 0 0,1 0 0 0 0,-1 0 1 0 0,0 0-1 0 0,1 0 0 0 0,-1-1 0 0 0,0 1 1 0 0,1 0-1 0 0,-1 0 0 0 0,0 0 1 0 0,1 0-1 0 0,-1 0 0 0 0,0 0 0 0 0,1 0 1 0 0,0 0-1 0 0,45 2-5382 0 0,-26 0 2647 0 0</inkml:trace>
  <inkml:trace contextRef="#ctx0" brushRef="#br0" timeOffset="1">491 83 332 0 0,'4'5'698'0'0,"0"0"-1"0"0,-1 1 1 0 0,1-1 0 0 0,-1 1-1 0 0,0-1 1 0 0,-1 1-1 0 0,1 0 1 0 0,-1 0 0 0 0,-1 0-1 0 0,2 7 1 0 0,2 12 653 0 0,1 32 0 0 0,-2-10-278 0 0,22 173 1186 0 0,-24-174-4375 0 0,-5 55 0 0 0,3-97 1577 0 0,-1 6-3225 0 0,-2 2 663 0 0</inkml:trace>
</inkml:ink>
</file>

<file path=ppt/ink/ink2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3:25.94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 34 1084 0 0,'-7'-23'6089'0'0,"9"21"-5894"0"0,1 1-1 0 0,-1 0 0 0 0,1 0 0 0 0,0-1 1 0 0,-1 2-1 0 0,1-1 0 0 0,0 0 0 0 0,0 1 1 0 0,-1-1-1 0 0,1 1 0 0 0,0 0 0 0 0,0 0 1 0 0,0 0-1 0 0,4 0 0 0 0,49 5 708 0 0,-54-4-825 0 0,56 5 1219 0 0,-1-3 0 0 0,100-7 0 0 0,-138 4-974 0 0,-16 0-233 0 0,0 1-13 0 0,-3-1-71 0 0,1 0 0 0 0,-1 0 0 0 0,1 0 0 0 0,0 0 0 0 0,-1 0-1 0 0,1 0 1 0 0,-1 1 0 0 0,1-1 0 0 0,-1 0 0 0 0,1 1 0 0 0,-1-1-1 0 0,1 0 1 0 0,-1 1 0 0 0,1-1 0 0 0,-1 0 0 0 0,1 1-1 0 0,-1-1 1 0 0,0 1 0 0 0,1-1 0 0 0,-1 1 0 0 0,0-1 0 0 0,1 1-1 0 0,-1-1 1 0 0,0 1 0 0 0,0-1 0 0 0,1 2 0 0 0,-1 0 2 0 0,0 0-1 0 0,0 0 1 0 0,0 0 0 0 0,0 1 0 0 0,-1-1 0 0 0,1 0 0 0 0,-1 0-1 0 0,1 0 1 0 0,-2 3 0 0 0,0 3 5 0 0,-1-1 0 0 0,2 1-1 0 0,-1 0 1 0 0,1-1 0 0 0,0 1 0 0 0,1 0 0 0 0,0 0-1 0 0,0 0 1 0 0,3 12 0 0 0,-2-15 16 0 0,0 0 0 0 0,0 0 0 0 0,1 0 0 0 0,0-1-1 0 0,0 1 1 0 0,0-1 0 0 0,0 1 0 0 0,1-1 0 0 0,0 0 0 0 0,0 0 0 0 0,0 0 0 0 0,0 0 0 0 0,1 0-1 0 0,-1-1 1 0 0,1 0 0 0 0,6 5 0 0 0,-8-7-65 0 0,0 0 0 0 0,1 0 1 0 0,0 0-1 0 0,-1 0 0 0 0,1 0 0 0 0,0 0 0 0 0,-1 0 0 0 0,1-1 1 0 0,0 0-1 0 0,-1 1 0 0 0,1-1 0 0 0,0 0 0 0 0,0 0 0 0 0,0-1 1 0 0,-1 1-1 0 0,1-1 0 0 0,0 1 0 0 0,-1-1 0 0 0,6-2 0 0 0,4-2-274 0 0,-1 0 0 0 0,1-1 0 0 0,10-8 0 0 0,2 1 3 0 0,-18 10 204 0 0,-1 0 15 0 0,0 0 0 0 0,1 0 0 0 0,-1 1 0 0 0,1 0 0 0 0,0 0 0 0 0,8-1 1 0 0,-13 3 95 0 0,1-1 0 0 0,-1 2 0 0 0,1-1 0 0 0,-1 0-1 0 0,1 0 1 0 0,-1 0 0 0 0,1 1 0 0 0,-1-1 0 0 0,1 1 0 0 0,-1-1 0 0 0,1 1 0 0 0,-1 0 0 0 0,0-1 0 0 0,1 1 0 0 0,-1 0 0 0 0,0 0 0 0 0,0 0 0 0 0,1 0 0 0 0,-1 0 0 0 0,0 0 0 0 0,0 0 0 0 0,0 0 0 0 0,0 1 0 0 0,-1-1 0 0 0,1 0 0 0 0,0 1 0 0 0,0-1 0 0 0,0 3 0 0 0,3 5 76 0 0,-1-1-1 0 0,-1 1 1 0 0,0 0 0 0 0,0 0-1 0 0,0 0 1 0 0,0 18-1 0 0,-2-4 208 0 0,-4 36 0 0 0,2-42-229 0 0,-1-1-1 0 0,-1 1 0 0 0,0-1 0 0 0,-1 1 0 0 0,-1-1 1 0 0,0-1-1 0 0,-1 1 0 0 0,-9 14 0 0 0,12-24-38 0 0,0 1-1 0 0,-1-1 0 0 0,1 0 0 0 0,-1-1 0 0 0,0 1 1 0 0,-1-1-1 0 0,1 0 0 0 0,-1-1 0 0 0,0 1 0 0 0,0-1 1 0 0,-1 0-1 0 0,1-1 0 0 0,-1 1 0 0 0,0-1 1 0 0,0-1-1 0 0,0 1 0 0 0,0-1 0 0 0,0 0 0 0 0,-1-1 1 0 0,-12 1-1 0 0,16-1-41 0 0,0-1 0 0 0,0 0-1 0 0,0 0 1 0 0,0-1 0 0 0,1 1 0 0 0,-1-1 0 0 0,0 0 0 0 0,0 0 0 0 0,0 0-1 0 0,1-1 1 0 0,-1 1 0 0 0,1-1 0 0 0,-1 0 0 0 0,1 0 0 0 0,-1 0 0 0 0,1 0 0 0 0,0-1-1 0 0,0 1 1 0 0,0-1 0 0 0,1 0 0 0 0,-1 1 0 0 0,0-1 0 0 0,1-1 0 0 0,0 1 0 0 0,0 0-1 0 0,0-1 1 0 0,0 1 0 0 0,1-1 0 0 0,-1 1 0 0 0,1-1 0 0 0,0 0 0 0 0,0 1-1 0 0,0-1 1 0 0,0-5 0 0 0,-1 0-336 0 0,1 1 1 0 0,1-1-1 0 0,0 0 0 0 0,0 0 1 0 0,1 1-1 0 0,0-1 0 0 0,0 0 0 0 0,1 1 1 0 0,0-1-1 0 0,0 1 0 0 0,1-1 0 0 0,1 1 1 0 0,-1 0-1 0 0,7-11 0 0 0,10-6-3785 0 0,-8 16 1162 0 0</inkml:trace>
</inkml:ink>
</file>

<file path=ppt/ink/ink2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4:13.66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23 212 1352 0 0,'-15'0'1188'0'0,"-2"0"447"0"0,-1 0 0 0 0,1 1 0 0 0,-25 5 0 0 0,41-6-1518 0 0,1 0-1 0 0,-1 0 1 0 0,1 0-1 0 0,-1 0 1 0 0,0 0-1 0 0,1 0 1 0 0,-1 1 0 0 0,1-1-1 0 0,-1 0 1 0 0,0 0-1 0 0,1 1 1 0 0,-1-1-1 0 0,1 0 1 0 0,-1 1-1 0 0,1-1 1 0 0,-1 0 0 0 0,1 1-1 0 0,-1-1 1 0 0,1 1-1 0 0,0-1 1 0 0,-1 1-1 0 0,1-1 1 0 0,-1 1-1 0 0,1 0 1 0 0,0 0-61 0 0,0-1-1 0 0,0 1 1 0 0,0-1-1 0 0,1 1 0 0 0,-1-1 1 0 0,0 1-1 0 0,0-1 1 0 0,1 1-1 0 0,-1-1 1 0 0,0 1-1 0 0,0-1 1 0 0,1 1-1 0 0,-1-1 1 0 0,1 1-1 0 0,-1-1 1 0 0,0 0-1 0 0,1 1 1 0 0,-1-1-1 0 0,2 1 1 0 0,27 14 1165 0 0,3-6-569 0 0,-1-2 0 0 0,52 6 0 0 0,69-1-128 0 0,-127-10-438 0 0,647 4 558 0 0,-2-44-355 0 0,-656 37-286 0 0,1-1 0 0 0,-1 0 0 0 0,27-7 0 0 0,-41 9-6 0 0,1 0 0 0 0,0-1-1 0 0,-1 1 1 0 0,1 0 0 0 0,0 0-1 0 0,-1-1 1 0 0,1 1 0 0 0,0 0-1 0 0,-1-1 1 0 0,1 1-1 0 0,-1 0 1 0 0,1-1 0 0 0,-1 1-1 0 0,1-1 1 0 0,-1 1 0 0 0,1-1-1 0 0,-1 1 1 0 0,1-1 0 0 0,-1 0-1 0 0,1 1 1 0 0,-1-1 0 0 0,0 1-1 0 0,0-1 1 0 0,1 0 0 0 0,-1 1-1 0 0,0-2 1 0 0,0 1-1 0 0,0 0-1 0 0,0 0 1 0 0,-1 0-1 0 0,1 0 1 0 0,0 0 0 0 0,-1 0-1 0 0,1 0 1 0 0,-1 0 0 0 0,1 0-1 0 0,-1 0 1 0 0,0 0 0 0 0,1 0-1 0 0,-1 0 1 0 0,0 1 0 0 0,-1-2-1 0 0,-5-4-16 0 0,-1 0-1 0 0,0 0 1 0 0,-10-5-1 0 0,10 7 8 0 0,-16-12-8 0 0,0 0 0 0 0,1-1 1 0 0,1-2-1 0 0,1 0 1 0 0,-34-39-1 0 0,53 53-16 0 0,-1 1 1 0 0,1 0-1 0 0,-1-1 0 0 0,1 1 0 0 0,-2-8 1 0 0,4 11 32 0 0,0 1 1 0 0,0 0 0 0 0,0-1 0 0 0,1 1 0 0 0,-1-1 0 0 0,0 1 0 0 0,0 0-1 0 0,0-1 1 0 0,1 1 0 0 0,-1 0 0 0 0,0-1 0 0 0,0 1 0 0 0,1 0 0 0 0,-1 0-1 0 0,0-1 1 0 0,0 1 0 0 0,1 0 0 0 0,-1 0 0 0 0,0-1 0 0 0,1 1 0 0 0,-1 0-1 0 0,1 0 1 0 0,-1 0 0 0 0,0 0 0 0 0,1 0 0 0 0,-1-1 0 0 0,0 1 0 0 0,1 0-1 0 0,-1 0 1 0 0,1 0 0 0 0,-1 0 0 0 0,0 0 0 0 0,1 0 0 0 0,-1 0 0 0 0,1 0 0 0 0,-1 0-1 0 0,0 1 1 0 0,1-1 0 0 0,-1 0 0 0 0,0 0 0 0 0,1 0 0 0 0,14 2-28 0 0,-8 0 23 0 0,-1 1 1 0 0,0-1 0 0 0,0 1-1 0 0,0 0 1 0 0,0 1-1 0 0,0-1 1 0 0,-1 1 0 0 0,0 0-1 0 0,1 0 1 0 0,-2 1 0 0 0,1 0-1 0 0,0 0 1 0 0,6 9 0 0 0,-1 0 2 0 0,0 0-1 0 0,-1 1 1 0 0,-1 1 0 0 0,6 15 0 0 0,-8-17 10 0 0,-2 0 1 0 0,1-1-1 0 0,-2 2 1 0 0,0-1 0 0 0,-1 0-1 0 0,0 1 1 0 0,-1-1-1 0 0,-1 0 1 0 0,0 1 0 0 0,-1-1-1 0 0,0 1 1 0 0,-5 16-1 0 0,1-11-367 0 0,-1 0-1 0 0,-1-1 1 0 0,-1 0-1 0 0,-1 0 0 0 0,0 0 1 0 0,-2-1-1 0 0,-23 32 1 0 0,20-33-626 0 0,-13 19-1557 0 0,7-15-2258 0 0</inkml:trace>
</inkml:ink>
</file>

<file path=ppt/ink/ink2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4:14.25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2 1644 0 0,'2'-23'3911'0'0,"1"15"-1378"0"0,1 18-739 0 0,0 13-1185 0 0,-1 1 0 0 0,-2 0 1 0 0,-1 36-1 0 0,-1-24-276 0 0,1 14-95 0 0,2 229 1585 0 0,5-93-3703 0 0,-6-165 919 0 0,1 8-341 0 0,-2-9-3733 0 0,-10-36 1904 0 0</inkml:trace>
</inkml:ink>
</file>

<file path=ppt/ink/ink2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4:14.62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2 816 2528 0 0,'-15'-63'1271'0'0,"-30"-142"2257"0"0,40 169-2840 0 0,1-1 0 0 0,1 0 0 0 0,4-60 0 0 0,1 79-593 0 0,1 0 0 0 0,1 0 0 0 0,1 0 0 0 0,0 0 0 0 0,1 1 0 0 0,1 0 0 0 0,0 0 0 0 0,2 1 0 0 0,0 0 0 0 0,0 1 0 0 0,2-1 0 0 0,0 2 0 0 0,17-18 0 0 0,-20 23-57 0 0,0 1 0 0 0,1 0 0 0 0,0 0 1 0 0,1 1-1 0 0,-1 0 0 0 0,2 1 0 0 0,-1 0 0 0 0,0 1 0 0 0,1 0 0 0 0,0 1 0 0 0,0 0 0 0 0,1 0 0 0 0,-1 1 0 0 0,1 1 1 0 0,-1 0-1 0 0,1 1 0 0 0,0 0 0 0 0,0 0 0 0 0,0 1 0 0 0,-1 1 0 0 0,20 3 0 0 0,-24-2-28 0 0,0-1 1 0 0,-1 1-1 0 0,1 1 0 0 0,-1-1 0 0 0,0 1 1 0 0,1 0-1 0 0,-1 1 0 0 0,-1 0 1 0 0,1 0-1 0 0,0 0 0 0 0,-1 0 0 0 0,0 1 1 0 0,0 0-1 0 0,0 0 0 0 0,-1 0 0 0 0,0 0 1 0 0,0 1-1 0 0,0 0 0 0 0,3 7 0 0 0,-3-5-1 0 0,-1 0 0 0 0,0 0 0 0 0,-1 0 0 0 0,0 1 0 0 0,0-1 0 0 0,-1 0 0 0 0,0 1 0 0 0,0-1 0 0 0,-1 1 0 0 0,0-1 0 0 0,-1 1-1 0 0,0-1 1 0 0,0 1 0 0 0,0-1 0 0 0,-4 11 0 0 0,-3 2 61 0 0,-1 0 0 0 0,0-1-1 0 0,-2 0 1 0 0,0-1 0 0 0,-1 0 0 0 0,-1 0 0 0 0,-1-1-1 0 0,0-1 1 0 0,-19 16 0 0 0,7-8 90 0 0,-2-1 1 0 0,0-2-1 0 0,-1-1 0 0 0,-62 34 1 0 0,79-50-250 0 0,1 0 0 0 0,-1 0 1 0 0,0-1-1 0 0,-22 4 1 0 0,26-7-568 0 0,0 0 1 0 0,-1 0 0 0 0,1-1 0 0 0,-11-1 0 0 0,19 1 488 0 0,-1 0 0 0 0,1 0 0 0 0,0 0 0 0 0,-1 0 0 0 0,1 0 0 0 0,-1 0 0 0 0,1 0 0 0 0,-1 0 0 0 0,1 0 0 0 0,0 0 0 0 0,-1 0 0 0 0,1-1 0 0 0,-1 1 0 0 0,-2-15-5467 0 0</inkml:trace>
</inkml:ink>
</file>

<file path=ppt/ink/ink2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4:16.46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86 104 0 0,'22'15'4088'0'0,"24"14"0"0"0,-32-23-3487 0 0,0 1 1 0 0,0-2-1 0 0,0 1 0 0 0,1-2 0 0 0,26 5 1 0 0,-24-6-367 0 0,0-1 0 0 0,1-1 0 0 0,-1-1 0 0 0,0 0 0 0 0,1-1 0 0 0,32-6 0 0 0,-45 6-211 0 0,1-1 0 0 0,-1 1 1 0 0,0-1-1 0 0,0 1 0 0 0,0-2 0 0 0,0 1 0 0 0,0 0 0 0 0,0-1 1 0 0,-1 0-1 0 0,1 0 0 0 0,-1-1 0 0 0,0 1 0 0 0,0-1 0 0 0,0 0 1 0 0,0 0-1 0 0,-1 0 0 0 0,1 0 0 0 0,-1-1 0 0 0,0 1 0 0 0,0-1 1 0 0,-1 0-1 0 0,0 0 0 0 0,0 0 0 0 0,0 0 0 0 0,2-10 0 0 0,-3 12-20 0 0,0 0 1 0 0,-1 0-1 0 0,0 0 0 0 0,1 0 0 0 0,-1 0 0 0 0,-1 0 0 0 0,1 0 0 0 0,0 0 0 0 0,-1 0 0 0 0,1 0 1 0 0,-1 0-1 0 0,0 1 0 0 0,0-1 0 0 0,0 0 0 0 0,0 0 0 0 0,0 0 0 0 0,-1 1 0 0 0,1-1 0 0 0,-1 1 1 0 0,0-1-1 0 0,0 1 0 0 0,0 0 0 0 0,0 0 0 0 0,0-1 0 0 0,0 1 0 0 0,-1 1 0 0 0,1-1 0 0 0,-1 0 1 0 0,1 1-1 0 0,-1-1 0 0 0,-4-1 0 0 0,0 1-5 0 0,1-1 1 0 0,-1 2-1 0 0,0-1 0 0 0,0 1 1 0 0,1 0-1 0 0,-1 0 0 0 0,0 1 1 0 0,0 0-1 0 0,0 0 1 0 0,0 1-1 0 0,0 0 0 0 0,-12 3 1 0 0,3 1 84 0 0,-1 0 0 0 0,1 1 0 0 0,0 2 0 0 0,0-1 0 0 0,1 2 1 0 0,0 0-1 0 0,-25 20 0 0 0,32-23 22 0 0,1 1-1 0 0,0 0 1 0 0,0 1 0 0 0,0 0-1 0 0,1 0 1 0 0,0 0 0 0 0,1 1 0 0 0,0-1-1 0 0,0 1 1 0 0,1 1 0 0 0,0-1-1 0 0,1 1 1 0 0,0-1 0 0 0,-4 19 0 0 0,7-20-68 0 0,0-1 0 0 0,0 0 0 0 0,0 1 1 0 0,1-1-1 0 0,0 0 0 0 0,0 0 1 0 0,1 1-1 0 0,0-1 0 0 0,1 0 0 0 0,-1-1 1 0 0,1 1-1 0 0,0 0 0 0 0,1-1 1 0 0,0 0-1 0 0,0 1 0 0 0,0-1 0 0 0,1-1 1 0 0,-1 1-1 0 0,1-1 0 0 0,6 5 1 0 0,1 1 2 0 0,0-2 1 0 0,0 0-1 0 0,1 0 1 0 0,0-1-1 0 0,0 0 1 0 0,1-1 0 0 0,0-1-1 0 0,24 8 1 0 0,-19-9-30 0 0,1-1 0 0 0,1-1 0 0 0,-1-1 0 0 0,0-1 0 0 0,1 0 0 0 0,-1-2 0 0 0,0 0 0 0 0,1-1 0 0 0,-1-1 0 0 0,0-1 0 0 0,-1-1 0 0 0,1-1 0 0 0,26-11 0 0 0,-18 5-62 0 0,-1-1-1 0 0,-1-2 0 0 0,0-1 1 0 0,-1 0-1 0 0,-1-2 0 0 0,-1-1 1 0 0,0-1-1 0 0,28-33 0 0 0,-38 39 54 0 0,-1-1-1 0 0,-1 0 0 0 0,-1-1 0 0 0,0-1 1 0 0,-1 1-1 0 0,0-2 0 0 0,-2 1 0 0 0,0-1 1 0 0,-1 0-1 0 0,-1 0 0 0 0,5-26 1 0 0,-10 37-5 0 0,1 0 1 0 0,-1 0-1 0 0,0 0 1 0 0,-1 0-1 0 0,-2-12 1 0 0,3 17-4 0 0,0 0 1 0 0,-1 0 0 0 0,1 0 0 0 0,-1 0 0 0 0,0 0 0 0 0,0 0 0 0 0,0 0 0 0 0,0 1 0 0 0,0-1 0 0 0,0 0 0 0 0,0 1 0 0 0,0-1-1 0 0,-1 1 1 0 0,1-1 0 0 0,0 1 0 0 0,-1-1 0 0 0,0 1 0 0 0,1 0 0 0 0,-1 0 0 0 0,0 0 0 0 0,1 0 0 0 0,-1 0 0 0 0,0 0-1 0 0,0 1 1 0 0,0-1 0 0 0,-2 0 0 0 0,-1 0-3 0 0,0 1 0 0 0,0-1 0 0 0,0 1 0 0 0,0 1 0 0 0,0-1 0 0 0,0 1 0 0 0,0-1 0 0 0,0 1 0 0 0,0 1 0 0 0,0-1 0 0 0,0 1 0 0 0,1 0 0 0 0,-9 4 0 0 0,4 0 0 0 0,0 0-1 0 0,0 1 1 0 0,1 0 0 0 0,0 0 0 0 0,-13 15-1 0 0,12-11 10 0 0,1-1-1 0 0,1 1 1 0 0,0 1 0 0 0,0 0-1 0 0,1 0 1 0 0,1 0-1 0 0,0 0 1 0 0,1 1 0 0 0,-5 21-1 0 0,7-26 16 0 0,1 0 1 0 0,0 0-1 0 0,0 0 0 0 0,0 0 0 0 0,1 0 0 0 0,1 0 1 0 0,-1 0-1 0 0,1 0 0 0 0,1 0 0 0 0,0 0 0 0 0,0 0 1 0 0,0 0-1 0 0,1-1 0 0 0,0 1 0 0 0,0-1 0 0 0,1 0 0 0 0,5 8 1 0 0,-7-12-10 0 0,-1-1 1 0 0,1 0 0 0 0,0 0 0 0 0,0 0 0 0 0,1 0 0 0 0,-1-1-1 0 0,0 1 1 0 0,1 0 0 0 0,-1-1 0 0 0,1 0 0 0 0,-1 1 0 0 0,1-1-1 0 0,-1 0 1 0 0,1-1 0 0 0,0 1 0 0 0,0 0 0 0 0,-1-1-1 0 0,1 1 1 0 0,0-1 0 0 0,0 0 0 0 0,0 0 0 0 0,0 0 0 0 0,-1 0-1 0 0,1-1 1 0 0,0 1 0 0 0,0-1 0 0 0,0 1 0 0 0,-1-1 0 0 0,1 0-1 0 0,0 0 1 0 0,-1 0 0 0 0,1-1 0 0 0,-1 1 0 0 0,4-3 0 0 0,0 0 2 0 0,1 0 0 0 0,-1-1 1 0 0,0 0-1 0 0,0 0 1 0 0,0 0-1 0 0,-1-1 1 0 0,0 0-1 0 0,0 0 1 0 0,0 0-1 0 0,-1 0 1 0 0,6-11-1 0 0,14-18 190 0 0,-20 38-217 0 0,-4-3 16 0 0,1 0-1 0 0,-1 0 1 0 0,0 0-1 0 0,1 0 1 0 0,-1 0-1 0 0,0 1 1 0 0,1-1-1 0 0,-1 0 1 0 0,0 0-1 0 0,1 0 1 0 0,-1 1-1 0 0,0-1 0 0 0,1 0 1 0 0,-1 0-1 0 0,0 1 1 0 0,0-1-1 0 0,1 0 1 0 0,-1 0-1 0 0,0 1 1 0 0,0-1-1 0 0,0 0 1 0 0,0 1-1 0 0,1-1 1 0 0,-1 1-1 0 0,4 9 19 0 0,0-1-1 0 0,1 1 0 0 0,0-1 0 0 0,1 0 1 0 0,0 0-1 0 0,0-1 0 0 0,1 0 0 0 0,0 0 0 0 0,1 0 1 0 0,-1-1-1 0 0,2 0 0 0 0,-1-1 0 0 0,0 0 1 0 0,1 0-1 0 0,1-1 0 0 0,-1 0 0 0 0,0 0 1 0 0,1-1-1 0 0,20 5 0 0 0,-26-8-9 0 0,0 0-1 0 0,1 0 1 0 0,-1-1-1 0 0,0 0 1 0 0,1 0 0 0 0,-1 0-1 0 0,0-1 1 0 0,1 1-1 0 0,-1-1 1 0 0,0 0 0 0 0,0 0-1 0 0,0-1 1 0 0,1 1-1 0 0,-2-1 1 0 0,1 0 0 0 0,0 0-1 0 0,0 0 1 0 0,5-5-1 0 0,-3 3-5 0 0,0-1 0 0 0,0-1 0 0 0,-1 1-1 0 0,0-1 1 0 0,0 0 0 0 0,0 0-1 0 0,-1 0 1 0 0,0-1 0 0 0,5-9-1 0 0,-2-3 99 0 0,0 0-1 0 0,-1-1 0 0 0,5-27 1 0 0,-11 45-114 0 0,-2-3 15 0 0,2 1-26 0 0,-5 9 18 0 0,4-3 1 0 0,13 24 359 0 0,-12-25-333 0 0,0-1 0 0 0,1 0-1 0 0,-1 0 1 0 0,1 1 0 0 0,-1-1 0 0 0,1 0 0 0 0,-1 0 0 0 0,1 1 0 0 0,-1-1-1 0 0,1 0 1 0 0,-1 0 0 0 0,1 0 0 0 0,-1 0 0 0 0,1 0 0 0 0,-1 0 0 0 0,1 0 0 0 0,0 0-1 0 0,-1 0 1 0 0,1 0 0 0 0,-1 0 0 0 0,1 0 0 0 0,-1 0 0 0 0,1-1 0 0 0,-1 1 0 0 0,1 0-1 0 0,-1 0 1 0 0,1 0 0 0 0,-1-1 0 0 0,1 1 0 0 0,-1 0 0 0 0,0-1 0 0 0,1 1 0 0 0,-1 0-1 0 0,1-1 1 0 0,-1 1 0 0 0,0-1 0 0 0,1 1 0 0 0,-1-1 0 0 0,0 1 0 0 0,0 0-1 0 0,1-1 1 0 0,-1 1 0 0 0,0-1 0 0 0,0 1 0 0 0,1-2 0 0 0,-1 1-2 0 0,0-36 24 0 0,0 16-64 0 0,-5-31 1 0 0,4 50 11 0 0,-1-16-97 0 0,2 16 44 0 0,0 5-120 0 0,0-2 191 0 0,0-1 1 0 0,0 1-1 0 0,0 0 0 0 0,0-1 0 0 0,0 1 0 0 0,0 0 0 0 0,0-1 0 0 0,0 1 0 0 0,0 0 0 0 0,0-1 1 0 0,0 1-1 0 0,0-1 0 0 0,0 1 0 0 0,0 0 0 0 0,1-1 0 0 0,-1 1 0 0 0,0 0 0 0 0,0-1 0 0 0,1 1 1 0 0,-1-1-1 0 0,0 1 0 0 0,1-1 0 0 0,-1 1 0 0 0,1-1 0 0 0,0 1 0 0 0,37-10-20 0 0,0 1 0 0 0,1 2-1 0 0,42-2 1 0 0,-65 6 1 0 0,0 1 0 0 0,1 1 0 0 0,-1 1 0 0 0,0 0 0 0 0,1 1 0 0 0,19 5-1 0 0,-32-6 9 0 0,0 0 0 0 0,1 0 0 0 0,-1 1 0 0 0,0 0-1 0 0,0 0 1 0 0,0 0 0 0 0,-1 0 0 0 0,1 0-1 0 0,0 1 1 0 0,-1 0 0 0 0,0 0 0 0 0,1 0-1 0 0,-1 0 1 0 0,0 0 0 0 0,-1 0 0 0 0,1 1-1 0 0,-1 0 1 0 0,1-1 0 0 0,-1 1 0 0 0,0 0-1 0 0,0 0 1 0 0,-1 0 0 0 0,1 0 0 0 0,-1 1 0 0 0,0-1-1 0 0,0 0 1 0 0,1 9 0 0 0,-1 11-17 0 0,0-6 30 0 0,0 0 0 0 0,1 0 0 0 0,1-1 1 0 0,1 1-1 0 0,8 22 0 0 0,-10-35 5 0 0,1 0 0 0 0,0 0 0 0 0,1 0-1 0 0,-1 0 1 0 0,1-1 0 0 0,0 0 0 0 0,0 0 0 0 0,0 0-1 0 0,1 0 1 0 0,-1 0 0 0 0,1-1 0 0 0,0 0-1 0 0,0 0 1 0 0,0 0 0 0 0,0-1 0 0 0,1 1 0 0 0,-1-1-1 0 0,1-1 1 0 0,-1 1 0 0 0,1-1 0 0 0,0 0 0 0 0,0 0-1 0 0,6 0 1 0 0,1 0-24 0 0,0-1 0 0 0,0 0-1 0 0,0-1 1 0 0,0 0 0 0 0,0-1-1 0 0,-1-1 1 0 0,1 0 0 0 0,-1 0-1 0 0,17-8 1 0 0,-16 5-24 0 0,-1-1 0 0 0,-1 0 0 0 0,1 0 0 0 0,-1-1 0 0 0,0-1 0 0 0,-1 0 0 0 0,0 0 0 0 0,-1-1 0 0 0,0-1 0 0 0,0 1 0 0 0,7-13 0 0 0,-10 14 24 0 0,-1 1 0 0 0,-1-1 0 0 0,1-1 0 0 0,-1 1 0 0 0,-1 0 0 0 0,0-1-1 0 0,0 0 1 0 0,-1 0 0 0 0,0 0 0 0 0,0 0 0 0 0,-1 0 0 0 0,-1 0 0 0 0,0 0-1 0 0,0-1 1 0 0,-3-14 0 0 0,2 21 2 0 0,0 1 0 0 0,0-1 0 0 0,0 1 1 0 0,-1-1-1 0 0,1 1 0 0 0,-1 0 0 0 0,0 0 0 0 0,0-1 0 0 0,0 1 0 0 0,-1 0 0 0 0,1 1 0 0 0,-1-1 0 0 0,1 0 1 0 0,-1 1-1 0 0,0-1 0 0 0,0 1 0 0 0,0 0 0 0 0,0 0 0 0 0,0 0 0 0 0,0 1 0 0 0,-1-1 0 0 0,-5-1 0 0 0,8 2 6 0 0,0 1 0 0 0,0-1 0 0 0,0 1 0 0 0,0 0 0 0 0,0 0 0 0 0,0-1 0 0 0,0 1 0 0 0,0 0 0 0 0,-1 0 0 0 0,1 0 0 0 0,0 0 0 0 0,0 0 0 0 0,0 0 0 0 0,0 0 0 0 0,0 1 0 0 0,0-1 0 0 0,0 0 0 0 0,0 1 0 0 0,0-1 0 0 0,0 1 0 0 0,0-1 0 0 0,0 1 0 0 0,0-1 0 0 0,0 1 0 0 0,0-1 0 0 0,1 1 0 0 0,-1 0 0 0 0,0 0 0 0 0,0-1 0 0 0,0 1 0 0 0,1 0 0 0 0,-1 0 0 0 0,1 0 0 0 0,-1 0 0 0 0,1 0-1 0 0,-1 0 1 0 0,1 0 0 0 0,-1 0 0 0 0,1 0 0 0 0,0 0 0 0 0,-1 0 0 0 0,1 1 0 0 0,-1 1 5 0 0,1 1 1 0 0,-1-1-1 0 0,1 0 0 0 0,0 1 0 0 0,0-1 0 0 0,0 0 1 0 0,1 0-1 0 0,-1 1 0 0 0,1-1 0 0 0,-1 0 0 0 0,3 6 0 0 0,2-1 8 0 0,0 1-1 0 0,0-1 0 0 0,1 0 0 0 0,0-1 0 0 0,1 1 0 0 0,0-1 1 0 0,0-1-1 0 0,0 1 0 0 0,10 6 0 0 0,13 7-9 0 0,37 19-1 0 0,-28-18-60 0 0,-27-14 42 0 0,0 1 0 0 0,-1 0 0 0 0,0 0 0 0 0,-1 1 0 0 0,0 0-1 0 0,0 1 1 0 0,-1 0 0 0 0,16 23 0 0 0,-21-26 21 0 0,1 1 1 0 0,-1 0-1 0 0,-1 0 0 0 0,1 0 0 0 0,-1 1 1 0 0,-1-1-1 0 0,0 1 0 0 0,0 0 1 0 0,0-1-1 0 0,-1 1 0 0 0,-1 0 1 0 0,1 0-1 0 0,-1 0 0 0 0,-3 16 0 0 0,2-19 5 0 0,-1 0-1 0 0,1-1 1 0 0,-1 0-1 0 0,0 1 1 0 0,-1-1-1 0 0,0 0 1 0 0,1 0-1 0 0,-1 0 0 0 0,-1-1 1 0 0,1 1-1 0 0,-1-1 1 0 0,0 1-1 0 0,0-1 1 0 0,0-1-1 0 0,0 1 1 0 0,-1 0-1 0 0,-8 4 0 0 0,0-1 11 0 0,1 0-1 0 0,-1-1 1 0 0,-1-1-1 0 0,1 0 1 0 0,-28 6-1 0 0,31-9-255 0 0,1-1 0 0 0,-1 0 0 0 0,1-1 1 0 0,-1 0-1 0 0,0 0 0 0 0,1-1 0 0 0,-1 0 0 0 0,1-1 0 0 0,-11-3 0 0 0,19 5 44 0 0,0-1-1 0 0,0 1 1 0 0,0-1-1 0 0,0 1 1 0 0,0-1 0 0 0,0 0-1 0 0,0 1 1 0 0,0-1-1 0 0,0 0 1 0 0,0 0-1 0 0,1 1 1 0 0,-1-1-1 0 0,0 0 1 0 0,0 0-1 0 0,1 0 1 0 0,-1 0 0 0 0,1 0-1 0 0,-1 0 1 0 0,1 0-1 0 0,-1-1 1 0 0,1 1-1 0 0,0 0 1 0 0,-1-2-1 0 0,1 1-317 0 0,-1-1 0 0 0,1 1-1 0 0,0 0 1 0 0,0 0-1 0 0,0 0 1 0 0,0-1 0 0 0,1 1-1 0 0,-1 0 1 0 0,1 0-1 0 0,-1 0 1 0 0,2-3 0 0 0,5-9-3686 0 0</inkml:trace>
</inkml:ink>
</file>

<file path=ppt/ink/ink2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4:16.83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71 2424 0 0,'38'-20'8460'0'0,"-42"40"-7306"0"0,2-16-1051 0 0,0 1 1 0 0,1-1-1 0 0,-1 1 1 0 0,1 0-1 0 0,0 0 1 0 0,0 0-1 0 0,1 0 1 0 0,-1 0-1 0 0,1 0 1 0 0,0 0-1 0 0,0 0 1 0 0,1-1-1 0 0,-1 1 1 0 0,1 0-1 0 0,3 8 1 0 0,-1-6-14 0 0,0 0 1 0 0,0 0-1 0 0,1 0 1 0 0,0-1-1 0 0,1 0 0 0 0,-1 0 1 0 0,1 0-1 0 0,0 0 1 0 0,10 8-1 0 0,-7-6-15 0 0,1-1-1 0 0,0 0 1 0 0,0 0-1 0 0,1 0 1 0 0,-1-1-1 0 0,1-1 1 0 0,1 1-1 0 0,-1-2 1 0 0,1 0-1 0 0,0 0 1 0 0,18 4-1 0 0,-27-8-37 0 0,0 1 0 0 0,0-1 0 0 0,1 0-1 0 0,-1 0 1 0 0,0 0 0 0 0,0 0 0 0 0,1 0 0 0 0,-1 0-1 0 0,0 0 1 0 0,0-1 0 0 0,0 1 0 0 0,1-1 0 0 0,-1 0 0 0 0,0 0-1 0 0,0 1 1 0 0,0-1 0 0 0,0-1 0 0 0,0 1 0 0 0,0 0-1 0 0,-1 0 1 0 0,1-1 0 0 0,0 1 0 0 0,0-1 0 0 0,-1 1 0 0 0,1-1-1 0 0,-1 0 1 0 0,0 0 0 0 0,1 0 0 0 0,-1 1 0 0 0,0-1-1 0 0,0 0 1 0 0,0 0 0 0 0,-1-1 0 0 0,1 1 0 0 0,0 0 0 0 0,0-4-1 0 0,0 0-13 0 0,-1 1 0 0 0,1-1 0 0 0,-1 0 1 0 0,-1 1-1 0 0,1-1 0 0 0,-1 1 0 0 0,0-1 0 0 0,0 1 0 0 0,0-1 0 0 0,-1 1 0 0 0,0 0 0 0 0,0-1 0 0 0,-3-5 0 0 0,-3-1 11 0 0,0 1-1 0 0,-1 0 1 0 0,0 0-1 0 0,0 0 1 0 0,-22-16 0 0 0,7 7-1412 0 0,-43-24 1 0 0,55 38 418 0 0,11 5 678 0 0,0 1 0 0 0,0 0 0 0 0,0-1 0 0 0,0 1 0 0 0,0 0 0 0 0,0-1-1 0 0,0 0 1 0 0,0 1 0 0 0,1-1 0 0 0,-1 1 0 0 0,0-1 0 0 0,0 0 0 0 0,0 0-1 0 0,1 1 1 0 0,-1-1 0 0 0,0 0 0 0 0,1 0 0 0 0,-1 0 0 0 0,1 0 0 0 0,-1 0-1 0 0,1 0 1 0 0,-1 0 0 0 0,1 0 0 0 0,0 0 0 0 0,0 0 0 0 0,-1-1 0 0 0</inkml:trace>
</inkml:ink>
</file>

<file path=ppt/ink/ink2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4:17.20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 1464 0 0,'5'-1'338'0'0,"-1"0"0"0"0,1 1-1 0 0,-1-1 1 0 0,1 1 0 0 0,0 0 0 0 0,-1 1-1 0 0,1-1 1 0 0,-1 1 0 0 0,1 0-1 0 0,0 0 1 0 0,-1 0 0 0 0,0 0 0 0 0,1 1-1 0 0,-1 0 1 0 0,0 0 0 0 0,0 0 0 0 0,0 1-1 0 0,0-1 1 0 0,0 1 0 0 0,-1 0 0 0 0,1 0-1 0 0,-1 0 1 0 0,0 0 0 0 0,0 1-1 0 0,0-1 1 0 0,0 1 0 0 0,0 0 0 0 0,1 5-1 0 0,24 43 1238 0 0,-2 1-1 0 0,30 94 0 0 0,-31-66 1973 0 0,-25-83-3363 0 0,1-9-134 0 0,0 0-1 0 0,1 0 0 0 0,1 0 1 0 0,-1 0-1 0 0,2 1 0 0 0,-1-1 1 0 0,1 1-1 0 0,8-14 0 0 0,-3 8-57 0 0,1 0-1 0 0,0 0 0 0 0,1 1 0 0 0,16-18 1 0 0,-24 30-1 0 0,0 0 0 0 0,1 0 1 0 0,-1 0-1 0 0,0 1 1 0 0,1-1-1 0 0,0 1 1 0 0,-1 0-1 0 0,1 0 0 0 0,0 0 1 0 0,0 0-1 0 0,0 1 1 0 0,0 0-1 0 0,0-1 1 0 0,1 2-1 0 0,4-2 0 0 0,-5 2 9 0 0,-1 0-1 0 0,1 0 1 0 0,-1 1-1 0 0,1-1 1 0 0,0 1-1 0 0,-1 0 1 0 0,1 0-1 0 0,-1 0 1 0 0,0 1-1 0 0,1-1 1 0 0,-1 1-1 0 0,0 0 1 0 0,0-1-1 0 0,0 1 1 0 0,0 1-1 0 0,0-1 1 0 0,0 0-1 0 0,3 5 1 0 0,1 1-105 0 0,0 1 1 0 0,-1-1-1 0 0,0 1 1 0 0,-1 0-1 0 0,0 0 0 0 0,0 1 1 0 0,-1-1-1 0 0,3 11 1 0 0,2 12-3653 0 0,6 40 1 0 0,-9-43-500 0 0,-4-14-596 0 0</inkml:trace>
</inkml:ink>
</file>

<file path=ppt/ink/ink2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4:19.49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45 623 92 0 0,'13'-17'2066'0'0,"0"0"0"0"0,10-20-1 0 0,-20 32-1741 0 0,-1 0-1 0 0,0 0 0 0 0,1-1 0 0 0,-2 1 0 0 0,1 0 0 0 0,0-1 0 0 0,-1 1 0 0 0,0-1 0 0 0,-1 0 0 0 0,1 1 0 0 0,-1-1 1 0 0,-1-9-1 0 0,1 14-286 0 0,0 0 1 0 0,0 0 0 0 0,0 0 0 0 0,0 0-1 0 0,-1 0 1 0 0,1 1 0 0 0,0-1 0 0 0,-1 0-1 0 0,1 0 1 0 0,-1 0 0 0 0,1 0 0 0 0,-1 0-1 0 0,1 0 1 0 0,-1 1 0 0 0,0-1 0 0 0,1 0-1 0 0,-1 1 1 0 0,0-1 0 0 0,0 0 0 0 0,1 1-1 0 0,-1-1 1 0 0,0 1 0 0 0,0-1 0 0 0,0 1-1 0 0,0-1 1 0 0,0 1 0 0 0,0 0 0 0 0,0-1-1 0 0,0 1 1 0 0,0 0 0 0 0,0 0 0 0 0,0 0-1 0 0,0 0 1 0 0,0 0 0 0 0,0 0 0 0 0,0 0-1 0 0,0 0 1 0 0,0 0 0 0 0,0 0 0 0 0,0 0-1 0 0,0 1 1 0 0,-1 0 0 0 0,-3 0 123 0 0,0 1-1 0 0,0 0 1 0 0,0 0 0 0 0,1 1 0 0 0,-10 5 0 0 0,2 0 12 0 0,1 1 0 0 0,0 1 0 0 0,1 0 0 0 0,0 0 0 0 0,0 1 0 0 0,1 1 0 0 0,0-1 0 0 0,1 1 0 0 0,1 1 0 0 0,0-1 0 0 0,0 1 0 0 0,1 0 0 0 0,1 1 0 0 0,-7 27 0 0 0,9-30-119 0 0,2 1-1 0 0,-1-1 1 0 0,1 0 0 0 0,1 0 0 0 0,0 1 0 0 0,1-1-1 0 0,0 0 1 0 0,1 0 0 0 0,0 0 0 0 0,1 0 0 0 0,0 0-1 0 0,0 0 1 0 0,1 0 0 0 0,1-1 0 0 0,0 0 0 0 0,0 0-1 0 0,1 0 1 0 0,0-1 0 0 0,14 16 0 0 0,-12-16-28 0 0,0-1 0 0 0,0 0-1 0 0,1-1 1 0 0,0 0 0 0 0,0 0 0 0 0,1-1 0 0 0,-1 0 0 0 0,2-1-1 0 0,-1 0 1 0 0,0 0 0 0 0,1-1 0 0 0,0-1 0 0 0,17 4 0 0 0,-20-6-19 0 0,1 0 1 0 0,-1 0-1 0 0,1-1 1 0 0,-1 0-1 0 0,1-1 1 0 0,-1 0-1 0 0,1 0 1 0 0,-1-1-1 0 0,1 0 1 0 0,-1 0-1 0 0,0-1 1 0 0,0 0-1 0 0,0 0 1 0 0,0-1-1 0 0,-1 0 1 0 0,0-1 0 0 0,1 1-1 0 0,8-9 1 0 0,-7 5-27 0 0,-1 0 1 0 0,-1 0 0 0 0,1-1 0 0 0,-2 0 0 0 0,1 0 0 0 0,-1 0-1 0 0,0-1 1 0 0,7-19 0 0 0,-11 25 11 0 0,0-1-1 0 0,0 1 0 0 0,-1-1 0 0 0,0 0 1 0 0,0 0-1 0 0,0 0 0 0 0,0 0 1 0 0,-1 0-1 0 0,0 0 0 0 0,0 0 1 0 0,0 0-1 0 0,-1 0 0 0 0,0 1 1 0 0,1-1-1 0 0,-2 0 0 0 0,1 0 1 0 0,-1 0-1 0 0,1 1 0 0 0,-1-1 1 0 0,0 1-1 0 0,-1-1 0 0 0,-2-3 1 0 0,2 5 1 0 0,1 1 0 0 0,0 0 0 0 0,-1-1 0 0 0,0 1 1 0 0,1 0-1 0 0,-1 1 0 0 0,0-1 0 0 0,0 0 0 0 0,0 1 1 0 0,0 0-1 0 0,0 0 0 0 0,0-1 0 0 0,-1 2 0 0 0,1-1 1 0 0,0 0-1 0 0,-1 1 0 0 0,1 0 0 0 0,0-1 0 0 0,-1 1 1 0 0,1 0-1 0 0,0 1 0 0 0,-1-1 0 0 0,1 1 0 0 0,0-1 1 0 0,-1 1-1 0 0,1 0 0 0 0,0 0 0 0 0,0 1 0 0 0,-5 2 1 0 0,7-3 7 0 0,0 0 1 0 0,0 0 0 0 0,0 1-1 0 0,0-1 1 0 0,0 0 0 0 0,1 1-1 0 0,-1-1 1 0 0,0 1 0 0 0,1-1-1 0 0,-1 1 1 0 0,1-1 0 0 0,-1 1 0 0 0,1 0-1 0 0,0-1 1 0 0,0 1 0 0 0,-1-1-1 0 0,1 1 1 0 0,0 0 0 0 0,1-1-1 0 0,-1 1 1 0 0,0 0 0 0 0,0-1-1 0 0,1 1 1 0 0,0 1 0 0 0,1 2 11 0 0,0 0-1 0 0,0-1 1 0 0,1 0 0 0 0,0 1 0 0 0,0-1 0 0 0,0 0 0 0 0,0 0-1 0 0,1 0 1 0 0,-1-1 0 0 0,1 1 0 0 0,0-1 0 0 0,9 5-1 0 0,4 3 57 0 0,35 14 1 0 0,-41-20-43 0 0,-6-2 32 0 0,0-1 1 0 0,0 0-1 0 0,1 0 0 0 0,-1-1 1 0 0,0 0-1 0 0,1 0 0 0 0,-1 0 1 0 0,1 0-1 0 0,0-1 1 0 0,-1 0-1 0 0,1 0 0 0 0,-1-1 1 0 0,1 1-1 0 0,5-2 0 0 0,-10 1-59 0 0,1 1 0 0 0,-1-1 0 0 0,1 1 0 0 0,-1-1 0 0 0,0 0-1 0 0,1 0 1 0 0,-1 1 0 0 0,0-1 0 0 0,1 0 0 0 0,-1 0 0 0 0,0 0 0 0 0,0 0 0 0 0,0-1-1 0 0,0 1 1 0 0,0 0 0 0 0,0 0 0 0 0,0-1 0 0 0,-1 1 0 0 0,1 0 0 0 0,0-1-1 0 0,-1 1 1 0 0,1-1 0 0 0,-1 1 0 0 0,1-1 0 0 0,-1 1 0 0 0,0-1 0 0 0,0 1-1 0 0,1-1 1 0 0,-1 1 0 0 0,0-1 0 0 0,-1 1 0 0 0,1-1 0 0 0,0 0 0 0 0,0 1-1 0 0,-1-1 1 0 0,1 1 0 0 0,-1-3 0 0 0,-2-4-267 0 0,0-1-1 0 0,0 0 1 0 0,-1 1 0 0 0,-6-13 0 0 0,-16-17-2126 0 0,20 31 1473 0 0,0-1-1 0 0,1 0 0 0 0,0-1 0 0 0,-6-12 0 0 0,11 19 773 0 0,-1 0 0 0 0,1 0 0 0 0,0 0 0 0 0,-1 0 0 0 0,1 0 0 0 0,0 0 0 0 0,0 0 0 0 0,0 0 0 0 0,1 0 0 0 0,-1 0 0 0 0,0 0 0 0 0,1 0 0 0 0,-1 0 0 0 0,1 0 0 0 0,0 0 0 0 0,-1 0 0 0 0,1 0 1 0 0,0 1-1 0 0,0-1 0 0 0,0 0 0 0 0,1 0 0 0 0,-1 1 0 0 0,0-1 0 0 0,1 1 0 0 0,-1-1 0 0 0,1 1 0 0 0,-1 0 0 0 0,1-1 0 0 0,0 1 0 0 0,2-1 0 0 0,3-2 179 0 0,0 0-1 0 0,0 0 1 0 0,0 1 0 0 0,0 0-1 0 0,1 0 1 0 0,7-1-1 0 0,-8 3 130 0 0,-1 1 0 0 0,0-1 0 0 0,0 1 0 0 0,1 1 0 0 0,-1-1 0 0 0,0 1 0 0 0,0 0 0 0 0,0 0 0 0 0,0 1 0 0 0,10 3 0 0 0,2 3 629 0 0,33 18 0 0 0,-31-14-398 0 0,-1 0-1 0 0,-1 2 1 0 0,0 0-1 0 0,29 30 1 0 0,-37-33-209 0 0,0 0 0 0 0,-1 1-1 0 0,-1-1 1 0 0,0 2 0 0 0,-1-1 0 0 0,0 1 0 0 0,-1 0 0 0 0,9 25 0 0 0,-15-37-54 0 0,1 1-1 0 0,-1-1 1 0 0,1 1 0 0 0,-1-1-1 0 0,0 1 1 0 0,0-1 0 0 0,0 1-1 0 0,1 0 1 0 0,-2-1 0 0 0,1 1-1 0 0,0-1 1 0 0,0 1 0 0 0,0-1-1 0 0,-1 1 1 0 0,1-1 0 0 0,-1 3-1 0 0,0-4-61 0 0,1 1 0 0 0,-1-1-1 0 0,1 1 1 0 0,-1-1-1 0 0,1 1 1 0 0,-1-1 0 0 0,0 1-1 0 0,1-1 1 0 0,-1 0-1 0 0,0 1 1 0 0,1-1 0 0 0,-1 0-1 0 0,0 0 1 0 0,1 0 0 0 0,-1 1-1 0 0,0-1 1 0 0,1 0-1 0 0,-1 0 1 0 0,0 0 0 0 0,0 0-1 0 0,1 0 1 0 0,-1 0-1 0 0,0 0 1 0 0,0 0 0 0 0,-1-1-1 0 0,1 1-42 0 0,0-1 0 0 0,0 1 1 0 0,0-1-1 0 0,0 1 0 0 0,0-1 0 0 0,1 1 0 0 0,-1-1 0 0 0,0 0 0 0 0,0 0 0 0 0,0 1 0 0 0,0-1 1 0 0,1 0-1 0 0,-1 0 0 0 0,0 0 0 0 0,1 0 0 0 0,-1 0 0 0 0,1 0 0 0 0,-1 0 0 0 0,1 0 1 0 0,-1 0-1 0 0,1 0 0 0 0,0 0 0 0 0,-1 0 0 0 0,1 0 0 0 0,0-2 0 0 0,-2-28 204 0 0,2 27-193 0 0,1-4-55 0 0,0 0 0 0 0,0 0 0 0 0,1 0 0 0 0,0 1 1 0 0,0-1-1 0 0,1 1 0 0 0,0-1 0 0 0,0 1 0 0 0,1 0 1 0 0,0 0-1 0 0,0 0 0 0 0,10-11 0 0 0,-3 5-232 0 0,0 0 0 0 0,2 1 0 0 0,-1 0 0 0 0,27-19 0 0 0,-30 25 177 0 0,1 0 1 0 0,-1 1-1 0 0,1 0 1 0 0,0 0-1 0 0,0 1 0 0 0,0 0 1 0 0,1 1-1 0 0,-1 0 1 0 0,20-2-1 0 0,-24 5 61 0 0,0-1 1 0 0,1 2-1 0 0,-1-1 1 0 0,0 0-1 0 0,1 1 1 0 0,-1 1-1 0 0,0-1 0 0 0,0 1 1 0 0,0 0-1 0 0,0 0 1 0 0,0 0-1 0 0,0 1 1 0 0,0 0-1 0 0,-1 0 0 0 0,1 1 1 0 0,-1 0-1 0 0,0 0 1 0 0,5 5-1 0 0,-1 1 44 0 0,0-1 0 0 0,-1 1 0 0 0,-1 0 1 0 0,1 1-1 0 0,-2 0 0 0 0,1 0 0 0 0,-2 1 0 0 0,0 0 0 0 0,0 0 1 0 0,-1 0-1 0 0,0 0 0 0 0,3 20 0 0 0,-10-5 371 0 0,3-26-365 0 0,0 0-1 0 0,0 0 0 0 0,0 0 1 0 0,-1 0-1 0 0,1 0 0 0 0,0 0 1 0 0,0-1-1 0 0,-1 1 0 0 0,1 0 1 0 0,0 0-1 0 0,-1 0 0 0 0,1-1 1 0 0,-1 1-1 0 0,1 0 0 0 0,-1-1 0 0 0,1 1 1 0 0,-1 0-1 0 0,0-1 0 0 0,1 1 1 0 0,-1 0-1 0 0,0-1 0 0 0,0 1 1 0 0,1-1-1 0 0,-1 0 0 0 0,0 1 1 0 0,-1 0-1 0 0,1-2-23 0 0,0 1-1 0 0,0 0 1 0 0,-1 0 0 0 0,1-1-1 0 0,0 1 1 0 0,0 0 0 0 0,0-1-1 0 0,0 1 1 0 0,0-1 0 0 0,0 0-1 0 0,0 1 1 0 0,-1-1 0 0 0,2 0-1 0 0,-1 0 1 0 0,0 0 0 0 0,0 1-1 0 0,0-1 1 0 0,0 0 0 0 0,0 0-1 0 0,1 0 1 0 0,-1 0 0 0 0,1-1 0 0 0,-2 0-1 0 0,1-2 1 0 0,0 1 1 0 0,0 0-1 0 0,1 0 0 0 0,-1-1 0 0 0,1 1 0 0 0,-1-1 1 0 0,1 1-1 0 0,1-7 0 0 0,0 1-5 0 0,0-1 1 0 0,1 1-1 0 0,0 0 0 0 0,1-1 1 0 0,7-16-1 0 0,0 9-25 0 0,0 0 0 0 0,2 0 1 0 0,-1 1-1 0 0,2 1 0 0 0,0 0 0 0 0,1 1 1 0 0,0 0-1 0 0,1 1 0 0 0,1 1 0 0 0,0 0 0 0 0,0 1 1 0 0,1 1-1 0 0,26-11 0 0 0,-38 19 6 0 0,-1 1-1 0 0,1-1 1 0 0,0 1 0 0 0,-1 0-1 0 0,8 0 1 0 0,-12 1 12 0 0,3 0-13 0 0,0 0 0 0 0,1 1 8 0 0,0 0-1 0 0,-1 0 0 0 0,1 0 1 0 0,-1 0-1 0 0,0 1 1 0 0,1-1-1 0 0,-1 1 1 0 0,0 0-1 0 0,0 0 0 0 0,4 3 1 0 0,15 14 43 0 0,-17-16-26 0 0,-1 0 1 0 0,1 0 0 0 0,0 0-1 0 0,0 0 1 0 0,0-1-1 0 0,0 0 1 0 0,0 0-1 0 0,1 0 1 0 0,-1-1 0 0 0,0 0-1 0 0,1 0 1 0 0,-1 0-1 0 0,1-1 1 0 0,0 1-1 0 0,-1-1 1 0 0,1-1 0 0 0,-1 1-1 0 0,1-1 1 0 0,-1 0-1 0 0,1 0 1 0 0,-1 0-1 0 0,0-1 1 0 0,1 0 0 0 0,-1 0-1 0 0,0-1 1 0 0,6-3-1 0 0,-4 2-28 0 0,0 0 0 0 0,-1-1 0 0 0,0 0-1 0 0,1-1 1 0 0,-2 1 0 0 0,1-1 0 0 0,-1 0 0 0 0,0 0 0 0 0,0-1-1 0 0,0 1 1 0 0,-1-1 0 0 0,0 0 0 0 0,-1-1 0 0 0,1 1-1 0 0,-1 0 1 0 0,-1-1 0 0 0,4-14 0 0 0,-6 21 14 0 0,0-1 0 0 0,0 1 0 0 0,0-1 0 0 0,0 0 0 0 0,0 1 1 0 0,0-1-1 0 0,0 0 0 0 0,-1 1 0 0 0,1-1 0 0 0,-1 1 0 0 0,1-1 0 0 0,-1 1 1 0 0,1-1-1 0 0,-1 1 0 0 0,0-1 0 0 0,0 1 0 0 0,0 0 0 0 0,0-1 0 0 0,0 1 0 0 0,0 0 1 0 0,-1-2-1 0 0,0 2 1 0 0,0 0 1 0 0,-1-1 0 0 0,1 1-1 0 0,0 0 1 0 0,0 1 0 0 0,-1-1-1 0 0,1 0 1 0 0,0 0 0 0 0,-1 1-1 0 0,1 0 1 0 0,0-1 0 0 0,-5 1-1 0 0,0 0 0 0 0,0 1 0 0 0,0-1 0 0 0,0 1 0 0 0,0 1 0 0 0,1-1 0 0 0,-1 1 0 0 0,1 1 0 0 0,-1-1 0 0 0,-6 4 0 0 0,7-2 13 0 0,1-1 0 0 0,0 1 0 0 0,0 0 0 0 0,0 0 1 0 0,0 1-1 0 0,1-1 0 0 0,-1 1 0 0 0,1 0 0 0 0,1 0 0 0 0,-1 1 0 0 0,1-1 1 0 0,0 1-1 0 0,0 0 0 0 0,0 0 0 0 0,1 0 0 0 0,0 0 0 0 0,-3 11 0 0 0,4-8 71 0 0,0-1 0 0 0,1 0 0 0 0,-1 0-1 0 0,1 0 1 0 0,1 0 0 0 0,0 0 0 0 0,0 1-1 0 0,0-1 1 0 0,1 0 0 0 0,1-1-1 0 0,-1 1 1 0 0,1 0 0 0 0,6 11 0 0 0,0-5 50 0 0,0 0 0 0 0,1 0 0 0 0,0-1 0 0 0,2 0 0 0 0,-1 0 0 0 0,1-2 0 0 0,1 1 0 0 0,22 14 0 0 0,-23-18-86 0 0,0 0 0 0 0,0-1-1 0 0,1-1 1 0 0,0 0 0 0 0,0 0-1 0 0,0-2 1 0 0,1 1 0 0 0,0-2 0 0 0,-1 0-1 0 0,24 2 1 0 0,-30-5-102 0 0,0 0 0 0 0,0 0 0 0 0,-1-1 0 0 0,1 0 0 0 0,0 0 0 0 0,-1-1-1 0 0,1 0 1 0 0,-1 0 0 0 0,1 0 0 0 0,-1-1 0 0 0,0 0 0 0 0,0 0 0 0 0,8-6 0 0 0,-5 2-71 0 0,-1 0 1 0 0,0 0-1 0 0,-1-1 1 0 0,0 0-1 0 0,0-1 1 0 0,-1 1-1 0 0,10-18 1 0 0,-1-5-143 0 0,-2 0 0 0 0,-1-1 0 0 0,-1-1 1 0 0,8-42-1 0 0,-3-10 445 0 0,-3 0 0 0 0,-4-1 0 0 0,-3-111 0 0 0,-6 192-145 0 0,0 1 0 0 0,-1-1 0 0 0,1 0 0 0 0,-1 0 1 0 0,0 0-1 0 0,0 0 0 0 0,-1 1 0 0 0,0-1 0 0 0,1 0 0 0 0,-4-4 0 0 0,4 9-21 0 0,0 0-1 0 0,0 0 0 0 0,0 0 1 0 0,0 0-1 0 0,1 0 1 0 0,-1 0-1 0 0,0 0 0 0 0,0 0 1 0 0,0 0-1 0 0,1 1 1 0 0,-1-1-1 0 0,0 0 0 0 0,0 1 1 0 0,0-1-1 0 0,1 0 1 0 0,-1 1-1 0 0,0-1 0 0 0,1 1 1 0 0,-2 0-1 0 0,-1 2 33 0 0,0-1-1 0 0,0 1 0 0 0,0 0 1 0 0,0 0-1 0 0,0 0 0 0 0,1 1 1 0 0,0-1-1 0 0,-1 1 0 0 0,1-1 1 0 0,0 1-1 0 0,-2 6 0 0 0,-12 45 231 0 0,10-19-184 0 0,2 1 0 0 0,1 0 0 0 0,2 1 0 0 0,1-1 0 0 0,8 53 0 0 0,44 182 225 0 0,-42-233-761 0 0,0 0 0 0 0,3 0 0 0 0,20 43 0 0 0,-28-72 17 0 0,0 0 0 0 0,1 0-1 0 0,0 0 1 0 0,0-1 0 0 0,1 0 0 0 0,0 0 0 0 0,1-1 0 0 0,0 0-1 0 0,0 0 1 0 0,1 0 0 0 0,0-1 0 0 0,0-1 0 0 0,0 0 0 0 0,1 0 0 0 0,0-1-1 0 0,12 5 1 0 0,-13-7 168 0 0,-1-1-1 0 0,1-1 1 0 0,0 0 0 0 0,-1 0-1 0 0,1-1 1 0 0,0 0-1 0 0,0 0 1 0 0,0-1-1 0 0,-1 0 1 0 0,1-1 0 0 0,0 0-1 0 0,-1 0 1 0 0,1-1-1 0 0,-1 0 1 0 0,0 0-1 0 0,0-1 1 0 0,0 0 0 0 0,0 0-1 0 0,10-9 1 0 0,-1 0 678 0 0,0 0-1 0 0,-1-2 1 0 0,0 1 0 0 0,-2-2 0 0 0,1 0 0 0 0,21-35 0 0 0,-31 43-102 0 0,0-1 0 0 0,-1 0 1 0 0,0 0-1 0 0,0-1 0 0 0,-1 1 0 0 0,0-1 1 0 0,-1 0-1 0 0,1-13 0 0 0,-2 20-246 0 0,0 0-1 0 0,-1-1 1 0 0,0 1-1 0 0,0 0 1 0 0,0-1-1 0 0,0 1 1 0 0,-1 0 0 0 0,1-1-1 0 0,-1 1 1 0 0,0 0-1 0 0,0 0 1 0 0,0 0-1 0 0,0-1 1 0 0,0 1-1 0 0,-1 0 1 0 0,1 1 0 0 0,-1-1-1 0 0,0 0 1 0 0,0 0-1 0 0,0 1 1 0 0,0-1-1 0 0,-1 1 1 0 0,1-1-1 0 0,-1 1 1 0 0,1 0 0 0 0,-1 0-1 0 0,0 0 1 0 0,0 1-1 0 0,-3-3 1 0 0,4 3-46 0 0,1 0-1 0 0,-1 1 1 0 0,0-1 0 0 0,0 0-1 0 0,0 0 1 0 0,1 1 0 0 0,-1-1-1 0 0,0 1 1 0 0,0 0 0 0 0,0 0-1 0 0,0-1 1 0 0,0 1 0 0 0,0 0-1 0 0,0 0 1 0 0,0 1 0 0 0,0-1-1 0 0,0 0 1 0 0,0 1 0 0 0,0-1-1 0 0,1 1 1 0 0,-1 0 0 0 0,0-1-1 0 0,0 1 1 0 0,0 0 0 0 0,1 0-1 0 0,-1 0 1 0 0,1 0 0 0 0,-1 1-1 0 0,1-1 1 0 0,-1 0 0 0 0,1 1-1 0 0,-1-1 1 0 0,1 1 0 0 0,0-1-1 0 0,0 1 1 0 0,0 0 0 0 0,-2 3-1 0 0,3-4-9 0 0,-1 0-1 0 0,1 0 0 0 0,0 1 1 0 0,-1-1-1 0 0,1 0 1 0 0,0 0-1 0 0,0 0 0 0 0,-1 1 1 0 0,1-1-1 0 0,0 0 1 0 0,0 1-1 0 0,1-1 0 0 0,-1 0 1 0 0,0 0-1 0 0,0 0 0 0 0,1 1 1 0 0,-1-1-1 0 0,0 0 1 0 0,1 0-1 0 0,-1 0 0 0 0,1 0 1 0 0,0 1-1 0 0,-1-1 1 0 0,1 0-1 0 0,1 1 0 0 0,17 16-18 0 0,-18-17-9 0 0,1 0-50 0 0,0 0-1 0 0,0-1 1 0 0,0 1 0 0 0,0 0-1 0 0,0-1 1 0 0,0 0 0 0 0,1 1 0 0 0,-1-1-1 0 0,0 0 1 0 0,0 0 0 0 0,1 0-1 0 0,-1 0 1 0 0,0-1 0 0 0,0 1-1 0 0,0-1 1 0 0,0 1 0 0 0,0-1 0 0 0,1 0-1 0 0,-1 0 1 0 0,0 0 0 0 0,0 0-1 0 0,-1 0 1 0 0,1 0 0 0 0,2-2-1 0 0,29-16-534 0 0,-32 18 484 0 0,0 3 12 0 0,0 1 157 0 0,0-1 0 0 0,0 1 0 0 0,0-1 1 0 0,-1 1-1 0 0,1 0 0 0 0,-1-1 0 0 0,0 1 1 0 0,1-1-1 0 0,-1 1 0 0 0,0 0 0 0 0,-1 2 1 0 0,1 4 137 0 0,2-2-104 0 0,0-1 0 0 0,0 1 0 0 0,0-1-1 0 0,1 0 1 0 0,0 0 0 0 0,0 0 0 0 0,0 0 0 0 0,1-1 0 0 0,0 1 0 0 0,0-1 0 0 0,0 0 0 0 0,1 0 0 0 0,-1-1 0 0 0,1 1 0 0 0,1-1-1 0 0,-1 0 1 0 0,0 0 0 0 0,1-1 0 0 0,0 1 0 0 0,0-1 0 0 0,0-1 0 0 0,0 1 0 0 0,0-1 0 0 0,10 2 0 0 0,-11-2-73 0 0,1-1 0 0 0,-1 0 0 0 0,1-1 0 0 0,0 1 1 0 0,-1-1-1 0 0,1 0 0 0 0,0 0 0 0 0,-1-1 1 0 0,1 0-1 0 0,-1 0 0 0 0,1 0 0 0 0,-1-1 0 0 0,1 1 1 0 0,-1-1-1 0 0,0 0 0 0 0,0-1 0 0 0,0 0 0 0 0,0 1 1 0 0,0-1-1 0 0,0-1 0 0 0,-1 1 0 0 0,0-1 0 0 0,0 0 1 0 0,0 0-1 0 0,0 0 0 0 0,0 0 0 0 0,-1-1 0 0 0,5-8 1 0 0,0-2-14 0 0,-1-1 0 0 0,-1 1 0 0 0,-1-2 0 0 0,0 1 0 0 0,-1 0 0 0 0,2-20 0 0 0,6-106 77 0 0,-9 83 174 0 0,5-199 4669 0 0,-10 250-4417 0 0,-3 17-357 0 0,-3 21-59 0 0,7-10-26 0 0,1 1 1 0 0,1 0 0 0 0,4 21 0 0 0,-1 1 10 0 0,13 85 95 0 0,-6-57-97 0 0,-4-9-369 0 0,10 61-2674 0 0,-1-44-2812 0 0,-9-62 359 0 0</inkml:trace>
</inkml:ink>
</file>

<file path=ppt/ink/ink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2:27.37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72 1116 0 0,'3'0'2839'0'0,"-1"0"-2598"0"0,0 0 0 0 0,0 0-1 0 0,1 0 1 0 0,-1 1 0 0 0,0-1 0 0 0,0 1 0 0 0,0 0 0 0 0,0-1-1 0 0,0 1 1 0 0,0 0 0 0 0,0 0 0 0 0,-1 0 0 0 0,1 1 0 0 0,0-1-1 0 0,0 0 1 0 0,-1 1 0 0 0,1-1 0 0 0,-1 1 0 0 0,3 2-1 0 0,1 3 118 0 0,1 1 0 0 0,-2-1-1 0 0,1 1 1 0 0,-1 0 0 0 0,0 0-1 0 0,-1 0 1 0 0,4 14 0 0 0,-2-6 63 0 0,-2 1 0 0 0,4 32 0 0 0,-7-43-360 0 0,0-1-1 0 0,0 0 1 0 0,-1 1 0 0 0,1-1 0 0 0,-1 0-1 0 0,0 1 1 0 0,-1-1 0 0 0,-3 9 0 0 0,4-11-41 0 0,0-1 0 0 0,0 0 1 0 0,-1 1-1 0 0,1-1 0 0 0,0 0 1 0 0,-1 0-1 0 0,0 0 1 0 0,1 0-1 0 0,-1 0 0 0 0,0 0 1 0 0,0-1-1 0 0,0 1 0 0 0,0 0 1 0 0,0-1-1 0 0,-1 0 0 0 0,1 1 1 0 0,0-1-1 0 0,-5 1 0 0 0,6-2-17 0 0,0 0-1 0 0,0 0 1 0 0,0 0 0 0 0,0 0-1 0 0,0 0 1 0 0,0 0-1 0 0,0 0 1 0 0,0 0-1 0 0,0 0 1 0 0,0-1 0 0 0,0 1-1 0 0,0 0 1 0 0,1-1-1 0 0,-1 1 1 0 0,0-1-1 0 0,0 1 1 0 0,0-1 0 0 0,0 0-1 0 0,1 1 1 0 0,-1-1-1 0 0,0 0 1 0 0,0 1-1 0 0,1-1 1 0 0,-2-1 0 0 0,1 0-2 0 0,-1 0 1 0 0,1 0-1 0 0,0 0 1 0 0,0-1-1 0 0,0 1 1 0 0,0 0 0 0 0,0 0-1 0 0,0 0 1 0 0,0-5-1 0 0,0 4-2 0 0,1 1 1 0 0,0-1-1 0 0,0 0 0 0 0,0 1 0 0 0,1-1 0 0 0,-1 0 0 0 0,1 1 0 0 0,-1-1 0 0 0,1 0 0 0 0,0 1 1 0 0,0-1-1 0 0,0 1 0 0 0,0-1 0 0 0,0 1 0 0 0,1 0 0 0 0,2-4 0 0 0,0 2-4 0 0,-1 0 0 0 0,1 0 0 0 0,0 1 0 0 0,1-1 0 0 0,-1 1 0 0 0,1 0 0 0 0,9-4 0 0 0,4-1-6 0 0,0 1-1 0 0,1 1 1 0 0,33-6 0 0 0,10 0-6 0 0,-14 3 212 0 0,62-18 1 0 0,-95 22-62 0 0,-1-1-1 0 0,0 0 1 0 0,0 0 0 0 0,-1-1 0 0 0,0-1-1 0 0,0 0 1 0 0,-1-1 0 0 0,18-17 0 0 0,-27 24-84 0 0,-1 0 1 0 0,0 0 0 0 0,0-1-1 0 0,0 1 1 0 0,0 0 0 0 0,-1-1-1 0 0,1 0 1 0 0,-1 1 0 0 0,1-1-1 0 0,-1 0 1 0 0,0 0 0 0 0,0 0-1 0 0,0 0 1 0 0,0 0 0 0 0,-1 0-1 0 0,1-6 1 0 0,-1 8-45 0 0,0 1 0 0 0,0-1 0 0 0,-1 0 0 0 0,1 1 0 0 0,0-1 0 0 0,0 1 0 0 0,-1-1 0 0 0,1 0 0 0 0,0 1 0 0 0,-1-1 0 0 0,1 1 0 0 0,0-1 0 0 0,-1 1 0 0 0,1-1 0 0 0,-1 1 0 0 0,1-1 0 0 0,-1 1 0 0 0,1 0 0 0 0,-1-1 0 0 0,1 1 0 0 0,-1-1 0 0 0,0 1 0 0 0,1 0 0 0 0,-1 0 0 0 0,1-1 0 0 0,-1 1 0 0 0,0 0 0 0 0,1 0 0 0 0,-2 0 0 0 0,-21-1 126 0 0,12 3-73 0 0,0 0 0 0 0,0 1 0 0 0,1 1 1 0 0,-1 0-1 0 0,1 0 0 0 0,0 1 0 0 0,0 0 0 0 0,-10 8 0 0 0,18-12-23 0 0,-1 1 0 0 0,1 0 1 0 0,0 0-1 0 0,-1 0 0 0 0,1 0 0 0 0,0 0 1 0 0,1 1-1 0 0,-1-1 0 0 0,0 1 0 0 0,1-1 0 0 0,-1 1 1 0 0,1-1-1 0 0,0 1 0 0 0,-1 0 0 0 0,1 0 1 0 0,1 0-1 0 0,-1 0 0 0 0,0-1 0 0 0,1 1 0 0 0,0 0 1 0 0,-1 0-1 0 0,1 0 0 0 0,0 0 0 0 0,0 0 1 0 0,1 0-1 0 0,-1 0 0 0 0,1 0 0 0 0,0 0 1 0 0,-1 0-1 0 0,1 0 0 0 0,0 0 0 0 0,1-1 0 0 0,-1 1 1 0 0,0 0-1 0 0,1-1 0 0 0,3 5 0 0 0,0 1-121 0 0,2 0 0 0 0,-1-1-1 0 0,1 0 1 0 0,0 0-1 0 0,0-1 1 0 0,1 1 0 0 0,0-2-1 0 0,0 1 1 0 0,0-1-1 0 0,10 5 1 0 0,15 5-3290 0 0,48 15 0 0 0,-47-18-338 0 0,-28-11 1555 0 0,14 4-310 0 0</inkml:trace>
</inkml:ink>
</file>

<file path=ppt/ink/ink2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4:19.82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 244 788 0 0,'-1'-6'775'0'0,"-1"0"0"0"0,2-1 0 0 0,-1 1 0 0 0,1-1 0 0 0,0 1 0 0 0,0 0 0 0 0,1-1 0 0 0,1-9 0 0 0,0 12-660 0 0,-1 1 0 0 0,1-1 0 0 0,0 0-1 0 0,0 1 1 0 0,0-1 0 0 0,0 1 0 0 0,0 0 0 0 0,1-1 0 0 0,0 1-1 0 0,0 0 1 0 0,-1 1 0 0 0,2-1 0 0 0,-1 0 0 0 0,6-2 0 0 0,23-14 230 0 0,1 1 0 0 0,0 2 0 0 0,2 1 0 0 0,0 2 0 0 0,0 2 0 0 0,1 1 0 0 0,48-7 0 0 0,-83 17-345 0 0,11-3 268 0 0,0 1 0 0 0,0 1 0 0 0,1 0 1 0 0,22 2-1 0 0,-31-1-142 0 0,-1 1 1 0 0,1 0-1 0 0,-1 0 1 0 0,1 0-1 0 0,-1 0 1 0 0,0 0-1 0 0,0 1 1 0 0,0-1-1 0 0,0 1 1 0 0,0 0-1 0 0,0 0 1 0 0,0 0-1 0 0,-1 1 1 0 0,1-1-1 0 0,-1 0 1 0 0,1 1-1 0 0,-1 0 1 0 0,0 0-1 0 0,0-1 1 0 0,0 1-1 0 0,3 6 1 0 0,-1 3 89 0 0,1 0 0 0 0,-2 0 1 0 0,1 1-1 0 0,-2-1 1 0 0,1 1-1 0 0,-2-1 0 0 0,0 1 1 0 0,-1 19-1 0 0,-13 104 157 0 0,11-119-398 0 0,-11 41-2198 0 0,1-22-2467 0 0</inkml:trace>
</inkml:ink>
</file>

<file path=ppt/ink/ink2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4:20.18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0 215 552 0 0,'-5'-22'2498'0'0,"-1"0"0"0"0,-12-30 0 0 0,9 32-1837 0 0,0 1 1 0 0,-19-28-1 0 0,27 46-727 0 0,1 0 0 0 0,-1 1 0 0 0,1-1 0 0 0,0 0-1 0 0,-1 0 1 0 0,1 0 0 0 0,0 0 0 0 0,-1 1 0 0 0,1-1 0 0 0,0 0 0 0 0,0 0 0 0 0,0 0 0 0 0,0 0 0 0 0,0 0 0 0 0,0 0 0 0 0,0 0 0 0 0,0-1 0 0 0,0 2-121 0 0,1-1 0 0 0,-1 0 0 0 0,0 1 0 0 0,1-1 0 0 0,-1 1 0 0 0,0-1 0 0 0,1 1 0 0 0,-1-1-1 0 0,1 1 1 0 0,-1-1 0 0 0,1 1 0 0 0,-1 0 0 0 0,1-1 0 0 0,-1 1 0 0 0,1-1 0 0 0,-1 1 0 0 0,1 0 0 0 0,-1 0 0 0 0,1-1 0 0 0,0 1-1 0 0,16-6-2320 0 0</inkml:trace>
  <inkml:trace contextRef="#ctx0" brushRef="#br0" timeOffset="1">432 67 1720 0 0,'-1'12'1107'0'0,"0"0"1"0"0,-1 0-1 0 0,-1 0 0 0 0,0-1 1 0 0,-4 13-1 0 0,2-10-417 0 0,1 1 1 0 0,-4 25 0 0 0,7-25-374 0 0,0 0 1 0 0,1-1 0 0 0,1 1-1 0 0,0 0 1 0 0,1-1-1 0 0,6 21 1 0 0,-6-27-226 0 0,0 0-1 0 0,1 0 1 0 0,0-1 0 0 0,1 1 0 0 0,-1-1-1 0 0,2 0 1 0 0,-1 0 0 0 0,1 0 0 0 0,0-1-1 0 0,0 0 1 0 0,1 0 0 0 0,-1 0 0 0 0,9 6-1 0 0,-11-10-74 0 0,-1-1 0 0 0,1 1-1 0 0,-1-1 1 0 0,1 0-1 0 0,0 0 1 0 0,-1 0 0 0 0,1 0-1 0 0,0-1 1 0 0,0 1-1 0 0,0-1 1 0 0,0 1 0 0 0,0-1-1 0 0,-1 0 1 0 0,1 0 0 0 0,0 0-1 0 0,0-1 1 0 0,0 1-1 0 0,0-1 1 0 0,0 1 0 0 0,-1-1-1 0 0,1 0 1 0 0,0 0 0 0 0,-1-1-1 0 0,1 1 1 0 0,0 0-1 0 0,-1-1 1 0 0,0 1 0 0 0,1-1-1 0 0,-1 0 1 0 0,0 0 0 0 0,0 0-1 0 0,0 0 1 0 0,0 0-1 0 0,0 0 1 0 0,0-1 0 0 0,-1 1-1 0 0,1-1 1 0 0,-1 1 0 0 0,0-1-1 0 0,0 1 1 0 0,1-1-1 0 0,-2 0 1 0 0,1 0 0 0 0,0 0-1 0 0,-1 1 1 0 0,1-1-1 0 0,-1 0 1 0 0,0 0 0 0 0,0 0-1 0 0,0 0 1 0 0,0 0 0 0 0,0 0-1 0 0,-1 1 1 0 0,1-1-1 0 0,-1 0 1 0 0,-2-5 0 0 0,-2-3-28 0 0,0 1 1 0 0,-1 0 0 0 0,0 0 0 0 0,0 0-1 0 0,-1 1 1 0 0,-12-12 0 0 0,-28-21-3627 0 0,46 41 3362 0 0,1 0-1 0 0,-1 1 0 0 0,0-1 0 0 0,1 0 1 0 0,-1 0-1 0 0,0 0 0 0 0,1 0 0 0 0,-1 0 1 0 0,1 0-1 0 0,-1 0 0 0 0,1 0 0 0 0,0-1 1 0 0,-1 1-1 0 0,1 0 0 0 0,0 0 1 0 0,0 0-1 0 0,0 0 0 0 0,0 0 0 0 0,0-2 1 0 0</inkml:trace>
</inkml:ink>
</file>

<file path=ppt/ink/ink2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4:20.51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0 1204 0 0,'6'9'687'0'0,"0"-1"0"0"0,-1 1 0 0 0,0 1 0 0 0,-1-1 0 0 0,0 0 0 0 0,0 1 0 0 0,-1 0 0 0 0,3 16 0 0 0,0 11 669 0 0,2 38 1 0 0,-3-15-271 0 0,3-9-367 0 0,-3-13 1086 0 0,2 45 0 0 0,-7-80-639 0 0,6-29-568 0 0,-2-5-557 0 0,1 1 0 0 0,1 0 0 0 0,2 0 0 0 0,1 1 0 0 0,1 0-1 0 0,2 1 1 0 0,25-45 0 0 0,-33 66-69 0 0,1 1 0 0 0,0-1-1 0 0,1 1 1 0 0,-1 0 0 0 0,13-10-1 0 0,-17 16 26 0 0,1-1-1 0 0,-1 1 0 0 0,0-1 0 0 0,0 1 0 0 0,1 0 1 0 0,-1 0-1 0 0,0-1 0 0 0,0 1 0 0 0,1 0 1 0 0,-1 0-1 0 0,0 0 0 0 0,0 0 0 0 0,1 1 1 0 0,-1-1-1 0 0,0 0 0 0 0,0 0 0 0 0,1 1 1 0 0,-1-1-1 0 0,0 1 0 0 0,0-1 0 0 0,0 1 1 0 0,0-1-1 0 0,1 1 0 0 0,-1 0 0 0 0,0 0 1 0 0,0-1-1 0 0,0 1 0 0 0,-1 0 0 0 0,3 2 1 0 0,0 0 0 0 0,1 1 1 0 0,0 0 0 0 0,-1 0-1 0 0,0 1 1 0 0,5 6 0 0 0,6 20 5 0 0,-1-1 0 0 0,-2 1 0 0 0,14 57 0 0 0,-20-63-899 0 0,3 46 0 0 0,-8-52-400 0 0,0-1 0 0 0,-1 1 0 0 0,-4 18 0 0 0,1-16-2047 0 0,-2-6-1256 0 0</inkml:trace>
</inkml:ink>
</file>

<file path=ppt/ink/ink2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24:21.37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98 112 668 0 0,'-1'-5'362'0'0,"0"-1"0"0"0,-1 1 0 0 0,0 0-1 0 0,0 0 1 0 0,0 0 0 0 0,-1 0 0 0 0,1 1 0 0 0,-1-1 0 0 0,0 0-1 0 0,0 1 1 0 0,-1 0 0 0 0,1 0 0 0 0,-1 0 0 0 0,0 0 0 0 0,0 1 0 0 0,-1-1-1 0 0,1 1 1 0 0,-1 0 0 0 0,1 1 0 0 0,-1-1 0 0 0,-9-3 0 0 0,5 2-259 0 0,0 1 0 0 0,-1 0 0 0 0,0 1 0 0 0,1 0 1 0 0,-1 1-1 0 0,0-1 0 0 0,0 2 0 0 0,0 0 0 0 0,0 0 1 0 0,0 0-1 0 0,-11 3 0 0 0,-2 2 177 0 0,1 1-1 0 0,-1 1 1 0 0,2 1 0 0 0,-41 20-1 0 0,49-21-208 0 0,0 1-1 0 0,1 0 0 0 0,0 1 1 0 0,1 0-1 0 0,0 0 0 0 0,0 2 1 0 0,1-1-1 0 0,-17 24 0 0 0,24-30-32 0 0,1 1 0 0 0,-1-1-1 0 0,1 1 1 0 0,0 0 0 0 0,1-1-1 0 0,-1 1 1 0 0,1 0 0 0 0,0 0-1 0 0,0 0 1 0 0,1 0 0 0 0,-1 0-1 0 0,1 0 1 0 0,0 0 0 0 0,0 1-1 0 0,1-1 1 0 0,0 0 0 0 0,0 0-1 0 0,0 0 1 0 0,0-1 0 0 0,1 1-1 0 0,0 0 1 0 0,0 0 0 0 0,0-1 0 0 0,0 1-1 0 0,1-1 1 0 0,0 0 0 0 0,0 0-1 0 0,0 0 1 0 0,0 0 0 0 0,1 0-1 0 0,-1-1 1 0 0,1 1 0 0 0,0-1-1 0 0,0 0 1 0 0,0 0 0 0 0,1-1-1 0 0,-1 1 1 0 0,1-1 0 0 0,-1 0-1 0 0,1 0 1 0 0,5 1 0 0 0,-7-2-31 0 0,1-1 1 0 0,0 1-1 0 0,0-1 1 0 0,0 0 0 0 0,0 0-1 0 0,-1 0 1 0 0,1-1-1 0 0,0 0 1 0 0,0 1-1 0 0,-1-1 1 0 0,1-1 0 0 0,0 1-1 0 0,-1 0 1 0 0,1-1-1 0 0,-1 0 1 0 0,1 0 0 0 0,-1 0-1 0 0,0 0 1 0 0,0 0-1 0 0,0-1 1 0 0,0 1 0 0 0,0-1-1 0 0,-1 0 1 0 0,4-4-1 0 0,5-7 213 0 0,-1-1 0 0 0,0 0 0 0 0,13-28-1 0 0,-20 38-57 0 0,-3 4-132 0 0,13-21 492 0 0,-13 22-517 0 0,0 0-1 0 0,1 0 1 0 0,-1-1 0 0 0,0 1-1 0 0,0 0 1 0 0,0-1 0 0 0,0 1-1 0 0,1 0 1 0 0,-1-1 0 0 0,0 1-1 0 0,0 0 1 0 0,1 0-1 0 0,-1-1 1 0 0,0 1 0 0 0,0 0-1 0 0,1 0 1 0 0,-1 0 0 0 0,0-1-1 0 0,1 1 1 0 0,-1 0 0 0 0,0 0-1 0 0,0 0 1 0 0,1 0 0 0 0,-1 0-1 0 0,1 0 1 0 0,-1 0-1 0 0,0 0 1 0 0,1 0 0 0 0,-1 0-1 0 0,0 0 1 0 0,1 0 0 0 0,-1 0-1 0 0,0 0 1 0 0,1 0 0 0 0,-1 0-1 0 0,0 0 1 0 0,1 0 0 0 0,-1 0-1 0 0,0 0 1 0 0,1 0-1 0 0,-1 1 1 0 0,0-1 0 0 0,0 0-1 0 0,1 0 1 0 0,-1 0 0 0 0,0 1-1 0 0,1-1 1 0 0,-1 0 0 0 0,0 0-1 0 0,0 1 1 0 0,0-1 0 0 0,1 0-1 0 0,-1 0 1 0 0,0 1-1 0 0,0-1 1 0 0,0 0 0 0 0,0 1-1 0 0,1-1 1 0 0,-1 0 0 0 0,0 1-1 0 0,0-1 1 0 0,0 0 0 0 0,0 1-1 0 0,0-1 1 0 0,0 0 0 0 0,0 1-1 0 0,0-1 1 0 0,0 1-1 0 0,0-1 1 0 0,23 84-2190 0 0,-3-27-4603 0 0,-14-40 2577 0 0</inkml:trace>
</inkml:ink>
</file>

<file path=ppt/ink/ink2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15.51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5 1 332 0 0,'0'0'4326'0'0,"-2"1"-3607"0"0,0-1-592 0 0,1 1-1 0 0,-1 0 1 0 0,1-1 0 0 0,-1 1-1 0 0,1 0 1 0 0,0 0 0 0 0,0 0-1 0 0,-1 0 1 0 0,1 1 0 0 0,0-1-1 0 0,0 0 1 0 0,0 0 0 0 0,0 1-1 0 0,0-1 1 0 0,1 0 0 0 0,-1 1-1 0 0,0-1 1 0 0,1 1 0 0 0,-1-1-1 0 0,1 1 1 0 0,-1-1 0 0 0,1 1-1 0 0,0 0 1 0 0,-1-1-1 0 0,1 1 1 0 0,0 1 0 0 0,-34 367 4728 0 0,26-255-4625 0 0,4-96-246 0 0,1-7-1974 0 0</inkml:trace>
</inkml:ink>
</file>

<file path=ppt/ink/ink2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15.88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30 1624 0 0,'6'-34'3915'0'0,"-6"32"-3427"0"0,0 1-433 0 0,0 1 0 0 0,0-1 0 0 0,0 1 0 0 0,0 0 0 0 0,0-1 0 0 0,0 1 0 0 0,0 0 0 0 0,0-1 0 0 0,0 1 0 0 0,0-1 0 0 0,0 1 0 0 0,0 0 0 0 0,1-1 0 0 0,-1 1 0 0 0,0 0 0 0 0,0-1-1 0 0,0 1 1 0 0,0 0 0 0 0,1-1 0 0 0,-1 1 0 0 0,0 0 0 0 0,0-1 0 0 0,1 1 0 0 0,-1 0 0 0 0,0 0 0 0 0,0-1 0 0 0,1 1 0 0 0,9 8 242 0 0,-1 0 0 0 0,0 1 0 0 0,0 0 0 0 0,-1 0 0 0 0,0 1-1 0 0,11 19 1 0 0,8 8 28 0 0,166 195 2333 0 0,-167-204 459 0 0,-24-27-2499 0 0,2-1-116 0 0,-3 0-454 0 0,1-1-1 0 0,0 1 1 0 0,0-1-1 0 0,0 1 1 0 0,0-1 0 0 0,-1 0-1 0 0,1 0 1 0 0,0 0-1 0 0,-1 0 1 0 0,1 0-1 0 0,0 0 1 0 0,-1 0 0 0 0,0 0-1 0 0,1-1 1 0 0,-1 1-1 0 0,0 0 1 0 0,1-1-1 0 0,-1 1 1 0 0,0-1 0 0 0,0 0-1 0 0,0 1 1 0 0,0-1-1 0 0,-1 0 1 0 0,1 0-1 0 0,0-2 1 0 0,6-17 119 0 0,-1-1 0 0 0,0 0 1 0 0,-2 0-1 0 0,2-34 0 0 0,-3 27-74 0 0,4-41 183 0 0,-2 0-1 0 0,-9-116 1 0 0,3 182-563 0 0,1 1 22 0 0,0 0 1 0 0,0 0-1 0 0,-1 0 0 0 0,1 0 1 0 0,-1 0-1 0 0,0 1 1 0 0,0-1-1 0 0,-1-3 0 0 0,-7 10-3492 0 0,6-2 3221 0 0,1 0-1 0 0,-1 0 1 0 0,1 0-1 0 0,0 0 1 0 0,0 1-1 0 0,0-1 1 0 0,0 1-1 0 0,0-1 1 0 0,0 1-1 0 0,1 0 1 0 0,-1 0-1 0 0,1 0 1 0 0,-2 5 0 0 0,2 5-2981 0 0</inkml:trace>
</inkml:ink>
</file>

<file path=ppt/ink/ink2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16.20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 424 0 0,'10'7'10616'0'0,"7"-6"-6904"0"0,21-5-4867 0 0,-24 2 2100 0 0,49 0-508 0 0,38 1-145 0 0,-98 0-298 0 0,1 1-74 0 0,8 0 104 0 0</inkml:trace>
</inkml:ink>
</file>

<file path=ppt/ink/ink2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16.75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 8 1636 0 0,'-5'-4'4084'0'0,"3"18"-2523"0"0,1 25-906 0 0,1-35-392 0 0,8 127 2073 0 0,-1-45-1271 0 0,-4-48-616 0 0,-2-23 274 0 0,1 1 0 0 0,-2-1 0 0 0,0 1 0 0 0,-3 17 1218 0 0,-6-41-1495 0 0,8 6-424 0 0,-1 0-1 0 0,1-1 1 0 0,0 0-1 0 0,0 1 1 0 0,0-1-1 0 0,0 0 0 0 0,0 1 1 0 0,1-1-1 0 0,-1 0 1 0 0,1 0-1 0 0,0 0 1 0 0,0 0-1 0 0,0 1 1 0 0,1-5-1 0 0,8-45-163 0 0,-5 35 75 0 0,1-9-3 0 0,2 1 0 0 0,1 0-1 0 0,0 0 1 0 0,2 1 0 0 0,1 0 0 0 0,1 1-1 0 0,1 0 1 0 0,1 1 0 0 0,19-24 0 0 0,-31 44 62 0 0,0 0 1 0 0,0 0-1 0 0,0 0 1 0 0,0 0 0 0 0,0 0-1 0 0,0 0 1 0 0,1 1-1 0 0,-1-1 1 0 0,0 1-1 0 0,1-1 1 0 0,0 1-1 0 0,-1 0 1 0 0,1 0-1 0 0,0 0 1 0 0,-1 1-1 0 0,1-1 1 0 0,0 1-1 0 0,0-1 1 0 0,-1 1 0 0 0,1 0-1 0 0,0 0 1 0 0,0 0-1 0 0,0 0 1 0 0,0 1-1 0 0,-1-1 1 0 0,1 1-1 0 0,0 0 1 0 0,0 0-1 0 0,-1 0 1 0 0,1 0-1 0 0,-1 0 1 0 0,1 0-1 0 0,-1 1 1 0 0,1-1 0 0 0,-1 1-1 0 0,0 0 1 0 0,0-1-1 0 0,0 1 1 0 0,4 4-1 0 0,2 5 74 0 0,1 1 0 0 0,-1 0 0 0 0,-1 1 0 0 0,0 0 1 0 0,-1 0-1 0 0,0 0 0 0 0,-1 1 0 0 0,-1-1 0 0 0,6 26 0 0 0,-6-13-1035 0 0,1 31 1 0 0,-3 27-8345 0 0</inkml:trace>
</inkml:ink>
</file>

<file path=ppt/ink/ink2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17.24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7 184 140 0 0,'45'-25'7260'0'0,"2"2"-5028"0"0,59-33-1688 0 0,-102 53-489 0 0,1 1 0 0 0,-1-1 0 0 0,0 0 1 0 0,0 0-1 0 0,-1 0 0 0 0,1-1 0 0 0,-1 0 1 0 0,0 1-1 0 0,0-1 0 0 0,0 0 0 0 0,0-1 1 0 0,0 1-1 0 0,2-8 0 0 0,-4 11-51 0 0,-1 1 0 0 0,0-1 1 0 0,0 0-1 0 0,0 1 0 0 0,0-1 0 0 0,0 0 0 0 0,0 1 0 0 0,0-1 1 0 0,-1 1-1 0 0,1-1 0 0 0,0 0 0 0 0,0 1 0 0 0,0-1 1 0 0,-1 1-1 0 0,1-1 0 0 0,0 0 0 0 0,-1 1 0 0 0,1-1 0 0 0,0 1 1 0 0,-1-1-1 0 0,1 1 0 0 0,-1-1 0 0 0,1 1 0 0 0,-1 0 0 0 0,1-1 1 0 0,-1 1-1 0 0,1 0 0 0 0,-1-1 0 0 0,-1 0 6 0 0,1 0 1 0 0,-1 0-1 0 0,1 1 0 0 0,-1-1 0 0 0,1 1 1 0 0,-1-1-1 0 0,0 1 0 0 0,1-1 1 0 0,-1 1-1 0 0,-3 0 0 0 0,-7 0 64 0 0,-1 2 1 0 0,1 0-1 0 0,-1 0 0 0 0,1 1 1 0 0,0 1-1 0 0,0-1 0 0 0,1 2 1 0 0,-1 0-1 0 0,1 1 0 0 0,0 0 0 0 0,0 0 1 0 0,1 1-1 0 0,-19 16 0 0 0,23-18 5 0 0,0 0 0 0 0,1 0 0 0 0,0 1 0 0 0,0 0-1 0 0,0 0 1 0 0,1 0 0 0 0,0 0 0 0 0,0 1 0 0 0,0-1-1 0 0,1 1 1 0 0,0 0 0 0 0,0 0 0 0 0,1 0 0 0 0,0 1-1 0 0,0-1 1 0 0,1 0 0 0 0,0 1 0 0 0,0-1 0 0 0,1 1-1 0 0,0 0 1 0 0,0-1 0 0 0,1 1 0 0 0,0-1-1 0 0,3 15 1 0 0,-2-17-53 0 0,0 1 0 0 0,0-1 1 0 0,1 0-1 0 0,-1 0 0 0 0,1 0 0 0 0,0 0 0 0 0,0-1 0 0 0,1 1 0 0 0,-1-1 0 0 0,1 0 0 0 0,0 0 0 0 0,0 0 0 0 0,1 0 0 0 0,-1-1 0 0 0,1 0 1 0 0,-1 0-1 0 0,1 0 0 0 0,0 0 0 0 0,0-1 0 0 0,1 0 0 0 0,-1 0 0 0 0,0 0 0 0 0,1-1 0 0 0,-1 0 0 0 0,1 0 0 0 0,8 1 0 0 0,-4-2-51 0 0,1 0 0 0 0,0 0 0 0 0,-1-1 0 0 0,1 0 0 0 0,0-1 0 0 0,-1 0 0 0 0,0-1 0 0 0,1 0 0 0 0,-1-1 0 0 0,0 0 0 0 0,-1 0 0 0 0,1-1 0 0 0,10-7 0 0 0,-5 1-110 0 0,0 0-1 0 0,-1-1 1 0 0,0-1 0 0 0,13-16-1 0 0,43-64 1186 0 0,-63 83-920 0 0,1-1 454 0 0,-8 12-573 0 0,0-1 1 0 0,1 1-1 0 0,-1-1 1 0 0,0 1-1 0 0,1-1 1 0 0,-1 1-1 0 0,0-1 1 0 0,0 1-1 0 0,0-1 1 0 0,0 1 0 0 0,0 0-1 0 0,1-1 1 0 0,-1 1-1 0 0,0-1 1 0 0,0 1-1 0 0,0 0 1 0 0,-1-1-1 0 0,1 1 1 0 0,0-1-1 0 0,0 1 1 0 0,0-1-1 0 0,0 1 1 0 0,0 0-1 0 0,-1-1 1 0 0,1 1-1 0 0,-2 40-603 0 0,2 1-1 0 0,7 49 0 0 0,-6-72-928 0 0,3 7-4490 0 0</inkml:trace>
</inkml:ink>
</file>

<file path=ppt/ink/ink2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17.62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6 228 912 0 0,'-34'-98'7338'0'0,"-3"3"-4244"0"0,32 83-2917 0 0,-4-8-1546 0 0,8 18 645 0 0</inkml:trace>
</inkml:ink>
</file>

<file path=ppt/ink/ink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2:28.17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32 12 1884 0 0,'-6'-10'4813'0'0,"4"10"-4642"0"0,-1 0 0 0 0,1-1 0 0 0,0 1 0 0 0,-1 0 0 0 0,1 0 0 0 0,0 0 0 0 0,-1 0 0 0 0,1 1 0 0 0,0-1 0 0 0,-1 0 0 0 0,1 1 1 0 0,0 0-1 0 0,-1 0 0 0 0,1-1 0 0 0,0 1 0 0 0,0 1 0 0 0,0-1 0 0 0,0 0 0 0 0,0 0 0 0 0,0 1 0 0 0,0-1 0 0 0,1 1 0 0 0,-1 0 0 0 0,-2 3 1 0 0,-4 2 112 0 0,1 1 0 0 0,0 1 0 0 0,1-1 0 0 0,-8 14 0 0 0,9-12-167 0 0,1-1 0 0 0,0 1 0 0 0,1 0 1 0 0,0 0-1 0 0,0 0 0 0 0,1 1 0 0 0,1-1 1 0 0,0 1-1 0 0,0-1 0 0 0,1 1 0 0 0,0-1 0 0 0,0 1 1 0 0,2-1-1 0 0,-1 1 0 0 0,1-1 0 0 0,1 0 1 0 0,0 0-1 0 0,7 18 0 0 0,-5-16-66 0 0,1-1 0 0 0,0-1 1 0 0,0 1-1 0 0,1-1 0 0 0,0 0 0 0 0,1 0 1 0 0,0-1-1 0 0,0 0 0 0 0,1 0 0 0 0,0-1 1 0 0,1-1-1 0 0,0 1 0 0 0,0-1 0 0 0,0-1 1 0 0,23 10-1 0 0,-30-14-36 0 0,1-1 1 0 0,0 0-1 0 0,-1 0 1 0 0,1 0-1 0 0,0 0 1 0 0,-1-1-1 0 0,1 1 1 0 0,0-1-1 0 0,0 0 1 0 0,-1 0-1 0 0,1 0 1 0 0,0-1 0 0 0,0 0-1 0 0,-1 1 1 0 0,1-1-1 0 0,0 0 1 0 0,-1-1-1 0 0,1 1 1 0 0,-1-1-1 0 0,1 1 1 0 0,-1-1-1 0 0,0 0 1 0 0,0 0-1 0 0,0-1 1 0 0,0 1-1 0 0,0 0 1 0 0,0-1-1 0 0,-1 0 1 0 0,1 0-1 0 0,-1 0 1 0 0,0 0-1 0 0,0 0 1 0 0,2-4-1 0 0,2-4 4 0 0,-1 1-1 0 0,0-2 0 0 0,0 1 0 0 0,-1 0 0 0 0,-1-1 0 0 0,0 0 0 0 0,-1 0 0 0 0,0 0 0 0 0,0-14 0 0 0,-2 10 49 0 0,0-1 0 0 0,-1 1 0 0 0,-1 0 0 0 0,-1 0 0 0 0,-9-29 0 0 0,9 35-374 0 0,0 0 0 0 0,-2 0 1 0 0,1 0-1 0 0,-1 0 0 0 0,-1 1 1 0 0,1-1-1 0 0,-1 2 0 0 0,-1-1 1 0 0,-13-14-1 0 0,-6 5-6898 0 0</inkml:trace>
</inkml:ink>
</file>

<file path=ppt/ink/ink2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17.97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33 116 344 0 0,'4'-3'703'0'0,"-1"-1"0"0"0,1 1 1 0 0,-1 0-1 0 0,0-1 0 0 0,0 0 0 0 0,0 1 0 0 0,0-1 1 0 0,-1-1-1 0 0,3-5 0 0 0,-4 8-594 0 0,0 1 1 0 0,0-1-1 0 0,0 0 0 0 0,0 0 0 0 0,-1 0 1 0 0,1 0-1 0 0,-1 0 0 0 0,1 0 1 0 0,-1 0-1 0 0,0 0 0 0 0,0 0 0 0 0,0 0 1 0 0,0 0-1 0 0,0 0 0 0 0,0 0 1 0 0,-1 0-1 0 0,1 0 0 0 0,-1 0 0 0 0,1 0 1 0 0,-1 0-1 0 0,0 1 0 0 0,1-1 0 0 0,-1 0 1 0 0,0 0-1 0 0,-3-3 0 0 0,2 3-78 0 0,0 0-1 0 0,0 0 1 0 0,-1 1-1 0 0,1-1 1 0 0,-1 1 0 0 0,1-1-1 0 0,-1 1 1 0 0,1 0-1 0 0,-1-1 1 0 0,0 2-1 0 0,0-1 1 0 0,0 0-1 0 0,1 0 1 0 0,-1 1-1 0 0,0 0 1 0 0,0-1 0 0 0,0 1-1 0 0,-5 1 1 0 0,1-1-26 0 0,0 2 1 0 0,-1-1-1 0 0,1 1 1 0 0,0 0-1 0 0,0 0 1 0 0,0 1-1 0 0,0 0 1 0 0,0 1-1 0 0,0-1 1 0 0,1 1-1 0 0,0 0 1 0 0,0 1-1 0 0,0-1 1 0 0,0 1 0 0 0,1 1-1 0 0,-7 7 1 0 0,9-10 3 0 0,-1 1 0 0 0,1 0 1 0 0,0 0-1 0 0,1 1 1 0 0,-1-1-1 0 0,1 1 1 0 0,-1-1-1 0 0,1 1 1 0 0,1 0-1 0 0,-1 0 1 0 0,1-1-1 0 0,0 1 0 0 0,0 0 1 0 0,0 1-1 0 0,0-1 1 0 0,1 0-1 0 0,0 0 1 0 0,0 0-1 0 0,1 0 1 0 0,-1 0-1 0 0,1 0 0 0 0,0 0 1 0 0,3 9-1 0 0,-2-12 4 0 0,0 0 0 0 0,0-1-1 0 0,0 1 1 0 0,0-1-1 0 0,0 1 1 0 0,0-1 0 0 0,0 0-1 0 0,0 0 1 0 0,1 0-1 0 0,-1 0 1 0 0,0 0-1 0 0,1 0 1 0 0,2 0 0 0 0,-4-1-14 0 0,4 2 12 0 0,0-1-1 0 0,0 0 1 0 0,0 0-1 0 0,0 0 1 0 0,1-1 0 0 0,6 0-1 0 0,-5 0-35 0 0,0 0 0 0 0,-1 0 0 0 0,1 1-1 0 0,-1 0 1 0 0,8 2 0 0 0,-12-2 25 0 0,1 0 1 0 0,-1 0-1 0 0,0 0 0 0 0,0 0 0 0 0,0 0 1 0 0,0 0-1 0 0,0 1 0 0 0,0-1 0 0 0,-1 1 1 0 0,1-1-1 0 0,0 1 0 0 0,-1 0 0 0 0,1-1 1 0 0,-1 1-1 0 0,0 0 0 0 0,1 0 0 0 0,-1 0 1 0 0,1 3-1 0 0,0 0 25 0 0,0 0-1 0 0,-1 0 1 0 0,0 0 0 0 0,0 1 0 0 0,0-1 0 0 0,0 0 0 0 0,-1 11-1 0 0,-1-4 103 0 0,0 0 0 0 0,0 1-1 0 0,-2-1 1 0 0,0 0-1 0 0,0 0 1 0 0,-9 20-1 0 0,8-23 53 0 0,-1 0 0 0 0,0 0-1 0 0,-1-1 1 0 0,0 1 0 0 0,0-1-1 0 0,0-1 1 0 0,-1 1 0 0 0,0-1-1 0 0,-1 0 1 0 0,0-1 0 0 0,0 0-1 0 0,0 0 1 0 0,-1-1 0 0 0,0 0-1 0 0,0 0 1 0 0,0-1 0 0 0,0 0-1 0 0,-1-1 1 0 0,1 0 0 0 0,-1-1-1 0 0,0 1 1 0 0,0-2 0 0 0,0 0-1 0 0,0 0 1 0 0,0 0 0 0 0,0-2-1 0 0,0 1 1 0 0,-11-3 0 0 0,18 3-196 0 0,-1-1-1 0 0,1 0 1 0 0,0 0 0 0 0,0-1 0 0 0,0 1 0 0 0,0 0 0 0 0,0-1 0 0 0,0 0 0 0 0,1 0 0 0 0,-1 0 0 0 0,0 0 0 0 0,1 0 0 0 0,-1-1 0 0 0,1 1 0 0 0,-3-4 0 0 0,4 4-108 0 0,0 0 0 0 0,0 0 0 0 0,0 0 0 0 0,0 0-1 0 0,0 0 1 0 0,0 0 0 0 0,0 0 0 0 0,1 0 0 0 0,-1-1 0 0 0,1 1 0 0 0,-1 0 0 0 0,1 0 0 0 0,0-1 0 0 0,0 1 0 0 0,0 0 0 0 0,0 0 0 0 0,1-1 0 0 0,-1 1 0 0 0,1 0 0 0 0,-1 0-1 0 0,1 0 1 0 0,0-1 0 0 0,0-1 0 0 0,6-8-1188 0 0,0-1 0 0 0,1 1-1 0 0,1 1 1 0 0,-1 0 0 0 0,17-16-1 0 0,-3 5-2615 0 0</inkml:trace>
</inkml:ink>
</file>

<file path=ppt/ink/ink2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18.30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2 1220 0 0,'25'-11'3594'0'0,"-22"11"-2618"0"0,10 7 1625 0 0,-11 0-2105 0 0,0 0-1 0 0,0 1 0 0 0,-1-1 0 0 0,0 1 0 0 0,-1-1 0 0 0,0 16 0 0 0,-8 49 892 0 0,1-19-678 0 0,-3 21 3144 0 0,13-75-3637 0 0,12-7-66 0 0,0-1 0 0 0,0 0 0 0 0,22-19 0 0 0,-16 11-238 0 0,-19 16 84 0 0,-1 0 1 0 0,1 1-1 0 0,0-1 0 0 0,-1 1 0 0 0,1-1 0 0 0,0 1 0 0 0,0 0 0 0 0,-1-1 1 0 0,1 1-1 0 0,0 0 0 0 0,0 0 0 0 0,-1 0 0 0 0,1 0 0 0 0,0 1 0 0 0,0-1 0 0 0,-1 0 1 0 0,1 1-1 0 0,0-1 0 0 0,-1 1 0 0 0,1 0 0 0 0,0-1 0 0 0,-1 1 0 0 0,1 0 1 0 0,-1 0-1 0 0,1 0 0 0 0,-1 0 0 0 0,0 0 0 0 0,2 2 0 0 0,2 0-40 0 0,-3 0-171 0 0,1 0 0 0 0,-1 0 0 0 0,1 0 0 0 0,-1 0 0 0 0,0 0 0 0 0,0 0 0 0 0,-1 0 0 0 0,1 1 0 0 0,0-1 0 0 0,-1 0 0 0 0,0 1 0 0 0,1 5 0 0 0,2 3-1237 0 0,13 26-7991 0 0</inkml:trace>
</inkml:ink>
</file>

<file path=ppt/ink/ink2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18.72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 60 2240 0 0,'7'-20'2352'0'0,"-5"16"-1614"0"0,0-1 1 0 0,0 1 0 0 0,-1-1-1 0 0,0 0 1 0 0,0 0 0 0 0,1-6-1 0 0,2 13-172 0 0,-4-2-551 0 0,1 0-1 0 0,-1 0 1 0 0,0 0-1 0 0,1 0 0 0 0,-1 0 1 0 0,0 0-1 0 0,1 0 1 0 0,-1 0-1 0 0,0 0 1 0 0,1 0-1 0 0,-1 0 0 0 0,0 0 1 0 0,1 1-1 0 0,-1-1 1 0 0,0 0-1 0 0,1 0 1 0 0,-1 0-1 0 0,0 0 0 0 0,0 1 1 0 0,1-1-1 0 0,-1 0 1 0 0,0 0-1 0 0,0 1 1 0 0,0-1-1 0 0,1 0 1 0 0,-1 1-1 0 0,0-1 0 0 0,0 0 1 0 0,0 0-1 0 0,0 1 1 0 0,0-1-1 0 0,1 0 1 0 0,-1 1-1 0 0,17 84 1350 0 0,-3 1 0 0 0,4 125 0 0 0,-15-162-738 0 0,0 3 4173 0 0,7-94-4662 0 0,-8 36-244 0 0,0 0 0 0 0,1 0 0 0 0,-1 0 1 0 0,1 0-1 0 0,0 1 0 0 0,0-1 0 0 0,1 1 1 0 0,0 0-1 0 0,0 0 0 0 0,0 0 1 0 0,0 0-1 0 0,1 1 0 0 0,0 0 0 0 0,0 0 1 0 0,0 0-1 0 0,0 1 0 0 0,0-1 1 0 0,1 1-1 0 0,0 0 0 0 0,0 1 0 0 0,8-3 1 0 0,-8 3 67 0 0,0 0 1 0 0,0 0 0 0 0,0 1 0 0 0,0 0 0 0 0,0 0 0 0 0,0 0 0 0 0,0 1-1 0 0,1 0 1 0 0,-1 0 0 0 0,0 1 0 0 0,0 0 0 0 0,0 0 0 0 0,0 0-1 0 0,0 1 1 0 0,0-1 0 0 0,0 1 0 0 0,0 1 0 0 0,0-1 0 0 0,-1 1-1 0 0,0 0 1 0 0,1 1 0 0 0,5 4 0 0 0,-9-6 36 0 0,0-1 0 0 0,0 1 1 0 0,0 0-1 0 0,-1 0 0 0 0,1 0 1 0 0,-1 0-1 0 0,1 0 0 0 0,-1 0 0 0 0,0 0 1 0 0,0 0-1 0 0,0 1 0 0 0,0-1 0 0 0,0 0 1 0 0,0 1-1 0 0,0-1 0 0 0,-1 1 0 0 0,0-1 1 0 0,1 1-1 0 0,-1-1 0 0 0,0 4 1 0 0,-1-3 5 0 0,1 0 0 0 0,-1 1 0 0 0,0-1 0 0 0,0 0 0 0 0,-1 1 0 0 0,1-1 0 0 0,-1 0 0 0 0,0 0 0 0 0,1 0 0 0 0,-1 0 0 0 0,-1 0 1 0 0,-3 4-1 0 0,-3 2 13 0 0,0-1 1 0 0,-1-1 0 0 0,0 1 0 0 0,0-2-1 0 0,-1 1 1 0 0,0-1 0 0 0,-13 5 0 0 0,6-4-352 0 0,-1-1 0 0 0,0 0 0 0 0,-1-1 1 0 0,-24 2-1 0 0,33-6-487 0 0,-1 0 0 0 0,0-1 0 0 0,-15-2 0 0 0,19 1-291 0 0,1 0 0 0 0,-1-1 0 0 0,0 0 0 0 0,1-1 0 0 0,-13-5 0 0 0,10 3-2265 0 0</inkml:trace>
</inkml:ink>
</file>

<file path=ppt/ink/ink2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19.25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6 8 36 0 0,'3'-8'7591'0'0,"-8"9"-7463"0"0,1 0-1 0 0,-1 0 1 0 0,1 0-1 0 0,-1 1 0 0 0,1-1 1 0 0,-1 1-1 0 0,1 0 0 0 0,0 0 1 0 0,0 1-1 0 0,0-1 1 0 0,0 1-1 0 0,0 0 0 0 0,1 0 1 0 0,-1 0-1 0 0,1 0 0 0 0,0 1 1 0 0,0 0-1 0 0,0-1 1 0 0,0 1-1 0 0,-3 7 0 0 0,3-6-37 0 0,0 1-1 0 0,0-1 1 0 0,0 1-1 0 0,0 0 1 0 0,1 0-1 0 0,0 0 1 0 0,1 0-1 0 0,-1 1 1 0 0,1-1-1 0 0,0 0 0 0 0,1 1 1 0 0,-1-1-1 0 0,1 1 1 0 0,1-1-1 0 0,0 8 1 0 0,0-7-6 0 0,1-1 1 0 0,-1 0 0 0 0,1 0-1 0 0,1 1 1 0 0,-1-1 0 0 0,1-1-1 0 0,0 1 1 0 0,1 0-1 0 0,-1-1 1 0 0,1 1 0 0 0,0-1-1 0 0,0 0 1 0 0,1 0 0 0 0,-1-1-1 0 0,1 1 1 0 0,0-1 0 0 0,6 4-1 0 0,-9-7-66 0 0,0 0 0 0 0,0 0 0 0 0,0-1 0 0 0,0 1-1 0 0,0 0 1 0 0,0-1 0 0 0,1 1 0 0 0,-1-1 0 0 0,0 0 0 0 0,0 0 0 0 0,0 1-1 0 0,0-2 1 0 0,0 1 0 0 0,1 0 0 0 0,-1 0 0 0 0,0-1 0 0 0,0 1-1 0 0,0-1 1 0 0,0 1 0 0 0,0-1 0 0 0,0 0 0 0 0,0 0 0 0 0,0 0 0 0 0,0 0-1 0 0,0 0 1 0 0,-1-1 0 0 0,1 1 0 0 0,0 0 0 0 0,-1-1 0 0 0,1 1-1 0 0,-1-1 1 0 0,1 0 0 0 0,-1 1 0 0 0,2-5 0 0 0,0 1-12 0 0,0 0 0 0 0,0 0 1 0 0,-1 0-1 0 0,0 0 0 0 0,0 0 1 0 0,0-1-1 0 0,0 1 0 0 0,-1-1 0 0 0,0 1 1 0 0,0-1-1 0 0,0-11 0 0 0,-2 9 10 0 0,-1 0 0 0 0,1 0 0 0 0,-1 0 0 0 0,-1 0 0 0 0,0 0 0 0 0,0 1 0 0 0,0-1-1 0 0,-1 1 1 0 0,0-1 0 0 0,-5-6 0 0 0,1 4-913 0 0,0-1-1 0 0,-1 1 1 0 0,0 1-1 0 0,0-1 1 0 0,-15-10-1 0 0</inkml:trace>
</inkml:ink>
</file>

<file path=ppt/ink/ink2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20.24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38 608 0 0,'8'3'616'0'0,"1"0"0"0"0,-1 0 0 0 0,-1 1 0 0 0,1 0 0 0 0,0 1 1 0 0,-1-1-1 0 0,0 1 0 0 0,0 1 0 0 0,0-1 0 0 0,11 14 0 0 0,-13-12-418 0 0,1 0 0 0 0,-1 1 1 0 0,0-1-1 0 0,0 1 0 0 0,-1 1 0 0 0,0-1 1 0 0,-1 0-1 0 0,0 1 0 0 0,0 0 0 0 0,-1 0 1 0 0,0 0-1 0 0,-1 0 0 0 0,1 0 0 0 0,-2 0 1 0 0,1 0-1 0 0,-2 14 0 0 0,1-20-129 0 0,0 0 0 0 0,-1 0 0 0 0,1 0 0 0 0,0-1 0 0 0,-1 1 0 0 0,0 0 0 0 0,0 0 0 0 0,0 0 0 0 0,0-1-1 0 0,0 1 1 0 0,0-1 0 0 0,-1 1 0 0 0,1-1 0 0 0,-1 1 0 0 0,0-1 0 0 0,-2 2 0 0 0,3-2 201 0 0,1-2-266 0 0,-1 0-1 0 0,1 0 0 0 0,0 0 1 0 0,0 0-1 0 0,-1 0 0 0 0,1-1 1 0 0,0 1-1 0 0,0 0 1 0 0,-1 0-1 0 0,1 0 0 0 0,0 0 1 0 0,0 0-1 0 0,-1 0 1 0 0,1-1-1 0 0,0 1 0 0 0,0 0 1 0 0,-1 0-1 0 0,1 0 0 0 0,0 0 1 0 0,0-1-1 0 0,0 1 1 0 0,-1 0-1 0 0,1 0 0 0 0,0-1 1 0 0,0 1-1 0 0,0 0 1 0 0,0 0-1 0 0,0-1 0 0 0,0 1 1 0 0,-1 0-1 0 0,1-1 0 0 0,0 1 1 0 0,0 0-1 0 0,0 0 1 0 0,0-1-1 0 0,0 1 0 0 0,0 0 1 0 0,0-1-1 0 0,4-14 40 0 0,22-30-181 0 0,2 1-1 0 0,40-48 0 0 0,-55 75-35 0 0,5-6 12 0 0,90-115-422 0 0,-104 134 460 0 0,15-14-1751 0 0,-19 18 1842 0 0,1 0 0 0 0,-1 0 1 0 0,1 0-1 0 0,-1 0 0 0 0,1-1 1 0 0,0 1-1 0 0,-1 0 1 0 0,1 0-1 0 0,-1 0 0 0 0,1 1 1 0 0,0-1-1 0 0,-1 0 0 0 0,1 0 1 0 0,-1 0-1 0 0,1 0 0 0 0,-1 0 1 0 0,1 1-1 0 0,-1-1 1 0 0,1 0-1 0 0,-1 1 0 0 0,1-1 1 0 0,-1 0-1 0 0,1 1 0 0 0,-1-1 1 0 0,1 0-1 0 0,-1 1 1 0 0,1-1-1 0 0,-1 1 0 0 0,0-1 1 0 0,1 1-1 0 0,-1-1 0 0 0,0 1 1 0 0,0-1-1 0 0,1 1 0 0 0,-1-1 1 0 0,0 1-1 0 0,0-1 1 0 0,0 1-1 0 0,1 0 0 0 0,-1-1 1 0 0,0 1-1 0 0,0 0 0 0 0,19 34 34 0 0,-15-30 173 0 0,-1 0 1 0 0,0 0-1 0 0,0 1 0 0 0,0-1 0 0 0,-1 1 0 0 0,1-1 1 0 0,-1 1-1 0 0,-1 0 0 0 0,3 11 0 0 0,-3 4 252 0 0,-1-1-1 0 0,-1 1 1 0 0,-1 0 0 0 0,-5 24-1 0 0,-24 82 410 0 0,17-75-651 0 0,7-33-112 0 0,6-15 424 0 0,-1 0-1 0 0,0 0 0 0 0,1 1 0 0 0,0-1 0 0 0,0 0 0 0 0,0 7 0 0 0,-3-14-248 0 0,4 3-241 0 0,0 0 0 0 0,-1 0-1 0 0,1 0 1 0 0,0 0-1 0 0,0 0 1 0 0,-1 0 0 0 0,1 0-1 0 0,0 0 1 0 0,0 0 0 0 0,-1 0-1 0 0,1 0 1 0 0,0 0-1 0 0,0-1 1 0 0,-1 1 0 0 0,1 0-1 0 0,0 0 1 0 0,0 0 0 0 0,0 0-1 0 0,-1-1 1 0 0,1 1 0 0 0,0 0-1 0 0,0 0 1 0 0,0 0-1 0 0,-1-1 1 0 0,1 1 0 0 0,0 0-1 0 0,0 0 1 0 0,0-1 0 0 0,0 1-1 0 0,0-1 1 0 0,-1-6-1 0 0,1 0 1 0 0,0-1-1 0 0,1 1 1 0 0,0 0-1 0 0,0 0 1 0 0,0-1-1 0 0,1 1 1 0 0,0 0-1 0 0,1 0 1 0 0,-1 0-1 0 0,1 1 1 0 0,1-1-1 0 0,-1 1 1 0 0,1-1-1 0 0,0 1 1 0 0,1 1-1 0 0,-1-1 1 0 0,1 0-1 0 0,0 1 1 0 0,1 0-1 0 0,6-5 1 0 0,-10 9-18 0 0,0-1 1 0 0,0 1 0 0 0,0 0 0 0 0,1 0-1 0 0,-1 0 1 0 0,0 0 0 0 0,1 1 0 0 0,-1-1-1 0 0,0 0 1 0 0,1 1 0 0 0,-1 0 0 0 0,1 0 0 0 0,-1-1-1 0 0,1 1 1 0 0,-1 1 0 0 0,1-1 0 0 0,-1 0-1 0 0,1 1 1 0 0,-1-1 0 0 0,0 1 0 0 0,1 0-1 0 0,-1 0 1 0 0,0 0 0 0 0,0 0 0 0 0,1 0-1 0 0,2 2 1 0 0,5 4-312 0 0,0 1-1 0 0,-1 0 0 0 0,0 1 0 0 0,11 13 1 0 0,-13-13-204 0 0,1-1 0 0 0,0 0 1 0 0,10 7-1 0 0,-12-11 326 0 0,0 0 0 0 0,1 0 0 0 0,0-1 1 0 0,-1 0-1 0 0,1 0 0 0 0,0-1 0 0 0,0 0 0 0 0,0 0 0 0 0,1-1 0 0 0,-1 1 0 0 0,0-2 1 0 0,1 1-1 0 0,-1-1 0 0 0,10-1 0 0 0,-11 0 213 0 0,-1 0 0 0 0,1 0 1 0 0,-1-1-1 0 0,1 1 0 0 0,-1-1 1 0 0,0-1-1 0 0,0 1 0 0 0,0-1 1 0 0,0 0-1 0 0,0 0 0 0 0,0 0 1 0 0,-1-1-1 0 0,0 1 0 0 0,1-1 1 0 0,-1 0-1 0 0,-1-1 0 0 0,1 1 1 0 0,-1-1-1 0 0,5-6 0 0 0,-6 7 122 0 0,0 0-1 0 0,0 1 0 0 0,0-1 1 0 0,0 0-1 0 0,-1 0 1 0 0,0 0-1 0 0,0-1 0 0 0,0 1 1 0 0,0 0-1 0 0,0 0 1 0 0,-1 0-1 0 0,0-6 0 0 0,0 8-98 0 0,0 0 0 0 0,-1-1 0 0 0,1 1 0 0 0,-1 0 0 0 0,0 0 0 0 0,0 0-1 0 0,1 0 1 0 0,-1 0 0 0 0,-1 0 0 0 0,1 0 0 0 0,0 0 0 0 0,0 0 0 0 0,-1 1 0 0 0,1-1-1 0 0,-1 0 1 0 0,1 1 0 0 0,-1-1 0 0 0,0 1 0 0 0,0 0 0 0 0,1-1 0 0 0,-1 1 0 0 0,-3-1-1 0 0,4 1-25 0 0,-1 0-1 0 0,1 1 0 0 0,-1-1 0 0 0,0 1 0 0 0,1-1 0 0 0,-1 1 0 0 0,0 0 0 0 0,1 0 0 0 0,-1 0 0 0 0,0 0 0 0 0,1 0 0 0 0,-1 0 0 0 0,0 0 0 0 0,1 0 0 0 0,-1 0 0 0 0,0 1 0 0 0,1-1 0 0 0,-1 1 0 0 0,0-1 0 0 0,1 1 1 0 0,-1 0-1 0 0,1 0 0 0 0,-1 0 0 0 0,1 0 0 0 0,0 0 0 0 0,-1 0 0 0 0,1 0 0 0 0,0 0 0 0 0,0 0 0 0 0,-2 2 0 0 0,2-1 10 0 0,-1 0 1 0 0,1-1-1 0 0,0 1 0 0 0,0 0 1 0 0,0 0-1 0 0,0 0 0 0 0,0 0 1 0 0,0 0-1 0 0,0 0 0 0 0,1 1 1 0 0,-1-1-1 0 0,1 0 0 0 0,-1 0 1 0 0,1 0-1 0 0,0 1 0 0 0,0-1 1 0 0,0 0-1 0 0,0 0 0 0 0,1 1 1 0 0,-1-1-1 0 0,0 0 1 0 0,2 3-1 0 0,0 0 7 0 0,0-1-1 0 0,1 1 1 0 0,-1-1 0 0 0,1 0-1 0 0,0 0 1 0 0,0 0 0 0 0,0 0 0 0 0,0-1-1 0 0,1 1 1 0 0,0-1 0 0 0,4 4 0 0 0,-6-6 3 0 0,1 1 0 0 0,-1-1 0 0 0,1 0 1 0 0,0 1-1 0 0,-1-1 0 0 0,1 0 0 0 0,0-1 1 0 0,0 1-1 0 0,0 0 0 0 0,-1-1 0 0 0,1 0 1 0 0,0 1-1 0 0,0-1 0 0 0,0 0 0 0 0,0 0 1 0 0,0-1-1 0 0,0 1 0 0 0,-1-1 0 0 0,1 1 1 0 0,5-3-1 0 0,-7 3-13 0 0,1-1 1 0 0,-1 0-1 0 0,0 1 0 0 0,1-1 0 0 0,-1 0 1 0 0,0 0-1 0 0,1 0 0 0 0,-1 0 1 0 0,0 0-1 0 0,0 0 0 0 0,0 0 0 0 0,0 0 1 0 0,0-1-1 0 0,0 1 0 0 0,0 0 1 0 0,-1 0-1 0 0,1-1 0 0 0,0 1 0 0 0,-1-1 1 0 0,1 1-1 0 0,-1-1 0 0 0,1 1 1 0 0,-1-1-1 0 0,0 1 0 0 0,1-3 0 0 0,-1-1-25 0 0,0 0-1 0 0,-1 1 1 0 0,1-1-1 0 0,-1 0 1 0 0,-2-7-1 0 0,3 10-20 0 0,-2-3-252 0 0,0 1 0 0 0,1 0 0 0 0,-2-1 1 0 0,1 1-1 0 0,-3-4 0 0 0,-4-8-2427 0 0,22-2-4688 0 0</inkml:trace>
</inkml:ink>
</file>

<file path=ppt/ink/ink2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20.60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1 7 1644 0 0,'25'-6'7280'0'0,"-34"14"-5845"0"0,6-6-1340 0 0,0 0 1 0 0,1 0-1 0 0,-1 1 1 0 0,0-1-1 0 0,1 1 1 0 0,0 0-1 0 0,-1 0 1 0 0,1 0-1 0 0,1 0 1 0 0,-1 0-1 0 0,0 0 1 0 0,1 0-1 0 0,-1 1 1 0 0,1-1-1 0 0,0 0 1 0 0,0 1-1 0 0,0-1 1 0 0,1 1-1 0 0,-1 0 0 0 0,1-1 1 0 0,0 1-1 0 0,0-1 1 0 0,0 1-1 0 0,1 4 1 0 0,0-3 12 0 0,1 1 1 0 0,0-1-1 0 0,0 1 0 0 0,0-1 1 0 0,0 1-1 0 0,1-1 1 0 0,0 0-1 0 0,0 0 1 0 0,1 0-1 0 0,-1-1 0 0 0,1 1 1 0 0,0-1-1 0 0,0 0 1 0 0,8 6-1 0 0,-11-8-30 0 0,1-1 1 0 0,0 1-1 0 0,0-1 1 0 0,0 0-1 0 0,0 0 0 0 0,0 0 1 0 0,0 0-1 0 0,0 0 0 0 0,0 0 1 0 0,0 0-1 0 0,0 0 1 0 0,1-1-1 0 0,-1 1 0 0 0,0-1 1 0 0,0 0-1 0 0,1 0 1 0 0,-1 0-1 0 0,0 0 0 0 0,0 0 1 0 0,1 0-1 0 0,-1-1 1 0 0,0 1-1 0 0,0-1 0 0 0,1 1 1 0 0,-1-1-1 0 0,0 0 0 0 0,0 0 1 0 0,0 0-1 0 0,0 0 1 0 0,3-2-1 0 0,-2 0-12 0 0,0 1 1 0 0,-1-1-1 0 0,0 1 0 0 0,1-1 0 0 0,-1 0 0 0 0,0 0 1 0 0,0 0-1 0 0,-1 0 0 0 0,1 0 0 0 0,0 0 1 0 0,-1-1-1 0 0,0 1 0 0 0,0-1 0 0 0,0 1 0 0 0,0-1 1 0 0,-1 1-1 0 0,1-1 0 0 0,-1-4 0 0 0,0 4-104 0 0,0-1-1 0 0,-1 1 0 0 0,0 0 0 0 0,1 0 1 0 0,-1 0-1 0 0,-1 0 0 0 0,1 0 0 0 0,0 0 1 0 0,-1 0-1 0 0,0 0 0 0 0,-4-5 0 0 0,4 5-395 0 0,-1 1-1 0 0,1 0 1 0 0,-1 1-1 0 0,1-1 0 0 0,-1 0 1 0 0,0 1-1 0 0,0-1 0 0 0,-1 1 1 0 0,1 0-1 0 0,0 0 0 0 0,-7-3 1 0 0,-5 3-2971 0 0</inkml:trace>
</inkml:ink>
</file>

<file path=ppt/ink/ink2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20.97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6 12 1184 0 0,'2'-1'1643'0'0,"-1"0"-1284"0"0,1 0 1 0 0,-1-1-1 0 0,1 1 0 0 0,-1 1 1 0 0,1-1-1 0 0,0 0 1 0 0,-1 0-1 0 0,1 1 0 0 0,0-1 1 0 0,0 1-1 0 0,-1-1 0 0 0,1 1 1 0 0,3-1-1 0 0,-4 2-272 0 0,0-1 0 0 0,1 0 0 0 0,-1 1 0 0 0,0-1-1 0 0,0 0 1 0 0,0 1 0 0 0,0 0 0 0 0,0-1 0 0 0,0 1 0 0 0,0 0-1 0 0,0-1 1 0 0,0 1 0 0 0,0 0 0 0 0,-1 0 0 0 0,1 0 0 0 0,0-1 0 0 0,0 1-1 0 0,-1 0 1 0 0,1 0 0 0 0,-1 0 0 0 0,1 0 0 0 0,-1 1 0 0 0,1-1 0 0 0,-1 0-1 0 0,1 2 1 0 0,5 18 487 0 0,-1 0 1 0 0,-1 0-1 0 0,-1 1 0 0 0,-1-1 0 0 0,0 1 0 0 0,-2-1 1 0 0,-1 1-1 0 0,0 0 0 0 0,-7 31 0 0 0,6-45-479 0 0,0 1 0 0 0,0 0 0 0 0,-1-1 0 0 0,0 0 0 0 0,-1 1-1 0 0,1-1 1 0 0,-7 9 0 0 0,7-13-59 0 0,1-1-1 0 0,-1 1 0 0 0,0-1 1 0 0,0 0-1 0 0,-1 0 0 0 0,1 0 0 0 0,-1 0 1 0 0,1 0-1 0 0,-1-1 0 0 0,0 0 1 0 0,0 0-1 0 0,0 0 0 0 0,0 0 1 0 0,0 0-1 0 0,-5 1 0 0 0,6-3-27 0 0,1 0 0 0 0,-1 0 0 0 0,1 0 1 0 0,0 0-1 0 0,-1 0 0 0 0,1 0 0 0 0,-1 0 0 0 0,1-1 0 0 0,0 1 0 0 0,-1-1 0 0 0,1 0 0 0 0,0 0 0 0 0,0 0 0 0 0,-1 0 0 0 0,1 0 0 0 0,0 0 1 0 0,0 0-1 0 0,0-1 0 0 0,0 1 0 0 0,0-1 0 0 0,1 0 0 0 0,-1 1 0 0 0,-2-4 0 0 0,2 2-8 0 0,-1 1 0 0 0,1-1 0 0 0,0-1 0 0 0,0 1 0 0 0,0 0 0 0 0,1 0 0 0 0,-1-1 0 0 0,1 1 0 0 0,-1-1 0 0 0,1 0 0 0 0,1 1 0 0 0,-1-1 0 0 0,0-4 0 0 0,1 6-5 0 0,-1 1-1 0 0,1-1 1 0 0,0 1-1 0 0,1-1 1 0 0,-1 1-1 0 0,0-1 1 0 0,0 1-1 0 0,1 0 1 0 0,-1-1-1 0 0,0 1 1 0 0,1-1-1 0 0,0 1 1 0 0,-1 0-1 0 0,1-1 1 0 0,0 1-1 0 0,-1 0 1 0 0,1 0-1 0 0,0 0 1 0 0,0 0-1 0 0,0 0 1 0 0,0 0-1 0 0,0 0 1 0 0,3-2-1 0 0,-2 2 0 0 0,0 0-1 0 0,1 1 1 0 0,-1-1 0 0 0,0 1-1 0 0,0-1 1 0 0,1 1-1 0 0,-1 0 1 0 0,0 0 0 0 0,1 0-1 0 0,-1 0 1 0 0,0 0-1 0 0,1 0 1 0 0,3 2 0 0 0,3 0-1 0 0,0 1 1 0 0,1 1 0 0 0,-1 0 0 0 0,-1 0-1 0 0,1 0 1 0 0,9 8 0 0 0,64 53-178 0 0,-33-16-4567 0 0</inkml:trace>
</inkml:ink>
</file>

<file path=ppt/ink/ink2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22.96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4 0 16 0 0,'0'0'2774'0'0,"-9"12"-326"0"0,2 1-1878 0 0,1 1 0 0 0,1 0 0 0 0,0 0 1 0 0,1 0-1 0 0,1 1 0 0 0,-3 22 0 0 0,-2 97 37 0 0,6-64-283 0 0,-2-35-751 0 0,-1 11-5283 0 0</inkml:trace>
</inkml:ink>
</file>

<file path=ppt/ink/ink2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23.32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6 33 852 0 0,'4'-4'557'0'0,"19"-18"1551"0"0,-22 21-1971 0 0,0 1-1 0 0,0-1 1 0 0,0 0-1 0 0,1 1 1 0 0,-1-1-1 0 0,0 1 0 0 0,1-1 1 0 0,-1 1-1 0 0,0-1 1 0 0,1 1-1 0 0,-1 0 0 0 0,1 0 1 0 0,-1 0-1 0 0,0 0 1 0 0,1 0-1 0 0,-1 0 0 0 0,1 0 1 0 0,1 1-1 0 0,-3-1-100 0 0,0 0 0 0 0,0 1 0 0 0,0-1 0 0 0,0 0 0 0 0,0 1 0 0 0,0-1 0 0 0,0 1 0 0 0,0-1-1 0 0,0 0 1 0 0,0 1 0 0 0,0-1 0 0 0,0 0 0 0 0,-1 1 0 0 0,1-1 0 0 0,0 0 0 0 0,0 1 0 0 0,0-1 0 0 0,0 0 0 0 0,-1 1 0 0 0,1-1-1 0 0,0 0 1 0 0,0 1 0 0 0,-1-1 0 0 0,1 0 0 0 0,0 0 0 0 0,0 1 0 0 0,-1-1 0 0 0,1 0 0 0 0,0 0 0 0 0,-1 1 0 0 0,-12 11 497 0 0,12-11-507 0 0,-93 58 1934 0 0,57-38-1687 0 0,36-20-254 0 0,1 0 1 0 0,-1-1-1 0 0,0 1 0 0 0,1 0 1 0 0,-1-1-1 0 0,0 1 1 0 0,1 0-1 0 0,-1 0 0 0 0,1-1 1 0 0,-1 1-1 0 0,1 0 1 0 0,0 0-1 0 0,-1 0 0 0 0,1 0 1 0 0,0 0-1 0 0,-1-1 0 0 0,1 1 1 0 0,0 0-1 0 0,0 0 1 0 0,0 0-1 0 0,0 0 0 0 0,0 0 1 0 0,0 0-1 0 0,0 2 1 0 0,7 18 475 0 0,-1-11-333 0 0,1 1 0 0 0,1-1 0 0 0,0-1 1 0 0,0 1-1 0 0,1-2 0 0 0,0 1 0 0 0,0-1 0 0 0,21 14 0 0 0,3 2 23 0 0,29 23-276 0 0,-55-43-1720 0 0,1 0 1 0 0,-1 0-1 0 0,16 5 1 0 0</inkml:trace>
</inkml:ink>
</file>

<file path=ppt/ink/ink2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23.66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 9 64 0 0,'-7'4'8544'0'0,"10"-5"-8462"0"0,-1-1 0 0 0,0 1 0 0 0,1 0 0 0 0,-1 0-1 0 0,1 0 1 0 0,-1 0 0 0 0,1 0 0 0 0,-1 1 0 0 0,1-1 0 0 0,0 1 0 0 0,4-1 0 0 0,36 1-1492 0 0,-28 0 182 0 0,12 0-1706 0 0,-2-2 1319 0 0</inkml:trace>
</inkml:ink>
</file>

<file path=ppt/ink/ink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2:28.61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93 572 0 0,'3'1'1554'0'0,"0"0"-1146"0"0,1 1 1 0 0,-1 0-1 0 0,0 0 0 0 0,0 0 0 0 0,0 0 0 0 0,-1 0 1 0 0,1 0-1 0 0,0 1 0 0 0,-1-1 0 0 0,1 1 0 0 0,-1 0 1 0 0,0-1-1 0 0,0 1 0 0 0,0 0 0 0 0,2 6 0 0 0,5 8 904 0 0,10 33 0 0 0,-10-24-596 0 0,61 178 2269 0 0,-60-171-2521 0 0,-3 0-1 0 0,0 1 0 0 0,-2 0 1 0 0,0 43-1 0 0,-5-74-379 0 0,0-1 0 0 0,-1 1 0 0 0,1-1-1 0 0,0 0 1 0 0,-1 1 0 0 0,0-1 0 0 0,0 1 0 0 0,0-1 0 0 0,0 0 0 0 0,0 0-1 0 0,-2 3 1 0 0,3-4-71 0 0,-1 0 0 0 0,1-1-1 0 0,-1 1 1 0 0,1 0 0 0 0,-1-1 0 0 0,0 1-1 0 0,1-1 1 0 0,-1 1 0 0 0,0-1-1 0 0,1 1 1 0 0,-1-1 0 0 0,0 0 0 0 0,0 1-1 0 0,1-1 1 0 0,-1 0 0 0 0,0 0-1 0 0,0 1 1 0 0,0-1 0 0 0,1 0 0 0 0,-1 0-1 0 0,0 0 1 0 0,0 0 0 0 0,0 0-1 0 0,0 0 1 0 0,1 0 0 0 0,-1 0 0 0 0,0 0-1 0 0,0-1 1 0 0,0 1 0 0 0,1 0-1 0 0,-1 0 1 0 0,0-1 0 0 0,0 1 0 0 0,1-1-1 0 0,-1 1 1 0 0,0 0 0 0 0,1-1-1 0 0,-2-1 1 0 0,-4-3-2 0 0,0-1 0 0 0,0 0-1 0 0,1 0 1 0 0,0 0 0 0 0,0-1 0 0 0,1 0-1 0 0,-1 0 1 0 0,1 0 0 0 0,1 0 0 0 0,0-1-1 0 0,0 1 1 0 0,0-1 0 0 0,1 0 0 0 0,0 0 0 0 0,1 0-1 0 0,-2-11 1 0 0,1-6-21 0 0,1 0-1 0 0,1 1 1 0 0,1-1-1 0 0,5-33 1 0 0,-2 34-40 0 0,2 0 0 0 0,1 0 0 0 0,0 1-1 0 0,2 0 1 0 0,1 0 0 0 0,0 1 0 0 0,2 0 0 0 0,15-22 0 0 0,-17 30 16 0 0,0 0-1 0 0,1 1 1 0 0,0 0 0 0 0,1 1-1 0 0,0 0 1 0 0,1 1 0 0 0,1 0 0 0 0,0 1-1 0 0,0 1 1 0 0,0 0 0 0 0,1 1-1 0 0,25-10 1 0 0,-32 16 16 0 0,-1 0 1 0 0,1 1-1 0 0,0-1 1 0 0,0 2-1 0 0,0-1 0 0 0,-1 1 1 0 0,1 0-1 0 0,0 0 1 0 0,9 2-1 0 0,-15-1 14 0 0,0-1 1 0 0,0 0-1 0 0,1 1 1 0 0,-2-1-1 0 0,1 1 1 0 0,0 0-1 0 0,0-1 0 0 0,0 1 1 0 0,0 0-1 0 0,0 0 1 0 0,-1 0-1 0 0,1 1 1 0 0,0-1-1 0 0,-1 0 0 0 0,1 1 1 0 0,-1-1-1 0 0,1 1 1 0 0,-1-1-1 0 0,0 1 1 0 0,0 0-1 0 0,0-1 0 0 0,0 1 1 0 0,0 0-1 0 0,0 0 1 0 0,0 0-1 0 0,0 0 1 0 0,-1 0-1 0 0,1 0 1 0 0,-1 0-1 0 0,1 0 0 0 0,-1 0 1 0 0,0 0-1 0 0,0 0 1 0 0,0 0-1 0 0,0 0 1 0 0,0 0-1 0 0,-1 0 0 0 0,1 0 1 0 0,-1 3-1 0 0,-2 4 4 0 0,0 0 1 0 0,-1 0-1 0 0,0 0 0 0 0,0-1 0 0 0,-1 1 0 0 0,0-1 0 0 0,-1 0 0 0 0,1-1 1 0 0,-1 1-1 0 0,-1-1 0 0 0,0 0 0 0 0,-7 5 0 0 0,-12 10-670 0 0,-1-2 1 0 0,-30 17-1 0 0,45-30-635 0 0,1 0 0 0 0,-17 7 0 0 0</inkml:trace>
</inkml:ink>
</file>

<file path=ppt/ink/ink2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25.16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5 22 828 0 0,'10'-20'4942'0'0,"-17"34"-3657"0"0,3 0-927 0 0,0 0 1 0 0,1 0 0 0 0,0 0-1 0 0,1 1 1 0 0,1-1-1 0 0,0 1 1 0 0,1-1 0 0 0,1 1-1 0 0,2 18 1 0 0,-1-20-191 0 0,1 0 1 0 0,0-1-1 0 0,0 0 1 0 0,1 0-1 0 0,1 0 1 0 0,0 0-1 0 0,1 0 0 0 0,0-1 1 0 0,1 0-1 0 0,15 19 1 0 0,-20-28-145 0 0,0-1 0 0 0,0 0 0 0 0,0 0 0 0 0,0 0-1 0 0,0 0 1 0 0,0 0 0 0 0,0-1 0 0 0,1 1 0 0 0,-1-1 0 0 0,0 1 0 0 0,1-1 0 0 0,-1 0 0 0 0,0 0 0 0 0,1 0 0 0 0,-1 0 0 0 0,0 0 0 0 0,0 0 0 0 0,1-1-1 0 0,-1 1 1 0 0,0-1 0 0 0,1 1 0 0 0,-1-1 0 0 0,0 0 0 0 0,0 0 0 0 0,0 0 0 0 0,0 0 0 0 0,2-2 0 0 0,5-6-106 0 0,-1 1-1 0 0,0-1 1 0 0,-1-1-1 0 0,1 1 1 0 0,-2-1 0 0 0,0 0-1 0 0,0-1 1 0 0,7-18 0 0 0,-1 5-1 0 0,-5 12-102 0 0,-3 12 26 0 0,1 18-13 0 0,0 8 319 0 0,-1-17-61 0 0,1 0 0 0 0,-1 0 0 0 0,1 0 0 0 0,1-1 0 0 0,-1 1 0 0 0,1-1 0 0 0,1-1 0 0 0,0 1 1 0 0,0-1-1 0 0,0-1 0 0 0,1 1 0 0 0,0-1 0 0 0,0 0 0 0 0,0-1 0 0 0,19 9 0 0 0,-23-13-40 0 0,0 0 0 0 0,0 0 0 0 0,0-1 0 0 0,0 1 0 0 0,0-1 0 0 0,1 0 0 0 0,-1 0 0 0 0,8-1 1 0 0,-9 1-45 0 0,0-1 9 0 0,0 1 0 0 0,0-1 0 0 0,1 0 0 0 0,-1 0 0 0 0,0 0 0 0 0,0 0 0 0 0,0-1 0 0 0,-1 1 0 0 0,1-1 0 0 0,0 1-1 0 0,0-1 1 0 0,-1 0 0 0 0,1 0 0 0 0,-1-1 0 0 0,0 1 0 0 0,4-5 0 0 0,-1 0-7 0 0,0 0-1 0 0,0 0 1 0 0,-1 0 0 0 0,5-13-1 0 0,-2-1-55 0 0,-1 0-1 0 0,-1 0 0 0 0,-1 0 0 0 0,0-1 0 0 0,-2 1 1 0 0,-1-36-1 0 0,-1 57 49 0 0,0 0 0 0 0,0-1 0 0 0,0 1 0 0 0,0 0 0 0 0,0 0 0 0 0,-1 0 0 0 0,1-1 0 0 0,0 1 0 0 0,0 0 0 0 0,0 0 0 0 0,0 0 0 0 0,0-1 0 0 0,0 1 0 0 0,0 0 0 0 0,0 0 0 0 0,0 0 0 0 0,0-1 0 0 0,0 1 0 0 0,0 0 0 0 0,0 0 1 0 0,0 0-1 0 0,0 0 0 0 0,1-1 0 0 0,-1 1 0 0 0,0 0 0 0 0,0 0 0 0 0,0 0 0 0 0,0-1 0 0 0,0 1 0 0 0,0 0 0 0 0,0 0 0 0 0,1 0 0 0 0,-1 0 0 0 0,0 0 0 0 0,0-1 0 0 0,0 1 0 0 0,0 0 0 0 0,0 0 0 0 0,1 0 0 0 0,-1 0 0 0 0,0 0 0 0 0,0 0 0 0 0,0 0 0 0 0,1 0 0 0 0,-1 0 0 0 0,0 0 0 0 0,0 0 0 0 0,1 0 0 0 0,7 10-51 0 0,10 24 91 0 0,-16-29-44 0 0,16 31-9 0 0,-9-20 38 0 0,0 1 1 0 0,-1-1-1 0 0,-1 1 1 0 0,-1 1-1 0 0,0-1 1 0 0,-1 1 0 0 0,3 25-1 0 0,-8-37-6 0 0,-1-1 0 0 0,0 1 0 0 0,1-1 0 0 0,-2 1 0 0 0,1 0 0 0 0,-1-1-1 0 0,0 0 1 0 0,-3 8 0 0 0,4-11-2 0 0,0 1 0 0 0,0-1-1 0 0,0 0 1 0 0,0 0 0 0 0,0 0 0 0 0,-1 0-1 0 0,1 0 1 0 0,0-1 0 0 0,-1 1-1 0 0,0 0 1 0 0,1-1 0 0 0,-1 1 0 0 0,0-1-1 0 0,0 1 1 0 0,0-1 0 0 0,0 0 0 0 0,0 0-1 0 0,0 0 1 0 0,0 0 0 0 0,0 0-1 0 0,-1 0 1 0 0,-3 0 0 0 0,6 0-14 0 0,-1-1 0 0 0,1 0 1 0 0,-1 0-1 0 0,1 0 0 0 0,-1 0 0 0 0,0 0 1 0 0,1 0-1 0 0,-1 0 0 0 0,1 0 0 0 0,-1 0 1 0 0,1 0-1 0 0,-1 0 0 0 0,1 0 0 0 0,-1 0 1 0 0,1 0-1 0 0,-1-1 0 0 0,1 1 0 0 0,-1 0 1 0 0,1 0-1 0 0,-1-1 0 0 0,1 1 0 0 0,-1 0 1 0 0,1 0-1 0 0,-1-1 0 0 0,1 1 0 0 0,0-1 1 0 0,-1 1-1 0 0,1 0 0 0 0,0-1 0 0 0,-1 1 1 0 0,1-1-1 0 0,-1 0 0 0 0,2 0-2 0 0,-1 0-1 0 0,0 0 1 0 0,1 0 0 0 0,-1 0-1 0 0,1 0 1 0 0,-1 0 0 0 0,1 0-1 0 0,0 0 1 0 0,-1 0 0 0 0,1 1-1 0 0,0-1 1 0 0,0 0 0 0 0,-1 0-1 0 0,3 0 1 0 0,34-26-153 0 0,87-35-351 0 0,-4 1 179 0 0,-103 51 281 0 0,0-1 0 0 0,-1 0-1 0 0,-1-1 1 0 0,25-26-1 0 0,-24 18-60 0 0,-16 19 102 0 0,1 0 0 0 0,-1 1 0 0 0,1-1 0 0 0,-1 0 0 0 0,0 1 0 0 0,1-1 0 0 0,-1 0 0 0 0,0 0 0 0 0,1 1-1 0 0,-1-1 1 0 0,0 0 0 0 0,0 0 0 0 0,0 0 0 0 0,0 1 0 0 0,1-1 0 0 0,-1 0 0 0 0,0 0 0 0 0,-1 0 0 0 0,1 0 0 0 0,0 1 0 0 0,0-1 0 0 0,0 0 0 0 0,0 0 0 0 0,-1 0-1 0 0,1 1 1 0 0,0-1 0 0 0,-1 0 0 0 0,1 0 0 0 0,-1-1 0 0 0,-1 1-1 0 0,1 0 1 0 0,0 0-1 0 0,-1 0 0 0 0,0 0 0 0 0,1 0 1 0 0,-1 0-1 0 0,1 0 0 0 0,-1 0 0 0 0,0 0 1 0 0,0 1-1 0 0,0-1 0 0 0,1 1 0 0 0,-1-1 0 0 0,0 1 1 0 0,0 0-1 0 0,0 0 0 0 0,0 0 0 0 0,0 0 1 0 0,1 0-1 0 0,-1 0 0 0 0,0 0 0 0 0,0 1 1 0 0,0-1-1 0 0,-2 1 0 0 0,2 0-1 0 0,-1-1 4 0 0,1 0 0 0 0,0 0 0 0 0,0 1 0 0 0,-1-1 0 0 0,1 1 1 0 0,0-1-1 0 0,0 1 0 0 0,-1 0 0 0 0,1 0 0 0 0,0 0 0 0 0,0 0 0 0 0,-3 2 0 0 0,3-2 1 0 0,-1 0 3 0 0,1 1 0 0 0,0-1-1 0 0,-1 1 1 0 0,1-1 0 0 0,0 1 0 0 0,0 0 0 0 0,0 0 0 0 0,0 0 0 0 0,0 0 0 0 0,1 0 0 0 0,-1 0 0 0 0,0 1-1 0 0,1-1 1 0 0,0 1 0 0 0,0-1 0 0 0,0 1 0 0 0,-1 2 0 0 0,1-3 4 0 0,1 1 0 0 0,0-1 1 0 0,0 0-1 0 0,0 1 0 0 0,0-1 1 0 0,1 0-1 0 0,-1 0 0 0 0,0 0 0 0 0,1 1 1 0 0,0-1-1 0 0,-1 0 0 0 0,1 0 0 0 0,0 0 1 0 0,0 0-1 0 0,0 0 0 0 0,2 2 1 0 0,2 3 30 0 0,1-1 0 0 0,-1 0 0 0 0,1 0 0 0 0,0-1 0 0 0,0 0 0 0 0,1 0 0 0 0,0 0 0 0 0,10 5 0 0 0,-13-8-44 0 0,0 0 1 0 0,1 0-1 0 0,-1 0 1 0 0,1-1-1 0 0,-1 0 1 0 0,1 0-1 0 0,0 0 1 0 0,0-1-1 0 0,-1 1 1 0 0,1-1-1 0 0,0 0 1 0 0,0 0-1 0 0,-1-1 1 0 0,1 0-1 0 0,0 0 1 0 0,-1 0-1 0 0,1 0 1 0 0,-1 0-1 0 0,1-1 1 0 0,-1 0-1 0 0,1 0 1 0 0,-1 0-1 0 0,0-1 1 0 0,0 1-1 0 0,0-1 1 0 0,-1 0-1 0 0,1 0 1 0 0,6-7-1 0 0,0-2-73 0 0,1 0-1 0 0,-1-1 0 0 0,-1 0 0 0 0,0 0 0 0 0,-1-1 1 0 0,-1 0-1 0 0,8-21 0 0 0,20-37-116 0 0,-34 70 189 0 0,-1 2-26 0 0,0 0 34 0 0,0-1-1 0 0,0 1 1 0 0,1 0 0 0 0,-1 0-1 0 0,0-1 1 0 0,0 1 0 0 0,0 0-1 0 0,0-1 1 0 0,0 1 0 0 0,0 0-1 0 0,1 0 1 0 0,-1-1 0 0 0,0 1-1 0 0,0 0 1 0 0,0 0 0 0 0,1 0 0 0 0,-1-1-1 0 0,0 1 1 0 0,0 0 0 0 0,1 0-1 0 0,-1 0 1 0 0,0-1 0 0 0,0 1-1 0 0,1 0 1 0 0,-1 0 0 0 0,0 0-1 0 0,1 0 1 0 0,-1 0 0 0 0,0 0-1 0 0,0 0 1 0 0,1 0 0 0 0,-1 0-1 0 0,0 0 1 0 0,1 0 0 0 0,-1 0-1 0 0,0 0 1 0 0,1 0 0 0 0,-1 0-1 0 0,0 0 1 0 0,0 0 0 0 0,1 0-1 0 0,-1 0 1 0 0,0 0 0 0 0,1 1 0 0 0,-1-1-1 0 0,0 0 1 0 0,0 0 0 0 0,1 0-1 0 0,-1 0 1 0 0,0 1 0 0 0,0-1-1 0 0,0 0 1 0 0,1 0 0 0 0,-1 1-1 0 0,0-1 1 0 0,0 0 0 0 0,0 0-1 0 0,1 1 1 0 0,-1-1 0 0 0,0 0-1 0 0,0 0 1 0 0,0 1 0 0 0,4 6 0 0 0,0 0 1 0 0,-1 1 0 0 0,0-1-1 0 0,-1 1 1 0 0,1-1-1 0 0,-1 1 1 0 0,-1 0 0 0 0,2 12-1 0 0,3 18-4 0 0,-3-10 28 0 0,3 16 2342 0 0,-5-43-2358 0 0,0 0 0 0 0,-1 0 1 0 0,1-1-1 0 0,0 1 0 0 0,0-1 0 0 0,0 1 0 0 0,0 0 0 0 0,0-1 0 0 0,0 0 0 0 0,0 1 0 0 0,0-1 1 0 0,0 0-1 0 0,0 1 0 0 0,0-1 0 0 0,0 0 0 0 0,2 0 0 0 0,16 3-28 0 0,-16-3 46 0 0,0 0-22 0 0,5-1 4 0 0,27-2 27 0 0,64-13-1 0 0,-89 13-22 0 0,0 0 0 0 0,0 0 0 0 0,0-1 0 0 0,-1 0 0 0 0,1-1 0 0 0,-1 0 0 0 0,0 0 0 0 0,0-1 0 0 0,-1 0 1 0 0,15-15-1 0 0,-16 14-11 0 0,0 1-1 0 0,-1-1-1 0 0,0 1 1 0 0,-1-2-1 0 0,0 1 0 0 0,8-13 1 0 0,-11 15-8 0 0,-1 0 0 0 0,1 0-1 0 0,-1 0 1 0 0,0 1 0 0 0,0-1 0 0 0,0 0 0 0 0,-1-1 0 0 0,0 1 0 0 0,1 0 0 0 0,-2 0 0 0 0,1 0 0 0 0,-1 0-1 0 0,0 0 1 0 0,-2-9 0 0 0,2 13 6 0 0,0 0 1 0 0,1 0-1 0 0,-1 0 0 0 0,0 0 0 0 0,0 0 0 0 0,0 0 0 0 0,0 1 1 0 0,0-1-1 0 0,0 0 0 0 0,0 0 0 0 0,0 1 0 0 0,0-1 0 0 0,0 1 1 0 0,0-1-1 0 0,0 1 0 0 0,-1-1 0 0 0,1 1 0 0 0,0-1 0 0 0,0 1 1 0 0,-1 0-1 0 0,1 0 0 0 0,0 0 0 0 0,-3 0 0 0 0,2 0 1 0 0,0 0 0 0 0,-1 0 0 0 0,1 0 0 0 0,0 1-1 0 0,-1-1 1 0 0,1 1 0 0 0,0-1 0 0 0,0 1 0 0 0,0 0 0 0 0,-1 0-1 0 0,1 0 1 0 0,0 0 0 0 0,0 0 0 0 0,0 0 0 0 0,0 1 0 0 0,1-1-1 0 0,-1 1 1 0 0,0-1 0 0 0,1 1 0 0 0,-1 0 0 0 0,1 0 0 0 0,-1 0-1 0 0,1 0 1 0 0,0 0 0 0 0,0 0 0 0 0,-1 0 0 0 0,2 0 0 0 0,-1 0-1 0 0,0 0 1 0 0,0 1 0 0 0,0 1 0 0 0,1 1 5 0 0,0 0 0 0 0,0-1 0 0 0,0 1 1 0 0,1 0-1 0 0,0-1 0 0 0,-1 1 0 0 0,2-1 0 0 0,-1 1 0 0 0,0-1 0 0 0,1 1 1 0 0,0-1-1 0 0,2 4 0 0 0,32 46 39 0 0,4 6-13 0 0,-36-54-12 0 0,-1 1 0 0 0,0-1 0 0 0,-1 1 0 0 0,1-1 0 0 0,-1 1 1 0 0,0 0-1 0 0,1 12 0 0 0,-3-17-9 0 0,0 1 1 0 0,0-1-1 0 0,0 1 1 0 0,-1 0-1 0 0,1-1 1 0 0,-1 1-1 0 0,1-1 1 0 0,-1 1-1 0 0,0-1 1 0 0,0 1-1 0 0,0-1 1 0 0,0 0-1 0 0,-1 1 0 0 0,1-1 1 0 0,-1 0-1 0 0,1 0 1 0 0,-1 0-1 0 0,0 0 1 0 0,0 0-1 0 0,0 0 1 0 0,0-1-1 0 0,0 1 1 0 0,0 0-1 0 0,0-1 1 0 0,0 0-1 0 0,-1 0 1 0 0,1 1-1 0 0,0-1 1 0 0,-1-1-1 0 0,-3 2 0 0 0,-8 2-1 0 0,-1 0-1 0 0,0-1 1 0 0,0-1-1 0 0,-16 1 1 0 0,8-1-111 0 0,-28 3-2864 0 0,17-4-2584 0 0,21-1 2581 0 0</inkml:trace>
</inkml:ink>
</file>

<file path=ppt/ink/ink2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25.90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59 103 444 0 0,'-1'-6'310'0'0,"0"0"0"0"0,-1 0 0 0 0,0 0-1 0 0,0 0 1 0 0,0 0 0 0 0,-1 0 0 0 0,0 1 0 0 0,0 0 0 0 0,0-1 0 0 0,-1 1-1 0 0,1 0 1 0 0,-1 1 0 0 0,-1-1 0 0 0,1 1 0 0 0,-1 0 0 0 0,1 0 0 0 0,-1 0-1 0 0,-8-4 1 0 0,10 6-182 0 0,-1 2 20 0 0,-10 2 64 0 0,13-2-188 0 0,0 0 1 0 0,0 0 0 0 0,1 1-1 0 0,-1-1 1 0 0,0 0 0 0 0,0 1-1 0 0,1-1 1 0 0,-1 1-1 0 0,0-1 1 0 0,1 1 0 0 0,-1-1-1 0 0,0 1 1 0 0,1 0 0 0 0,-1-1-1 0 0,1 1 1 0 0,-1 0 0 0 0,1-1-1 0 0,-1 1 1 0 0,1 0 0 0 0,0 0-1 0 0,-1-1 1 0 0,1 1 0 0 0,0 0-1 0 0,-1 0 1 0 0,1 1-1 0 0,-3 18 369 0 0,4-5-113 0 0,0 0 0 0 0,1 0 1 0 0,1-1-1 0 0,0 1 0 0 0,8 21 0 0 0,33 71 174 0 0,-17-47-271 0 0,-23-52-178 0 0,-3-6 19 0 0,0 0 0 0 0,0-1 0 0 0,0 1 0 0 0,0 0-1 0 0,-1 0 1 0 0,1 0 0 0 0,0 0 0 0 0,-1 0-1 0 0,1 0 1 0 0,-1 0 0 0 0,0 0 0 0 0,1 0 0 0 0,-1 0-1 0 0,0 0 1 0 0,0 0 0 0 0,-1 0 0 0 0,1 0-1 0 0,0 0 1 0 0,-1 1 0 0 0,1-1 0 0 0,-1-1 0 0 0,0 1-1 0 0,1 0 1 0 0,-1 0 0 0 0,-2 2 0 0 0,2-3-13 0 0,0 0 1 0 0,0-1 0 0 0,0 1-1 0 0,0 0 1 0 0,-1-1 0 0 0,1 1-1 0 0,0-1 1 0 0,0 1 0 0 0,-1-1-1 0 0,1 0 1 0 0,0 0 0 0 0,-1 1-1 0 0,1-1 1 0 0,0 0 0 0 0,-1 0-1 0 0,1 0 1 0 0,0-1 0 0 0,-1 1-1 0 0,1 0 1 0 0,0 0 0 0 0,-1-1-1 0 0,-1 0 1 0 0,-29-12 102 0 0,27 10-99 0 0,0 0 0 0 0,0 0 0 0 0,0-1 0 0 0,1 0 0 0 0,0 0 0 0 0,-1 0 0 0 0,1-1 0 0 0,1 1 0 0 0,-1-1 1 0 0,1 0-1 0 0,-5-8 0 0 0,2-2-30 0 0,0 1 0 0 0,1-2 0 0 0,-4-25 0 0 0,9 41 9 0 0,0 0 0 0 0,0-1 0 0 0,-1 1-1 0 0,1-1 1 0 0,0 1 0 0 0,0 0 0 0 0,0-1 0 0 0,0 1 0 0 0,-1 0-1 0 0,1-1 1 0 0,0 1 0 0 0,0 0 0 0 0,0-1 0 0 0,-1 1 0 0 0,1 0 0 0 0,0-1-1 0 0,-1 1 1 0 0,1 0 0 0 0,0 0 0 0 0,-1-1 0 0 0,1 1 0 0 0,0 0-1 0 0,-1 0 1 0 0,1 0 0 0 0,0 0 0 0 0,-1-1 0 0 0,1 1 0 0 0,-1 0 0 0 0,1 0-1 0 0,0 0 1 0 0,-1 0 0 0 0,1 0 0 0 0,-1 0 0 0 0,1 0 0 0 0,0 0-1 0 0,-1 0 1 0 0,1 0 0 0 0,-1 0 0 0 0,1 0 0 0 0,0 0 0 0 0,-1 1 0 0 0,-22 12 85 0 0,-18 25 305 0 0,20-15-423 0 0,-47 52 428 0 0,30-24-3506 0 0,40-41-1046 0 0</inkml:trace>
</inkml:ink>
</file>

<file path=ppt/ink/ink2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26.23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8 1656 0 0,'34'-17'4044'0'0,"-32"16"-3248"0"0,4 4 193 0 0,-6-3-953 0 0,1 0-1 0 0,0 0 1 0 0,-1 0-1 0 0,1 0 1 0 0,-1 0-1 0 0,1 0 1 0 0,0 0-1 0 0,-1 0 1 0 0,1 1-1 0 0,-1-1 0 0 0,1 0 1 0 0,-1 0-1 0 0,1 1 1 0 0,-1-1-1 0 0,1 0 1 0 0,-1 1-1 0 0,1-1 1 0 0,-1 0-1 0 0,1 1 1 0 0,2 6 273 0 0,0 0 1 0 0,0 0 0 0 0,-1 0-1 0 0,0 0 1 0 0,0 1 0 0 0,1 12-1 0 0,0 52 144 0 0,-1-21-1275 0 0,2-8-4240 0 0</inkml:trace>
</inkml:ink>
</file>

<file path=ppt/ink/ink2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26.71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6 47 712 0 0,'-6'-9'953'0'0,"1"0"0"0"0,-9-18 1 0 0,13 25-801 0 0,4 3-110 0 0,5 4-13 0 0,0-1-1 0 0,-1 1 1 0 0,1 0 0 0 0,-1 0-1 0 0,0 1 1 0 0,-1 0-1 0 0,1 0 1 0 0,-1 1-1 0 0,0 0 1 0 0,-1 0 0 0 0,0 0-1 0 0,0 1 1 0 0,0-1-1 0 0,-1 1 1 0 0,3 9-1 0 0,6 12 558 0 0,-3 0-1 0 0,0 1 0 0 0,5 32 0 0 0,3 55 1629 0 0,-16-72 2175 0 0,-2-43-3708 0 0,-1-5-590 0 0,1-1 0 0 0,0 1 1 0 0,-1 0-1 0 0,1-1 1 0 0,0 1-1 0 0,1 0 0 0 0,-1-1 1 0 0,1-3-1 0 0,3-5-80 0 0,0 1 1 0 0,0-1-1 0 0,1 1 1 0 0,1 0-1 0 0,-1 0 1 0 0,2 1-1 0 0,0 0 1 0 0,10-12-1 0 0,-16 21-18 0 0,0 0 0 0 0,0 0-1 0 0,0 0 1 0 0,0 0 0 0 0,0 0 0 0 0,0 0 0 0 0,1 0-1 0 0,-1 1 1 0 0,0-1 0 0 0,0 0 0 0 0,1 1 0 0 0,-1-1-1 0 0,1 1 1 0 0,-1 0 0 0 0,0-1 0 0 0,1 1 0 0 0,-1 0-1 0 0,1 0 1 0 0,-1 0 0 0 0,1 0 0 0 0,-1 0 0 0 0,0 0-1 0 0,1 0 1 0 0,-1 1 0 0 0,1-1 0 0 0,-1 0 0 0 0,1 1-1 0 0,-1-1 1 0 0,0 1 0 0 0,0-1 0 0 0,1 1 0 0 0,-1 0-1 0 0,0 0 1 0 0,0 0 0 0 0,1-1 0 0 0,0 3 0 0 0,2 0-1 0 0,-1 0 0 0 0,1 1 0 0 0,-1-1 0 0 0,0 1 1 0 0,0-1-1 0 0,0 1 0 0 0,-1 0 0 0 0,1 0 0 0 0,1 6 1 0 0,5 16 256 0 0,10 57 1090 0 0,-15-94-1068 0 0,9-11-245 0 0,2 1 0 0 0,26-28 0 0 0,-32 40-58 0 0,0 0 1 0 0,0 0-1 0 0,1 1 0 0 0,0 1 0 0 0,0 0 1 0 0,1 0-1 0 0,16-8 0 0 0,-23 14 23 0 0,0 0 0 0 0,0-1-1 0 0,0 1 1 0 0,0 0 0 0 0,0 1 0 0 0,0-1 0 0 0,0 1-1 0 0,1 0 1 0 0,-1 0 0 0 0,0 0 0 0 0,0 1-1 0 0,0-1 1 0 0,0 1 0 0 0,0 0 0 0 0,0 0 0 0 0,0 0-1 0 0,0 1 1 0 0,0-1 0 0 0,-1 1 0 0 0,1 0-1 0 0,0 0 1 0 0,-1 1 0 0 0,0-1 0 0 0,5 4-1 0 0,-2 0-24 0 0,-1-1 0 0 0,1 1-1 0 0,-1 1 1 0 0,0-1-1 0 0,0 1 1 0 0,-1 0 0 0 0,0 0-1 0 0,-1 0 1 0 0,1 0-1 0 0,-1 1 1 0 0,3 12-1 0 0,10 54-6839 0 0</inkml:trace>
</inkml:ink>
</file>

<file path=ppt/ink/ink2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27.09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65 1868 0 0,'12'-14'6750'0'0,"-8"11"-6136"0"0,-1 6-478 0 0,-1-1 1 0 0,1 0-1 0 0,-1 1 1 0 0,0 0-1 0 0,1-1 1 0 0,-1 1 0 0 0,0 0-1 0 0,-1 0 1 0 0,1 0-1 0 0,-1 1 1 0 0,1-1 0 0 0,1 6-1 0 0,13 49-32 0 0,-12-38-742 0 0,-1-3-613 0 0,3 7-3028 0 0</inkml:trace>
  <inkml:trace contextRef="#ctx0" brushRef="#br0" timeOffset="1">68 171 732 0 0,'-28'-97'7282'0'0,"9"38"-5195"0"0,18 56-2185 0 0,1 3 31 0 0,0 0-1 0 0,0-1 1 0 0,-1 1 0 0 0,1 0-1 0 0,0-1 1 0 0,0 1 0 0 0,0-1-1 0 0,0 1 1 0 0,0-1 0 0 0,0 1-1 0 0,0 0 1 0 0,0-1 0 0 0,0 1-1 0 0,0-1 1 0 0,0 1-1 0 0,0 0 1 0 0,0-1 0 0 0,1 1-1 0 0,-1-1 1 0 0,0 1 0 0 0,0 0-1 0 0,0-1 1 0 0,1 1 0 0 0,-1 0-1 0 0,0-1 1 0 0,0 1 0 0 0,1 0-1 0 0,-1-1 1 0 0,0 1 0 0 0,1-1-1 0 0,31 7-3813 0 0</inkml:trace>
</inkml:ink>
</file>

<file path=ppt/ink/ink2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27.48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684 0 0,'19'19'4558'0'0,"22"103"781"0"0,-26-67-4737 0 0,12 85 1 0 0,-26-127-1232 0 0,1 0 0 0 0,1 1 1 0 0,0-1-1 0 0,9 23 0 0 0,-11-34 397 0 0,0-1-1 0 0,0 0 1 0 0,0 0-1 0 0,0 0 1 0 0,1 0 0 0 0,-1 0-1 0 0,0 0 1 0 0,1 0-1 0 0,-1 0 1 0 0,1-1-1 0 0,-1 1 1 0 0,1 0-1 0 0,-1-1 1 0 0,1 1 0 0 0,-1-1-1 0 0,1 0 1 0 0,-1 1-1 0 0,4-1 1 0 0,-4 0 50 0 0</inkml:trace>
</inkml:ink>
</file>

<file path=ppt/ink/ink2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27.83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86 136 24 0 0,'4'-5'567'0'0,"0"-1"-1"0"0,0 0 1 0 0,-1 0-1 0 0,0 0 1 0 0,0 0 0 0 0,-1-1-1 0 0,1 0 1 0 0,0-7 0 0 0,-2 12-455 0 0,-1-1 0 0 0,0 1 0 0 0,0 0 0 0 0,0-1 0 0 0,0 1 0 0 0,0 0 0 0 0,-1-1 0 0 0,1 1 0 0 0,-1 0 0 0 0,0 0 1 0 0,1-1-1 0 0,-1 1 0 0 0,0 0 0 0 0,0 0 0 0 0,0 0 0 0 0,-1 0 0 0 0,1 0 0 0 0,0 0 0 0 0,-1 0 0 0 0,1 1 0 0 0,-1-1 1 0 0,0 0-1 0 0,1 1 0 0 0,-1-1 0 0 0,0 1 0 0 0,0 0 0 0 0,-3-2 0 0 0,0 0-47 0 0,0 1-1 0 0,-1 0 0 0 0,1 0 1 0 0,-1 0-1 0 0,1 1 1 0 0,-1 0-1 0 0,0 0 0 0 0,0 0 1 0 0,1 1-1 0 0,-1 0 1 0 0,0 0-1 0 0,0 0 0 0 0,1 1 1 0 0,-1 0-1 0 0,0 0 1 0 0,1 0-1 0 0,-1 1 0 0 0,1-1 1 0 0,-1 1-1 0 0,1 1 1 0 0,0-1-1 0 0,0 1 1 0 0,0 0-1 0 0,0 0 0 0 0,0 1 1 0 0,1-1-1 0 0,-6 6 1 0 0,7-6-35 0 0,0 0 0 0 0,1 0 0 0 0,-1 0 0 0 0,1 1 0 0 0,-1-1 0 0 0,1 1 1 0 0,0 0-1 0 0,1-1 0 0 0,-1 1 0 0 0,0 0 0 0 0,1 0 0 0 0,0 0 0 0 0,0 0 0 0 0,0 1 1 0 0,1-1-1 0 0,-1 0 0 0 0,1 0 0 0 0,0 0 0 0 0,0 1 0 0 0,1-1 0 0 0,-1 0 1 0 0,1 0-1 0 0,0 0 0 0 0,0 0 0 0 0,0 0 0 0 0,0 0 0 0 0,1 0 0 0 0,0 0 1 0 0,0 0-1 0 0,0-1 0 0 0,0 1 0 0 0,0-1 0 0 0,1 1 0 0 0,4 4 0 0 0,-5-7-22 0 0,-1 0 0 0 0,1 0 0 0 0,0 0 0 0 0,-1-1 0 0 0,1 1 0 0 0,0 0 0 0 0,0-1-1 0 0,-1 1 1 0 0,1-1 0 0 0,0 1 0 0 0,0-1 0 0 0,0 0 0 0 0,0 0 0 0 0,0 0 0 0 0,0 0 0 0 0,2-1 0 0 0,29-6 97 0 0,51-34 1071 0 0,-82 40-1103 0 0,0 1 0 0 0,-1-1-68 0 0,-1 1 1 0 0,1 0-1 0 0,0 0 0 0 0,-1-1 1 0 0,1 1-1 0 0,-1 0 0 0 0,1 0 1 0 0,0 0-1 0 0,-1-1 1 0 0,1 1-1 0 0,0 0 0 0 0,-1 0 1 0 0,1 0-1 0 0,0 0 0 0 0,-1 0 1 0 0,1 0-1 0 0,0 1 0 0 0,0-1 1 0 0,5 7 37 0 0,-3 4 0 0 0,0 14-342 0 0,1 0 1 0 0,1 0 0 0 0,1-1-1 0 0,1 0 1 0 0,17 38 0 0 0,-23-61 92 0 0,-1 0 1 0 0,1 1-1 0 0,0-1 1 0 0,-1 0-1 0 0,1 0 1 0 0,0 0-1 0 0,0 0 1 0 0,0 0-1 0 0,0 0 1 0 0,0 0-1 0 0,0 0 1 0 0,0 0-1 0 0,0 0 1 0 0,0 0-1 0 0,0-1 1 0 0,0 1 0 0 0,1 0-1 0 0,-1-1 1 0 0,0 1-1 0 0,0-1 1 0 0,1 1-1 0 0,-1-1 1 0 0,0 0-1 0 0,1 1 1 0 0,-1-1-1 0 0,0 0 1 0 0,1 0-1 0 0,-1 0 1 0 0,1 0-1 0 0,1-1 1 0 0,8-4-2101 0 0</inkml:trace>
</inkml:ink>
</file>

<file path=ppt/ink/ink2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28.18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266 224 0 0,'59'-55'6089'0'0,"-58"54"-6027"0"0,0 1-1 0 0,0-1 1 0 0,1 1-1 0 0,-1-1 1 0 0,0 1-1 0 0,1 0 1 0 0,-1 0-1 0 0,0-1 1 0 0,1 1 0 0 0,-1 0-1 0 0,0 0 1 0 0,1 0-1 0 0,-1 0 1 0 0,0 1-1 0 0,1-1 1 0 0,-1 0-1 0 0,0 1 1 0 0,1-1-1 0 0,-1 0 1 0 0,0 1-1 0 0,3 1 1 0 0,-3-2-75 0 0,0 2 70 0 0,1-1-1 0 0,-1 1 1 0 0,1-1 0 0 0,-1 1-1 0 0,0 0 1 0 0,1 0-1 0 0,-1 0 1 0 0,0 0 0 0 0,0 0-1 0 0,0 0 1 0 0,-1 0 0 0 0,1 0-1 0 0,0 0 1 0 0,-1 0-1 0 0,1 4 1 0 0,0-1 110 0 0,-1 1 0 0 0,0 0 0 0 0,0-1 0 0 0,0 1 0 0 0,-1 0 1 0 0,1-1-1 0 0,-1 1 0 0 0,-1 0 0 0 0,1-1 0 0 0,-1 0 0 0 0,0 1 0 0 0,0-1 0 0 0,-1 0 0 0 0,0 0 0 0 0,1 0 0 0 0,-2 0 0 0 0,1 0 0 0 0,-4 4 0 0 0,6-9-125 0 0,0 1-1 0 0,1 0 0 0 0,-1 0 1 0 0,1-1-1 0 0,-1 1 0 0 0,0-1 1 0 0,0 1-1 0 0,1-1 0 0 0,-1 1 1 0 0,0-1-1 0 0,0 1 0 0 0,0-1 1 0 0,0 0-1 0 0,1 1 0 0 0,-1-1 1 0 0,0 0-1 0 0,0 0 0 0 0,0 0 1 0 0,0 0-1 0 0,0 0 0 0 0,0 0 1 0 0,0 0-1 0 0,0 0 0 0 0,0 0 1 0 0,1 0-1 0 0,-1 0 0 0 0,0 0 1 0 0,0-1-1 0 0,0 1 0 0 0,0 0 1 0 0,0-1-1 0 0,-1 0 0 0 0,1 0-9 0 0,-1 0 0 0 0,0 0-1 0 0,1 0 1 0 0,-1 0 0 0 0,1-1-1 0 0,0 1 1 0 0,-1 0 0 0 0,1-1 0 0 0,0 1-1 0 0,0-1 1 0 0,0 0 0 0 0,0 1-1 0 0,0-1 1 0 0,-1-2 0 0 0,1 0-19 0 0,0-1 0 0 0,1 1 0 0 0,-1 0 0 0 0,1-1-1 0 0,0 1 1 0 0,1-1 0 0 0,-1 1 0 0 0,1 0 0 0 0,-1-1 0 0 0,1 1 0 0 0,1 0 0 0 0,-1-1 0 0 0,0 1 0 0 0,1 0-1 0 0,2-4 1 0 0,1-1-11 0 0,0 0-1 0 0,1 0 0 0 0,0 0 0 0 0,0 1 1 0 0,9-10-1 0 0,-5 9-211 0 0,1 0-1 0 0,0 0 1 0 0,0 1 0 0 0,1 1 0 0 0,0-1-1 0 0,0 2 1 0 0,0 0 0 0 0,20-7 0 0 0,-28 12-47 0 0,-1 0-1 0 0,1 1 1 0 0,-1-1 0 0 0,1 1 0 0 0,-1-1-1 0 0,1 1 1 0 0,-1 0 0 0 0,1 0 0 0 0,0 1-1 0 0,-1-1 1 0 0,4 2 0 0 0,14 3-3632 0 0,-3 1 1373 0 0</inkml:trace>
  <inkml:trace contextRef="#ctx0" brushRef="#br0" timeOffset="1">533 21 956 0 0,'5'-19'5075'0'0,"-5"18"-5039"0"0,0 1 0 0 0,0 0 1 0 0,0 0-1 0 0,0 0 0 0 0,0 0 1 0 0,0 0-1 0 0,-1 0 1 0 0,1 0-1 0 0,0 0 0 0 0,0 0 1 0 0,0-1-1 0 0,0 1 0 0 0,0 0 1 0 0,0 0-1 0 0,-1 0 1 0 0,1 0-1 0 0,0 0 0 0 0,0 0 1 0 0,0 0-1 0 0,0 0 0 0 0,0 0 1 0 0,0 0-1 0 0,-1 0 0 0 0,1 0 1 0 0,0 0-1 0 0,0 0 1 0 0,0 0-1 0 0,0 0 0 0 0,0 0 1 0 0,-1 0-1 0 0,1 0 0 0 0,0 0 1 0 0,0 0-1 0 0,0 0 1 0 0,0 1-1 0 0,0-1 0 0 0,0 0 1 0 0,-1 0-1 0 0,1 0 0 0 0,0 0 1 0 0,0 0-1 0 0,0 0 0 0 0,0 0 1 0 0,0 0-1 0 0,0 0 1 0 0,0 1-1 0 0,0-1 0 0 0,0 0 1 0 0,0 0-1 0 0,-1 0 0 0 0,1 0 1 0 0,0 0-1 0 0,0 0 1 0 0,0 1-1 0 0,0-1 0 0 0,0 0 1 0 0,0 0-1 0 0,0 0 0 0 0,0 0 1 0 0,-1 2 51 0 0,1 0 1 0 0,-1-1 0 0 0,0 1-1 0 0,0 0 1 0 0,1 0-1 0 0,-1 0 1 0 0,1-1 0 0 0,0 1-1 0 0,0 0 1 0 0,-1 3-1 0 0,1 2 230 0 0,-2 6-89 0 0,1 0 1 0 0,0 0-1 0 0,1 1 1 0 0,1-1-1 0 0,2 16 1 0 0,17 67 145 0 0,-5-32-222 0 0,3 3-2039 0 0,-3-25-2993 0 0</inkml:trace>
</inkml:ink>
</file>

<file path=ppt/ink/ink2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28.53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61 1308 0 0,'1'-3'1020'0'0,"1"-1"-801"0"0,0 0 1 0 0,0 1-1 0 0,0-1 1 0 0,1 1-1 0 0,-1-1 1 0 0,1 1-1 0 0,0 0 1 0 0,0 0-1 0 0,0 0 1 0 0,1 1-1 0 0,-1-1 1 0 0,1 1-1 0 0,-1-1 1 0 0,1 1-1 0 0,0 0 1 0 0,0 1-1 0 0,7-3 1 0 0,11-4 450 0 0,49-9 0 0 0,-39 10-80 0 0,145-32 2969 0 0,-174 38-3513 0 0,-1 2-17 0 0,-1 0-26 0 0,0-1-1 0 0,0 1 1 0 0,0 0-1 0 0,0 0 1 0 0,-1 0-1 0 0,1 0 1 0 0,0-1-1 0 0,0 1 1 0 0,-1 0-1 0 0,1 0 1 0 0,-1 0-1 0 0,1 0 1 0 0,-1 1-1 0 0,1-1 1 0 0,-1 0-1 0 0,0 0 1 0 0,1 0-1 0 0,-1 0 1 0 0,0 0-1 0 0,0 1 1 0 0,0-1-1 0 0,0 0 1 0 0,0 0-1 0 0,0 0 1 0 0,0 0-1 0 0,0 1 1 0 0,0-1-1 0 0,-1 0 1 0 0,1 0-1 0 0,0 0 1 0 0,-1 0-1 0 0,1 0 1 0 0,-2 2-1 0 0,0 9 60 0 0,2-6 1 0 0,1 0 0 0 0,-1 0 0 0 0,1-1 1 0 0,1 1-1 0 0,-1 0 0 0 0,1-1 0 0 0,0 1 0 0 0,0-1 0 0 0,1 0 1 0 0,-1 0-1 0 0,1 0 0 0 0,0 0 0 0 0,1 0 0 0 0,-1 0 1 0 0,1-1-1 0 0,0 0 0 0 0,0 0 0 0 0,0 0 0 0 0,0 0 1 0 0,1 0-1 0 0,5 2 0 0 0,-8-5-41 0 0,0 0 1 0 0,-1 0 0 0 0,1 0-1 0 0,0 0 1 0 0,0 0-1 0 0,0-1 1 0 0,-1 1-1 0 0,1-1 1 0 0,0 0-1 0 0,0 1 1 0 0,0-1-1 0 0,0 0 1 0 0,0 0-1 0 0,0 0 1 0 0,0 0 0 0 0,0-1-1 0 0,0 1 1 0 0,0 0-1 0 0,-1-1 1 0 0,1 1-1 0 0,0-1 1 0 0,0 0-1 0 0,0 0 1 0 0,-1 1-1 0 0,1-1 1 0 0,0 0-1 0 0,-1-1 1 0 0,1 1 0 0 0,-1 0-1 0 0,1 0 1 0 0,-1-1-1 0 0,1 1 1 0 0,-1 0-1 0 0,0-1 1 0 0,2-2-1 0 0,0-1-15 0 0,-1 0 0 0 0,1 1-1 0 0,-1-1 1 0 0,0-1-1 0 0,0 1 1 0 0,-1 0 0 0 0,1 0-1 0 0,-1-1 1 0 0,0 1-1 0 0,0-12 1 0 0,-1 12-139 0 0,0 0-1 0 0,0 0 1 0 0,-1 0-1 0 0,1-1 1 0 0,-1 1-1 0 0,-1 0 1 0 0,1 0 0 0 0,-1 0-1 0 0,1 0 1 0 0,-1 1-1 0 0,-1-1 1 0 0,1 0 0 0 0,-4-4-1 0 0,3 6-264 0 0,0-1 0 0 0,0 2 1 0 0,0-1-1 0 0,0 0 0 0 0,-1 0 0 0 0,1 1 0 0 0,-1 0 0 0 0,0 0 1 0 0,0 0-1 0 0,1 0 0 0 0,-1 1 0 0 0,-1-1 0 0 0,1 1 0 0 0,0 0 1 0 0,0 0-1 0 0,-7 0 0 0 0,-9-1-2863 0 0</inkml:trace>
</inkml:ink>
</file>

<file path=ppt/ink/ink2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29.04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23 1480 0 0,'0'0'1354'0'0,"6"-13"1698"0"0,-4 11-2929 0 0,1 1 0 0 0,0 0 0 0 0,0-1 1 0 0,0 1-1 0 0,0 1 0 0 0,0-1 0 0 0,0 0 0 0 0,0 1 0 0 0,1-1 1 0 0,-1 1-1 0 0,0 0 0 0 0,0 0 0 0 0,0 1 0 0 0,0-1 0 0 0,0 0 1 0 0,0 1-1 0 0,1 0 0 0 0,-1 0 0 0 0,0 0 0 0 0,-1 0 0 0 0,1 0 1 0 0,0 1-1 0 0,0-1 0 0 0,4 4 0 0 0,2 1-52 0 0,0 0-1 0 0,-1 0 1 0 0,0 1-1 0 0,0 0 1 0 0,0 1-1 0 0,9 11 1 0 0,-11-10-193 0 0,-1-1 0 0 0,0 1 0 0 0,0 0 1 0 0,-1 1-1 0 0,0-1 0 0 0,5 17 0 0 0,3 32-3728 0 0,-10-38 1498 0 0</inkml:trace>
</inkml:ink>
</file>

<file path=ppt/ink/ink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2:29.01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58 1772 0 0,'4'2'373'0'0,"-1"-1"-1"0"0,1 1 0 0 0,-1 1 1 0 0,1-1-1 0 0,-1 0 1 0 0,0 1-1 0 0,0 0 1 0 0,0 0-1 0 0,-1 0 1 0 0,1 0-1 0 0,0 0 1 0 0,-1 0-1 0 0,0 1 0 0 0,0-1 1 0 0,0 1-1 0 0,0-1 1 0 0,2 8-1 0 0,1 7 445 0 0,1 1-1 0 0,3 28 1 0 0,-5-25-175 0 0,5 28 470 0 0,-1 0 0 0 0,-2 1 0 0 0,-3 0 0 0 0,-5 74 0 0 0,2-124-1066 0 0,1 0 0 0 0,-1 0 0 0 0,0-1 0 0 0,0 1 0 0 0,0 0 0 0 0,-1 0 1 0 0,1 0-1 0 0,0 0 0 0 0,0-1 0 0 0,0 1 0 0 0,0 0 0 0 0,-1 0 1 0 0,1 0-1 0 0,0-1 0 0 0,-1 1 0 0 0,1 0 0 0 0,-1-1 0 0 0,1 1 1 0 0,-1 0-1 0 0,1-1 0 0 0,-1 1 0 0 0,1 0 0 0 0,-1-1 0 0 0,0 1 0 0 0,1-1 1 0 0,-1 1-1 0 0,0-1 0 0 0,0 0 0 0 0,1 1 0 0 0,-1-1 0 0 0,0 0 1 0 0,0 1-1 0 0,1-1 0 0 0,-1 0 0 0 0,0 0 0 0 0,0 0 0 0 0,0 1 0 0 0,-1-1 1 0 0,1-1-29 0 0,0 1 0 0 0,-1-1 1 0 0,1 1-1 0 0,0-1 0 0 0,-1 0 1 0 0,1 0-1 0 0,0 1 0 0 0,0-1 1 0 0,-1 0-1 0 0,1 0 0 0 0,0 0 1 0 0,0 0-1 0 0,0-1 0 0 0,0 1 1 0 0,0 0-1 0 0,1 0 0 0 0,-1 0 1 0 0,0-1-1 0 0,1 1 0 0 0,-1 0 1 0 0,0-4-1 0 0,-3-8-97 0 0,0-1 0 0 0,2 0 0 0 0,-1 0-1 0 0,2-1 1 0 0,0 1 0 0 0,1 0 0 0 0,2-24 0 0 0,3-1-142 0 0,15-57 0 0 0,-13 70 166 0 0,1 1 0 0 0,1 1-1 0 0,1 0 1 0 0,13-24 0 0 0,-16 36 24 0 0,0 0-1 0 0,1 1 1 0 0,1-1 0 0 0,-1 2 0 0 0,1-1 0 0 0,1 1 0 0 0,0 1 0 0 0,1 0 0 0 0,15-11 0 0 0,-24 18 24 0 0,0 1 1 0 0,1-1-1 0 0,0 1 1 0 0,-1 0-1 0 0,1 0 1 0 0,0 0-1 0 0,-1 0 1 0 0,1 0-1 0 0,0 0 1 0 0,0 1-1 0 0,0-1 1 0 0,0 1-1 0 0,0 0 1 0 0,0 0-1 0 0,0 0 1 0 0,-1 0-1 0 0,1 1 1 0 0,0-1-1 0 0,0 1 1 0 0,0 0-1 0 0,0 0 1 0 0,-1 0-1 0 0,1 0 1 0 0,5 3-1 0 0,-8-4 6 0 0,1 1 0 0 0,0 0 0 0 0,0-1 0 0 0,-1 1 0 0 0,1 0 0 0 0,-1 0 0 0 0,1 0 0 0 0,-1 0-1 0 0,1 0 1 0 0,-1 0 0 0 0,1 0 0 0 0,-1 0 0 0 0,0-1 0 0 0,1 2 0 0 0,-1-1 0 0 0,0 0 0 0 0,0 0 0 0 0,0 0 0 0 0,0 0 0 0 0,0 0-1 0 0,0 0 1 0 0,0 0 0 0 0,0 0 0 0 0,0 0 0 0 0,-1 1 0 0 0,-9 24-29 0 0,5-16-175 0 0,-2-2 1 0 0,1 1-1 0 0,-1-1 1 0 0,0 0 0 0 0,-1 0-1 0 0,0-1 1 0 0,-9 7 0 0 0,-3 1-2758 0 0,-40 22 0 0 0,46-32-1224 0 0</inkml:trace>
</inkml:ink>
</file>

<file path=ppt/ink/ink2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30.93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3 19 848 0 0,'-7'-14'3464'0'0,"7"13"-3383"0"0,-1 1 0 0 0,1 0 0 0 0,0-1 0 0 0,-1 1 1 0 0,1 0-1 0 0,-1-1 0 0 0,1 1 0 0 0,0 0 0 0 0,-1 0 0 0 0,1-1 1 0 0,-1 1-1 0 0,1 0 0 0 0,-1 0 0 0 0,1 0 0 0 0,-1-1 1 0 0,1 1-1 0 0,-1 0 0 0 0,1 0 0 0 0,-1 0 0 0 0,1 0 0 0 0,-1 0 1 0 0,1 0-1 0 0,-1 0 0 0 0,1 0 0 0 0,-1 0 0 0 0,1 0 0 0 0,-1 1 1 0 0,1-1-1 0 0,-1 0 0 0 0,1 0 0 0 0,-1 1 0 0 0,0 0 22 0 0,0 0 0 0 0,0 0-1 0 0,0 0 1 0 0,0 0-1 0 0,0 0 1 0 0,1 0 0 0 0,-1 1-1 0 0,0-1 1 0 0,1 0-1 0 0,-1 0 1 0 0,0 3 0 0 0,-7 42 916 0 0,8-42-825 0 0,-2 18 149 0 0,1 1 0 0 0,2-1 0 0 0,0 1 1 0 0,1-1-1 0 0,2 0 0 0 0,8 33 0 0 0,-2-22-128 0 0,1 0-1 0 0,2-1 1 0 0,26 46-1 0 0,-39-77-204 0 0,2 0-1 0 0,-1 1 1 0 0,0-1-1 0 0,0 0 1 0 0,0 0-1 0 0,0-1 1 0 0,1 1-1 0 0,-1 0 0 0 0,0 0 1 0 0,1-1-1 0 0,-1 1 1 0 0,1 0-1 0 0,-1-1 1 0 0,0 0-1 0 0,1 1 0 0 0,-1-1 1 0 0,1 0-1 0 0,0 0 1 0 0,-1 0-1 0 0,1 0 1 0 0,-1 0-1 0 0,1 0 1 0 0,-1 0-1 0 0,1 0 0 0 0,-1-1 1 0 0,1 1-1 0 0,-1 0 1 0 0,1-1-1 0 0,-1 1 1 0 0,0-1-1 0 0,1 0 0 0 0,1-1 1 0 0,3-2-6 0 0,-1 1 0 0 0,0-1 0 0 0,0-1 0 0 0,0 1 0 0 0,0-1 0 0 0,-1 0 0 0 0,0 0 0 0 0,0 0 0 0 0,4-8 0 0 0,28-54 2 0 0,-32 57-8 0 0,43-82-212 0 0,-46 92 210 0 0,-1 0 0 0 0,0-1 0 0 0,0 1 1 0 0,0 0-1 0 0,0 0 0 0 0,0-1 0 0 0,0 1 1 0 0,0 0-1 0 0,0 0 0 0 0,0 0 0 0 0,0-1 0 0 0,1 1 1 0 0,-1 0-1 0 0,0 0 0 0 0,0 0 0 0 0,0-1 1 0 0,0 1-1 0 0,1 0 0 0 0,-1 0 0 0 0,0 0 0 0 0,0 0 1 0 0,0 0-1 0 0,1 0 0 0 0,-1-1 0 0 0,0 1 0 0 0,0 0 1 0 0,1 0-1 0 0,-1 0 0 0 0,0 0 0 0 0,0 0 1 0 0,1 0-1 0 0,-1 0 0 0 0,0 0 0 0 0,0 0 0 0 0,1 0 1 0 0,-1 0-1 0 0,0 0 0 0 0,8 9-53 0 0,6 24 65 0 0,-10-21-15 0 0,2-1 91 0 0,0-1 0 0 0,1 1 0 0 0,0-1 0 0 0,0 0 0 0 0,1-1 0 0 0,1 0 0 0 0,-1 0 0 0 0,1-1-1 0 0,1 0 1 0 0,17 11 0 0 0,-24-17-63 0 0,-1-1-1 0 0,1 0 1 0 0,-1 0-1 0 0,1 1 1 0 0,0-1-1 0 0,-1-1 1 0 0,1 1-1 0 0,0 0 1 0 0,0-1-1 0 0,0 1 1 0 0,-1-1-1 0 0,1 0 1 0 0,0 0-1 0 0,0 0 1 0 0,0 0-1 0 0,0-1 1 0 0,4 0-1 0 0,-3-1-7 0 0,-1 1 0 0 0,1-1 0 0 0,0 0 1 0 0,0 0-1 0 0,-1 0 0 0 0,1-1 0 0 0,-1 1 0 0 0,0-1 0 0 0,0 1 0 0 0,5-7 0 0 0,-1 0-7 0 0,0 0 0 0 0,-1 0 0 0 0,0-1 0 0 0,-1 1 0 0 0,0-1 0 0 0,-1-1 0 0 0,6-18 1 0 0,-4 3-46 0 0,-1 0 0 0 0,-1 0 0 0 0,-2 0 0 0 0,0-29 1 0 0,-2 54 32 0 0,0 0 1 0 0,0 0 0 0 0,-1 1 0 0 0,1-1-1 0 0,0 0 1 0 0,-1 0 0 0 0,1 0 0 0 0,0 1 0 0 0,-1-1-1 0 0,1 0 1 0 0,-1 0 0 0 0,1 1 0 0 0,-1-1-1 0 0,0 1 1 0 0,1-1 0 0 0,-1 0 0 0 0,0 1 0 0 0,1-1-1 0 0,-1 1 1 0 0,0-1 0 0 0,1 1 0 0 0,-1 0-1 0 0,-1-1 1 0 0,1 1 4 0 0,1-1 0 0 0,0 1 0 0 0,-1 0 0 0 0,1 0 0 0 0,0 0 0 0 0,-1 0 0 0 0,1 0 0 0 0,-1-1 0 0 0,1 1 0 0 0,-1 0 0 0 0,1 0 0 0 0,0 0 0 0 0,-1 0 0 0 0,1 0 0 0 0,-1 0 0 0 0,1 0 0 0 0,-1 1 0 0 0,1-1 0 0 0,0 0 0 0 0,-1 0 0 0 0,1 0-1 0 0,-1 0 1 0 0,1 0 0 0 0,0 1 0 0 0,-1-1 0 0 0,1 0 0 0 0,0 0 0 0 0,-1 1 0 0 0,1-1 0 0 0,0 0 0 0 0,-1 1 0 0 0,1-1 0 0 0,0 0 0 0 0,0 1 0 0 0,-1-1 0 0 0,1 0 0 0 0,0 1 0 0 0,0-1 0 0 0,0 0 0 0 0,-1 1 0 0 0,1-1 0 0 0,0 1 0 0 0,0-1 0 0 0,0 1 0 0 0,0-1 0 0 0,0 1 0 0 0,-1 7-2 0 0,1 0 0 0 0,0 0 0 0 0,1 0 0 0 0,-1 0 0 0 0,2-1 0 0 0,-1 1 0 0 0,1 0 1 0 0,4 11-1 0 0,5 8 21 0 0,14 26-1 0 0,2 5 40 0 0,-15-34 0 0 0,-8-18 5 0 0,-1 1 0 0 0,1-1 0 0 0,3 13 0 0 0,12 15 784 0 0,-18-32-845 0 0,4 8-95 0 0,86 59 64 0 0,-80-52 16 0 0,-7-11 14 0 0,-4-5 1 0 0,0 0 0 0 0,1-1 1 0 0,-1 1-1 0 0,0 0 0 0 0,0 0 1 0 0,1-1-1 0 0,-1 1 0 0 0,0 0 1 0 0,0 0-1 0 0,0 0 1 0 0,0-1-1 0 0,0 1 0 0 0,0 0 1 0 0,0 0-1 0 0,0 0 0 0 0,-1-1 1 0 0,1 1-1 0 0,0 0 0 0 0,0 0 1 0 0,-1-1-1 0 0,1 1 0 0 0,0 0 1 0 0,-1-1-1 0 0,1 1 0 0 0,-1 0 1 0 0,1-1-1 0 0,-1 1 1 0 0,1 0-1 0 0,-1-1 0 0 0,1 1 1 0 0,-1-1-1 0 0,0 1 0 0 0,1-1 1 0 0,-1 0-1 0 0,0 1 0 0 0,1-1 1 0 0,-2 1-1 0 0,-25 13 59 0 0,26-14-53 0 0,-6 2 4 0 0,-25 5 49 0 0,23-7-41 0 0,1-1-1 0 0,0 1-2 0 0,0 0 0 0 0,0-1 0 0 0,0-1-1 0 0,-1 1 1 0 0,-10-5 0 0 0,16 5-23 0 0,0-1-1 0 0,0 0 1 0 0,1 0 0 0 0,-1 0-1 0 0,0 0 1 0 0,1 0 0 0 0,0 0 0 0 0,-4-5-1 0 0,6 7 8 0 0,-1-1-4 0 0,1 1 0 0 0,0-1 0 0 0,0 0 0 0 0,0 0 0 0 0,-1 0 0 0 0,1 0 1 0 0,0 0-1 0 0,0 0 0 0 0,0 0 0 0 0,0 0 0 0 0,0 0 0 0 0,1 0 0 0 0,-1 0 0 0 0,0 1 0 0 0,0-1 0 0 0,1 0 0 0 0,-1 0 0 0 0,0 0 0 0 0,1 0 1 0 0,-1 0-1 0 0,1 1 0 0 0,-1-1 0 0 0,1 0 0 0 0,-1 0 0 0 0,1 1 0 0 0,1-2 0 0 0,16-18-49 0 0,0 8-311 0 0,0 1 0 0 0,1 0-1 0 0,38-15 1 0 0,-29 14-508 0 0,-8 1 783 0 0,-1 0 0 0 0,-1-2 0 0 0,0 0 0 0 0,-1-1 0 0 0,0-1 1 0 0,17-19-1 0 0,-19 18 67 0 0,-1 2 20 0 0,-2-2 1 0 0,0 1-1 0 0,-1-1 0 0 0,11-23 1 0 0,8-10 251 0 0,-29 48-249 0 0,-1 0 0 0 0,1 0 0 0 0,-1 0 0 0 0,1 0 0 0 0,-1 1-1 0 0,0-1 1 0 0,1 0 0 0 0,-1 0 0 0 0,0 0 0 0 0,0 0 0 0 0,1 0 0 0 0,-1 0 0 0 0,0 0 0 0 0,0 0 0 0 0,0 0 0 0 0,0 0 0 0 0,0 0 0 0 0,-1-1 0 0 0,0 1-3 0 0,1 0 0 0 0,-1 0 0 0 0,0 1 0 0 0,0-1 0 0 0,0 0 0 0 0,0 1 0 0 0,0-1 0 0 0,0 1 0 0 0,0-1 0 0 0,0 1-1 0 0,0 0 1 0 0,0-1 0 0 0,0 1 0 0 0,0 0 0 0 0,0 0 0 0 0,-1-1 0 0 0,1 1 0 0 0,0 0 0 0 0,0 0 0 0 0,0 0 0 0 0,0 0 0 0 0,0 1 0 0 0,0-1 0 0 0,-2 0 0 0 0,-19 10-3 0 0,17-7 23 0 0,0 1-1 0 0,1 0 0 0 0,-1 0 0 0 0,1 0 1 0 0,0 0-1 0 0,0 1 0 0 0,0-1 0 0 0,1 1 1 0 0,-1 0-1 0 0,1 1 0 0 0,0-1 0 0 0,1 0 1 0 0,-1 1-1 0 0,1-1 0 0 0,0 1 0 0 0,1 0 1 0 0,-1 0-1 0 0,1 0 0 0 0,0-1 0 0 0,1 1 1 0 0,-1 0-1 0 0,1 0 0 0 0,1 0 0 0 0,-1 0 1 0 0,1 0-1 0 0,1 8 0 0 0,1-3-128 0 0,-1-1-1 0 0,1-1 1 0 0,0 1 0 0 0,1 0 0 0 0,1-1-1 0 0,-1 0 1 0 0,1 0 0 0 0,8 10 0 0 0,-8-11-489 0 0,1-2 1 0 0,0 1 0 0 0,0-1-1 0 0,0 0 1 0 0,12 9 0 0 0,-4-8-1860 0 0,0-3-627 0 0</inkml:trace>
</inkml:ink>
</file>

<file path=ppt/ink/ink2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31.29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81 1460 0 0,'2'-2'400'0'0,"1"0"-1"0"0,-1 0 1 0 0,1 0-1 0 0,-1 0 1 0 0,1 1-1 0 0,0-1 0 0 0,0 1 1 0 0,0 0-1 0 0,-1 0 1 0 0,1 0-1 0 0,0 0 1 0 0,0 1-1 0 0,1-1 1 0 0,-1 1-1 0 0,4-1 1 0 0,-4 2-324 0 0,0-1 0 0 0,0 0 0 0 0,0 1 0 0 0,0 0 1 0 0,-1-1-1 0 0,1 1 0 0 0,0 0 0 0 0,0 1 0 0 0,0-1 1 0 0,-1 0-1 0 0,1 1 0 0 0,-1 0 0 0 0,1-1 0 0 0,-1 1 0 0 0,0 0 1 0 0,1 0-1 0 0,-1 0 0 0 0,0 1 0 0 0,-1-1 0 0 0,1 0 1 0 0,0 1-1 0 0,0 0 0 0 0,-1-1 0 0 0,2 4 0 0 0,0 2 141 0 0,1 0 0 0 0,-1 1-1 0 0,-1-1 1 0 0,1 1 0 0 0,-1-1-1 0 0,-1 1 1 0 0,1 15 0 0 0,-2-22 216 0 0,-3 1 23 0 0,2-3-439 0 0,1 0 0 0 0,0 1 0 0 0,0-1 0 0 0,0 0 0 0 0,0 0 0 0 0,0 1 0 0 0,-1-1 0 0 0,1 0 0 0 0,0 0 0 0 0,0 0 0 0 0,0 1 0 0 0,-1-1 0 0 0,1 0 0 0 0,0 0 0 0 0,0 0 0 0 0,0 0 0 0 0,-1 1 0 0 0,1-1 0 0 0,0 0 0 0 0,-1 0 0 0 0,1 0 0 0 0,0 0 0 0 0,0 0 0 0 0,-1 0 0 0 0,1 0 0 0 0,0 0 0 0 0,0 0 0 0 0,-1 0 0 0 0,1 0 0 0 0,0 0 0 0 0,-1 0 0 0 0,1 0 0 0 0,-1 0 0 0 0,-1-3 18 0 0,0-1 0 0 0,0 1-1 0 0,0-1 1 0 0,1 1 0 0 0,-1-1 0 0 0,1 0-1 0 0,0 0 1 0 0,0 0 0 0 0,0 0 0 0 0,1 0-1 0 0,-1 0 1 0 0,1 0 0 0 0,0 0-1 0 0,0 1 1 0 0,0-1 0 0 0,0 0 0 0 0,1 0-1 0 0,0 0 1 0 0,0 0 0 0 0,2-7 0 0 0,0 2-60 0 0,0-1 0 0 0,1 1 1 0 0,0 0-1 0 0,0 1 1 0 0,1-1-1 0 0,0 1 0 0 0,11-14 1 0 0,-14 20-197 0 0,0-1 1 0 0,0 1-1 0 0,1 0 0 0 0,-1 0 1 0 0,1 1-1 0 0,-1-1 1 0 0,1 0-1 0 0,-1 1 0 0 0,1 0 1 0 0,0-1-1 0 0,0 1 0 0 0,0 0 1 0 0,0 0-1 0 0,0 1 1 0 0,0-1-1 0 0,0 1 0 0 0,0-1 1 0 0,0 1-1 0 0,0 0 0 0 0,3 0 1 0 0,36 10-4086 0 0,-26-4 2159 0 0</inkml:trace>
</inkml:ink>
</file>

<file path=ppt/ink/ink2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31.65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92 22 2048 0 0,'28'-21'8673'0'0,"-29"23"-8052"0"0,-6 10-234 0 0,-1-1 0 0 0,0-1 0 0 0,0 1 0 0 0,-16 14 0 0 0,-14 17 55 0 0,-69 85-162 0 0,86-106-2228 0 0,-39 31 0 0 0,34-37-2275 0 0,14-10 747 0 0</inkml:trace>
</inkml:ink>
</file>

<file path=ppt/ink/ink2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32.01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9 976 0 0,'8'-8'5956'0'0,"0"10"-5512"0"0,-1 0 1 0 0,0 0-1 0 0,1 1 0 0 0,-1 0 1 0 0,0 0-1 0 0,-1 0 0 0 0,8 6 1 0 0,51 38 1439 0 0,-14-9-848 0 0,188 142 1346 0 0,-199-144-2125 0 0,35 27-2350 0 0</inkml:trace>
</inkml:ink>
</file>

<file path=ppt/ink/ink2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32.64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56 17 480 0 0,'3'-11'3454'0'0,"-3"11"-3406"0"0,0 0 1 0 0,0-1-1 0 0,0 1 1 0 0,-1 0-1 0 0,1 0 0 0 0,0-1 1 0 0,0 1-1 0 0,0 0 0 0 0,0 0 1 0 0,0-1-1 0 0,0 1 1 0 0,0 0-1 0 0,-1 0 0 0 0,1 0 1 0 0,0-1-1 0 0,0 1 1 0 0,0 0-1 0 0,0 0 0 0 0,-1 0 1 0 0,1 0-1 0 0,0-1 1 0 0,0 1-1 0 0,0 0 0 0 0,-1 0 1 0 0,1 0-1 0 0,0 0 1 0 0,0 0-1 0 0,-1 0 0 0 0,1 0 1 0 0,0 0-1 0 0,0 0 1 0 0,-1-1-1 0 0,1 1 0 0 0,0 0 1 0 0,0 0-1 0 0,-1 0 1 0 0,1 0-1 0 0,0 1 0 0 0,-1-1 1 0 0,1 0-1 0 0,0 0 1 0 0,0 0-1 0 0,-1 0 0 0 0,1 0 1 0 0,0 0-1 0 0,0 0 1 0 0,0 0-1 0 0,-1 0 0 0 0,1 1 1 0 0,0-1-1 0 0,0 0 0 0 0,0 0 1 0 0,-1 1-1 0 0,-28 13 1010 0 0,0 2 0 0 0,1 2 0 0 0,-35 27 0 0 0,-72 76 285 0 0,44-16-723 0 0,63-70-1644 0 0,-1-1 0 0 0,-48 42 0 0 0,74-74 453 0 0,0 0 0 0 0,0 1 0 0 0,0-2 1 0 0,0 1-1 0 0,0 0 0 0 0,-5 2 0 0 0,-5 0-2699 0 0</inkml:trace>
</inkml:ink>
</file>

<file path=ppt/ink/ink2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33.00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9 848 0 0,'2'-2'281'0'0,"-1"1"0"0"0,1-1 0 0 0,0 1 0 0 0,0-1 0 0 0,0 1 0 0 0,0 0 0 0 0,0-1 0 0 0,0 1 0 0 0,0 0 0 0 0,0 0 0 0 0,1 1 0 0 0,-1-1 0 0 0,0 0 0 0 0,0 1 0 0 0,1-1 0 0 0,-1 1 0 0 0,0 0-1 0 0,1 0 1 0 0,-1 0 0 0 0,0 0 0 0 0,1 0 0 0 0,-1 1 0 0 0,0-1 0 0 0,1 1 0 0 0,-1-1 0 0 0,0 1 0 0 0,4 1 0 0 0,5 3 124 0 0,0 1 0 0 0,0 0 0 0 0,-1 0 0 0 0,12 10 0 0 0,-6-5 344 0 0,50 37 1015 0 0,115 108 0 0 0,-33-1-3794 0 0,-106-111-5106 0 0,-34-38 3689 0 0</inkml:trace>
  <inkml:trace contextRef="#ctx0" brushRef="#br0" timeOffset="1">862 435 80 0 0,'22'-2'3888'0'0,"-6"-2"-1279"0"0,2-1-957 0 0,-2 0-572 0 0,8 1-424 0 0,4 2-500 0 0,4 2-620 0 0,-14 0-316 0 0,2 2-220 0 0,0-2-1477 0 0,0 2-519 0 0</inkml:trace>
</inkml:ink>
</file>

<file path=ppt/ink/ink2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36.32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9 1020 0 0,'0'-13'3354'0'0,"0"11"-3097"0"0,0 0 0 0 0,0 0 0 0 0,1 0 0 0 0,-1 0 0 0 0,0 1 0 0 0,1-1 0 0 0,-1 0 0 0 0,1 0 0 0 0,0 0 0 0 0,1-2-1 0 0,-2 4-230 0 0,0 0 0 0 0,0-1-1 0 0,0 1 1 0 0,0 0-1 0 0,0 0 1 0 0,0 0-1 0 0,1 0 1 0 0,-1 0-1 0 0,0 0 1 0 0,0-1-1 0 0,0 1 1 0 0,0 0-1 0 0,1 0 1 0 0,-1 0 0 0 0,0 0-1 0 0,0 0 1 0 0,0 0-1 0 0,0 0 1 0 0,1 0-1 0 0,-1 0 1 0 0,0 0-1 0 0,0 0 1 0 0,0 0-1 0 0,1 0 1 0 0,-1 0-1 0 0,0 0 1 0 0,0 0 0 0 0,0 0-1 0 0,1 0 1 0 0,-1 0-1 0 0,0 0 1 0 0,0 0-1 0 0,0 0 1 0 0,0 0-1 0 0,1 0 1 0 0,-1 0-1 0 0,8 13 379 0 0,3 21 324 0 0,-2 0 0 0 0,-1 0 0 0 0,-2 1 0 0 0,2 42 0 0 0,-5-44-303 0 0,1 5-94 0 0,2 23 1509 0 0,-3-50 1554 0 0,-3-30-2398 0 0,5-4-1005 0 0,0-1 1 0 0,2 2-1 0 0,0-1 0 0 0,2 1 0 0 0,0 0 1 0 0,2 1-1 0 0,0 0 0 0 0,1 0 0 0 0,2 1 0 0 0,0 1 1 0 0,0 1-1 0 0,2 0 0 0 0,20-19 0 0 0,-32 34 0 0 0,-1 0 0 0 0,1 0-1 0 0,0 1 1 0 0,0-1-1 0 0,0 1 1 0 0,0-1 0 0 0,0 1-1 0 0,1 1 1 0 0,-1-1 0 0 0,0 1-1 0 0,1-1 1 0 0,0 1-1 0 0,-1 1 1 0 0,1-1 0 0 0,0 0-1 0 0,-1 1 1 0 0,1 0 0 0 0,0 0-1 0 0,-1 1 1 0 0,1-1-1 0 0,0 1 1 0 0,-1 0 0 0 0,1 0-1 0 0,-1 1 1 0 0,1-1-1 0 0,-1 1 1 0 0,0 0 0 0 0,1 0-1 0 0,-1 1 1 0 0,0-1 0 0 0,0 1-1 0 0,-1 0 1 0 0,1 0-1 0 0,-1 0 1 0 0,1 0 0 0 0,-1 1-1 0 0,0-1 1 0 0,0 1-1 0 0,0 0 1 0 0,-1 0 0 0 0,4 7-1 0 0,4 6-134 0 0,-1 2 0 0 0,0-1 0 0 0,-2 1 0 0 0,0 1 0 0 0,-1-1 0 0 0,-1 1 0 0 0,3 23 0 0 0,5 30-5587 0 0,-12-71 5582 0 0,-1-1-1 0 0,0 0 1 0 0,1-1 0 0 0,-1 1-1 0 0,1 0 1 0 0,-1 0 0 0 0,1 0 0 0 0,-1 0-1 0 0,1 0 1 0 0,0 0 0 0 0,-1 0-1 0 0,1-1 1 0 0,0 1 0 0 0,0 0-1 0 0,-1-1 1 0 0,1 1 0 0 0,0 0-1 0 0,0-1 1 0 0,0 1 0 0 0,0-1-1 0 0,0 1 1 0 0,0-1 0 0 0,0 0-1 0 0,0 1 1 0 0,0-1 0 0 0,0 0-1 0 0,0 0 1 0 0,0 0 0 0 0,0 0 0 0 0,0 0-1 0 0,0 0 1 0 0,0 0 0 0 0,0 0-1 0 0,0 0 1 0 0,0 0 0 0 0,0 0-1 0 0,0-1 1 0 0,0 1 0 0 0,0-1-1 0 0,0 1 1 0 0,0 0 0 0 0,0-1-1 0 0,1 0 1 0 0,6-3 22 0 0,0 0 0 0 0,-1-1 0 0 0,14-10 0 0 0,-17 12 664 0 0,21-14 207 0 0,1 1 0 0 0,0 2 0 0 0,2 0-1 0 0,-1 2 1 0 0,32-10 0 0 0,-37 14-529 0 0,0-1 0 0 0,-1-1 1 0 0,21-13-1 0 0,-35 19-200 0 0,0 0 0 0 0,-1-1 0 0 0,0 0 0 0 0,0 0 1 0 0,0-1-1 0 0,0 1 0 0 0,-1-1 0 0 0,0 0 0 0 0,-1-1 0 0 0,1 1 0 0 0,-1-1 0 0 0,5-11 0 0 0,-8 16-13 0 0,-1 1-1 0 0,0 0 0 0 0,0 0 1 0 0,0 0-1 0 0,0 0 1 0 0,0 0-1 0 0,0-1 0 0 0,0 1 1 0 0,0 0-1 0 0,0 0 1 0 0,-1 0-1 0 0,1 0 0 0 0,0 0 1 0 0,-1 0-1 0 0,1 0 0 0 0,-1 0 1 0 0,1 0-1 0 0,-1 0 1 0 0,0 0-1 0 0,1 0 0 0 0,-1 0 1 0 0,0 0-1 0 0,0 0 0 0 0,1 0 1 0 0,-1 1-1 0 0,0-1 1 0 0,0 0-1 0 0,-1 0 0 0 0,-1-1 21 0 0,1 1 0 0 0,0 0-1 0 0,0-1 1 0 0,0 1 0 0 0,-1 0 0 0 0,1 1-1 0 0,0-1 1 0 0,-1 0 0 0 0,1 1-1 0 0,-1-1 1 0 0,1 1 0 0 0,-1 0-1 0 0,1 0 1 0 0,-3 0 0 0 0,-7 2 103 0 0,1 0 1 0 0,0 1-1 0 0,0 0 1 0 0,0 1-1 0 0,0 0 1 0 0,1 1-1 0 0,-1 0 1 0 0,1 0-1 0 0,0 1 1 0 0,1 1-1 0 0,-18 15 1 0 0,20-16-8 0 0,1 0 0 0 0,0 0 0 0 0,0 1 0 0 0,1 0 0 0 0,0 0 0 0 0,0 0-1 0 0,1 1 1 0 0,-1-1 0 0 0,2 1 0 0 0,-1 0 0 0 0,1 0 0 0 0,0 1 0 0 0,1-1 0 0 0,0 1 0 0 0,0-1 0 0 0,1 1 0 0 0,0 9 0 0 0,1-13-80 0 0,0 0 1 0 0,0 0 0 0 0,1 0-1 0 0,0 0 1 0 0,0 0-1 0 0,0-1 1 0 0,0 1 0 0 0,1 0-1 0 0,0-1 1 0 0,0 1 0 0 0,0-1-1 0 0,0 0 1 0 0,1 0 0 0 0,0 0-1 0 0,-1 0 1 0 0,2 0-1 0 0,-1 0 1 0 0,0-1 0 0 0,1 1-1 0 0,-1-1 1 0 0,1 0 0 0 0,0 0-1 0 0,0-1 1 0 0,1 1 0 0 0,-1-1-1 0 0,0 0 1 0 0,1 0-1 0 0,8 3 1 0 0,-3-2-45 0 0,0-1 0 0 0,0 0 0 0 0,0-1 0 0 0,0 0-1 0 0,0-1 1 0 0,0 0 0 0 0,1 0 0 0 0,-1-1 0 0 0,0 0 0 0 0,0-1 0 0 0,0 0 0 0 0,18-7-1 0 0,1-4-171 0 0,-2-1 0 0 0,1-2 0 0 0,-2-1 0 0 0,0-1 0 0 0,23-21-1 0 0,-34 26 100 0 0,-9 8 67 0 0,4-2-273 0 0,-10 7 281 0 0,1 0 0 0 0,-1 0 0 0 0,0 0 0 0 0,0 0 0 0 0,1 0 0 0 0,-1 0-1 0 0,0 0 1 0 0,1 0 0 0 0,-1 0 0 0 0,0 1 0 0 0,1-1 0 0 0,-1 0 0 0 0,0 0 0 0 0,0 0 0 0 0,1 0 0 0 0,-1 0 0 0 0,0 0 0 0 0,0 1-1 0 0,1-1 1 0 0,-1 0 0 0 0,0 0 0 0 0,0 0 0 0 0,1 1 0 0 0,-1-1 0 0 0,0 0 0 0 0,0 0 0 0 0,0 1 0 0 0,0-1 0 0 0,1 0 0 0 0,-1 1-1 0 0,0-1 1 0 0,0 0 0 0 0,1 2-14 0 0,2 6 30 0 0,10 18 95 0 0,-10-24-101 0 0,0 0 0 0 0,0 0 0 0 0,1-1 0 0 0,-1 1 1 0 0,1-1-1 0 0,-1 0 0 0 0,1 0 0 0 0,-1 0 0 0 0,1 0 0 0 0,0-1 0 0 0,0 1 0 0 0,-1-1 0 0 0,1 0 1 0 0,0 0-1 0 0,-1 0 0 0 0,1-1 0 0 0,7-1 0 0 0,5-3-126 0 0,-15 5 88 0 0,1-1 1 0 0,0 0 0 0 0,-1 1 0 0 0,1-1 0 0 0,0 1-1 0 0,0-1 1 0 0,-1 1 0 0 0,1 0 0 0 0,0-1 0 0 0,0 1-1 0 0,-1 0 1 0 0,1 0 0 0 0,0 1 0 0 0,0-1 0 0 0,0 0-1 0 0,-1 1 1 0 0,4 0 0 0 0,-5-1 29 0 0,0 0-1 0 0,0 0 1 0 0,1 0 0 0 0,-1 1 0 0 0,0-1 0 0 0,0 0-1 0 0,1 0 1 0 0,-1 0 0 0 0,0 0 0 0 0,0 1-1 0 0,0-1 1 0 0,0 0 0 0 0,1 0 0 0 0,-1 0 0 0 0,0 1-1 0 0,0-1 1 0 0,0 0 0 0 0,0 0 0 0 0,0 1-1 0 0,0-1 1 0 0,0 0 0 0 0,1 0 0 0 0,-1 1-1 0 0,0-1 1 0 0,0 0 0 0 0,0 1 0 0 0,0-1 0 0 0,0 0-1 0 0,0 0 1 0 0,0 1 0 0 0,-1-1 0 0 0,1 1 2 0 0,0-1 0 0 0,0 1 0 0 0,0-1 0 0 0,0 1 0 0 0,0-1 0 0 0,0 0 0 0 0,0 1 0 0 0,0-1 0 0 0,0 1 0 0 0,1-1 0 0 0,-1 1 0 0 0,0-1 0 0 0,0 0 0 0 0,0 1 0 0 0,0-1 1 0 0,1 0-1 0 0,-1 1 0 0 0,0-1 0 0 0,0 1 0 0 0,1-1 0 0 0,-1 0 0 0 0,0 1 0 0 0,1-1 0 0 0,6 6 55 0 0,0 0 0 0 0,0-1 0 0 0,1 1 0 0 0,0-2 0 0 0,0 1 0 0 0,0-1 0 0 0,0-1 0 0 0,1 1 1 0 0,-1-2-1 0 0,1 1 0 0 0,12 1 0 0 0,-5-1 117 0 0,0 0 1 0 0,0-2-1 0 0,1 0 1 0 0,-1-1-1 0 0,27-3 0 0 0,-37 3-134 0 0,0-2 0 0 0,0 1 0 0 0,0-1 0 0 0,0 1 0 0 0,0-2 0 0 0,-1 1 0 0 0,1-1 0 0 0,0 0 0 0 0,-1 0 0 0 0,0 0 0 0 0,0-1 0 0 0,0 1 0 0 0,0-1 0 0 0,-1-1 0 0 0,1 1 0 0 0,-1-1 0 0 0,0 1 0 0 0,0-1 0 0 0,-1-1 0 0 0,0 1 0 0 0,0 0-1 0 0,0-1 1 0 0,0 1 0 0 0,-1-1 0 0 0,0 0 0 0 0,0 0 0 0 0,0 0 0 0 0,-1 0 0 0 0,0 0 0 0 0,0 0 0 0 0,-1 0 0 0 0,1-1 0 0 0,-1 1 0 0 0,-1 0 0 0 0,1 0 0 0 0,-1 0 0 0 0,0 0 0 0 0,-1 0 0 0 0,1 0 0 0 0,-1 0 0 0 0,0 0 0 0 0,-6-11 0 0 0,6 14-128 0 0,-1-1 1 0 0,1 1 0 0 0,-1 0 0 0 0,0-1 0 0 0,0 1-1 0 0,0 1 1 0 0,0-1 0 0 0,0 0 0 0 0,-1 1 0 0 0,1 0-1 0 0,-1-1 1 0 0,1 1 0 0 0,-1 1 0 0 0,0-1 0 0 0,0 1 0 0 0,0-1-1 0 0,0 1 1 0 0,0 0 0 0 0,0 0 0 0 0,0 1 0 0 0,0-1-1 0 0,0 1 1 0 0,-7 0 0 0 0,0 1-1000 0 0,0 0 0 0 0,0 0 1 0 0,1 1-1 0 0,-1 1 0 0 0,0 0 0 0 0,1 0 0 0 0,-19 9 1 0 0,13-3-2653 0 0</inkml:trace>
</inkml:ink>
</file>

<file path=ppt/ink/ink2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37.51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4 94 288 0 0,'-3'-8'4681'0'0,"2"7"-4486"0"0,-1 1-54 0 0,0 0-1 0 0,1 0 0 0 0,-1 0 0 0 0,0 0 0 0 0,0 0 0 0 0,1 0 0 0 0,-1 1 1 0 0,0-1-1 0 0,1 1 0 0 0,-1-1 0 0 0,1 1 0 0 0,-1-1 0 0 0,0 1 0 0 0,1 0 1 0 0,-1 0-1 0 0,1 0 0 0 0,0 0 0 0 0,-1 0 0 0 0,1 0 0 0 0,-2 2 0 0 0,0 0 83 0 0,1 1-1 0 0,-1 0 0 0 0,0 0 0 0 0,1 0 0 0 0,0 0 0 0 0,0 0 1 0 0,-2 7-1 0 0,0 0 89 0 0,1 0 1 0 0,1 0 0 0 0,0 0 0 0 0,1 0-1 0 0,-1 22 1 0 0,3-14 53 0 0,1 0 0 0 0,1 0-1 0 0,0 0 1 0 0,10 30 0 0 0,-11-43-298 0 0,0 0 1 0 0,1 0-1 0 0,0 0 0 0 0,0 0 1 0 0,0 0-1 0 0,0-1 1 0 0,1 1-1 0 0,0-1 0 0 0,0 0 1 0 0,1 0-1 0 0,-1-1 1 0 0,1 1-1 0 0,0-1 0 0 0,0 0 1 0 0,1 0-1 0 0,9 5 1 0 0,-12-8-50 0 0,0-1 1 0 0,1 1-1 0 0,-1 0 1 0 0,0-1 0 0 0,0 0-1 0 0,1 0 1 0 0,-1 0-1 0 0,0 0 1 0 0,0-1 0 0 0,1 1-1 0 0,-1-1 1 0 0,6-1-1 0 0,-3 0-36 0 0,0 0 0 0 0,0-1 0 0 0,0 1 0 0 0,0-1 0 0 0,7-5-1 0 0,3-5-124 0 0,-1-1-1 0 0,-1 0 0 0 0,0-1 1 0 0,21-31-1 0 0,9-9-143 0 0,-38 45 163 0 0,-9 7-18 0 0,3 3 142 0 0,-1 0 1 0 0,1 0-1 0 0,0 0 1 0 0,-1 0-1 0 0,1 1 0 0 0,-1-1 1 0 0,1 0-1 0 0,0 0 1 0 0,-1 0-1 0 0,1 1 1 0 0,0-1-1 0 0,-1 0 0 0 0,1 1 1 0 0,0-1-1 0 0,-1 0 1 0 0,1 1-1 0 0,0-1 1 0 0,0 0-1 0 0,-1 1 0 0 0,1-1 1 0 0,0 0-1 0 0,0 1 1 0 0,0-1-1 0 0,-1 1 1 0 0,1-1-1 0 0,0 0 0 0 0,0 1 1 0 0,0-1-1 0 0,0 1 1 0 0,0-1-1 0 0,0 1 0 0 0,0 0 1 0 0,0 5 53 0 0,1-1-1 0 0,-1 1 1 0 0,1 0 0 0 0,0 0 0 0 0,1-1-1 0 0,-1 1 1 0 0,1-1 0 0 0,0 1-1 0 0,1-1 1 0 0,-1 0 0 0 0,1 0 0 0 0,0 0-1 0 0,1 0 1 0 0,-1 0 0 0 0,1-1 0 0 0,0 0-1 0 0,0 0 1 0 0,0 0 0 0 0,0 0-1 0 0,1 0 1 0 0,-1-1 0 0 0,1 0 0 0 0,0 0-1 0 0,0 0 1 0 0,1 0 0 0 0,-1-1 0 0 0,0 0-1 0 0,1 0 1 0 0,-1-1 0 0 0,1 1 0 0 0,0-1-1 0 0,-1 0 1 0 0,1-1 0 0 0,0 1-1 0 0,0-1 1 0 0,0 0 0 0 0,-1-1 0 0 0,1 1-1 0 0,0-1 1 0 0,8-3 0 0 0,-8 2-47 0 0,-1-1-1 0 0,0 0 1 0 0,1 0 0 0 0,-1 0 0 0 0,-1-1 0 0 0,1 1-1 0 0,0-1 1 0 0,-1 0 0 0 0,0-1 0 0 0,0 1-1 0 0,0-1 1 0 0,-1 0 0 0 0,1 0 0 0 0,-1 0 0 0 0,0 0-1 0 0,4-11 1 0 0,2-7-22 0 0,-1-1 1 0 0,9-40-1 0 0,-15 52 4 0 0,20-104-263 0 0,-22 114 218 0 0,13 12-72 0 0,-10-6 124 0 0,0 1 0 0 0,0 1-1 0 0,0-1 1 0 0,0 0-1 0 0,-1 1 1 0 0,0-1 0 0 0,3 12-1 0 0,-2-5-6 0 0,10 26 0 0 0,18 63 25 0 0,-28-88-2 0 0,0 0-1 0 0,-1 1 1 0 0,-1-1-1 0 0,0 0 1 0 0,-2 23-1 0 0,1-31 2 0 0,0-1-1 0 0,-1 1 0 0 0,0-1 0 0 0,0 1 1 0 0,0-1-1 0 0,-1 0 0 0 0,1 0 0 0 0,-1 1 0 0 0,0-1 1 0 0,0 0-1 0 0,-1 0 0 0 0,1-1 0 0 0,-1 1 1 0 0,1 0-1 0 0,-1-1 0 0 0,-1 0 0 0 0,1 0 0 0 0,0 0 1 0 0,-1 0-1 0 0,1 0 0 0 0,-1 0 0 0 0,0-1 1 0 0,0 0-1 0 0,0 0 0 0 0,0 0 0 0 0,0 0 0 0 0,-1-1 1 0 0,1 0-1 0 0,0 1 0 0 0,-1-2 0 0 0,1 1 1 0 0,-7 0-1 0 0,7-2 5 0 0,3 1-22 0 0,1 0 0 0 0,-1-1 1 0 0,1 1-1 0 0,0-1 0 0 0,-1 1 0 0 0,1 0 0 0 0,0-1 0 0 0,-1 1 1 0 0,1-1-1 0 0,0 1 0 0 0,0-1 0 0 0,-1 1 0 0 0,1-1 0 0 0,0 1 1 0 0,0-1-1 0 0,0 1 0 0 0,0-1 0 0 0,0 1 0 0 0,0-1 0 0 0,0 1 0 0 0,0-1 1 0 0,0 1-1 0 0,0-1 0 0 0,0 1 0 0 0,0-1 0 0 0,0 1 0 0 0,0-1 1 0 0,0 1-1 0 0,0-1 0 0 0,0 1 0 0 0,1-1 0 0 0,-1 1 0 0 0,0-1 1 0 0,0 1-1 0 0,1-1 0 0 0,-1 1 0 0 0,0 0 0 0 0,1-1 0 0 0,-1 1 1 0 0,0-1-1 0 0,1 1 0 0 0,0-1 0 0 0,11-9-122 0 0,6-4-17 0 0,0 2 0 0 0,1 0 1 0 0,24-10-1 0 0,12-8-115 0 0,-50 28 237 0 0,119-78-393 0 0,-109 68 367 0 0,0 0 0 0 0,-1-1 0 0 0,-1 0 0 0 0,0-1-1 0 0,20-26 1 0 0,-23 15-49 0 0,-9 25 94 0 0,-1-1 0 0 0,0 0 0 0 0,0 1 0 0 0,1-1 0 0 0,-1 0 0 0 0,0 1 0 0 0,0-1 0 0 0,0 0 0 0 0,1 1 0 0 0,-1-1 0 0 0,0 0 0 0 0,0 1 0 0 0,0-1 0 0 0,0 0 0 0 0,0 0 0 0 0,-1 1 0 0 0,1-1 0 0 0,0 0 0 0 0,0 1 0 0 0,0-1 0 0 0,-1 0 0 0 0,1 1 0 0 0,0-1 0 0 0,0 1 0 0 0,-1-1 0 0 0,1 0 0 0 0,-1 1-1 0 0,1-1 1 0 0,-1 1 0 0 0,1-1 0 0 0,0 1 0 0 0,-1-1 0 0 0,0 1 0 0 0,1 0 0 0 0,-1-1 0 0 0,1 1 0 0 0,-2-1 0 0 0,-3 0 16 0 0,1 1-1 0 0,-1 0 1 0 0,0-1 0 0 0,0 2-1 0 0,0-1 1 0 0,1 1-1 0 0,-1-1 1 0 0,0 1-1 0 0,1 1 1 0 0,-1-1-1 0 0,1 1 1 0 0,-1-1 0 0 0,1 1-1 0 0,0 0 1 0 0,-1 1-1 0 0,-4 3 1 0 0,6-4 4 0 0,1 0-1 0 0,0 0 1 0 0,0 0 0 0 0,0 0-1 0 0,0 0 1 0 0,0 0 0 0 0,0 0-1 0 0,0 1 1 0 0,1-1 0 0 0,-1 1-1 0 0,1 0 1 0 0,0-1 0 0 0,0 1-1 0 0,0 0 1 0 0,0-1 0 0 0,0 1-1 0 0,0 0 1 0 0,1 0 0 0 0,-1 0 0 0 0,1 0-1 0 0,0 0 1 0 0,0 0 0 0 0,0 0-1 0 0,1 0 1 0 0,-1 0 0 0 0,0-1-1 0 0,1 1 1 0 0,1 4 0 0 0,1 0 12 0 0,1 0 1 0 0,-1-1 0 0 0,1 1 0 0 0,1-1-1 0 0,-1 0 1 0 0,1 0 0 0 0,0-1 0 0 0,0 0-1 0 0,0 0 1 0 0,1 0 0 0 0,0 0-1 0 0,0-1 1 0 0,0 0 0 0 0,1 0 0 0 0,8 4-1 0 0,-5-3-1 0 0,1-1-1 0 0,0 0 1 0 0,0 0-1 0 0,0-1 1 0 0,0 0-1 0 0,1-1 1 0 0,-1 0-1 0 0,1-1 1 0 0,13 0-1 0 0,-15-2-25 0 0,1 0-1 0 0,-1-1 0 0 0,0 0 0 0 0,0-1 0 0 0,0 0 0 0 0,0 0 0 0 0,0-1 0 0 0,0-1 1 0 0,-1 1-1 0 0,0-2 0 0 0,0 1 0 0 0,0-1 0 0 0,-1 0 0 0 0,0-1 0 0 0,0 0 0 0 0,-1-1 0 0 0,1 1 1 0 0,-2-1-1 0 0,12-18 0 0 0,3-8-3 0 0,-2 0 0 0 0,-1-2 0 0 0,23-69 0 0 0,-37 94 25 0 0,-2 7-43 0 0,4-3-16 0 0,-5 7 33 0 0,-1-1 0 0 0,1 1 1 0 0,0 0-1 0 0,0 0 0 0 0,0 0 0 0 0,0 0 1 0 0,0 0-1 0 0,0 1 0 0 0,-1-1 0 0 0,1 0 1 0 0,0 0-1 0 0,0 1 0 0 0,0-1 0 0 0,0 0 1 0 0,-1 1-1 0 0,1-1 0 0 0,0 0 1 0 0,0 1-1 0 0,0 0 0 0 0,1 1 1 0 0,1 0-1 0 0,-2 0 1 0 0,1 0 0 0 0,0 0-1 0 0,0 0 1 0 0,-1 0 0 0 0,1 1 0 0 0,-1-1-1 0 0,1 1 1 0 0,-1-1 0 0 0,0 1-1 0 0,1 3 1 0 0,9 36 21 0 0,-8-31 15 0 0,3 15 19 0 0,-1 0-1 0 0,-1 0 1 0 0,1 35 0 0 0,-5-52-17 0 0,0 0 1 0 0,0 0-1 0 0,-1-1 0 0 0,0 1 0 0 0,-1 0 1 0 0,0-1-1 0 0,0 1 0 0 0,-1-1 1 0 0,0 0-1 0 0,0 0 0 0 0,-1 0 1 0 0,0 0-1 0 0,-9 13 0 0 0,11-19-3 0 0,1-1 0 0 0,0 1 0 0 0,-1-1 0 0 0,1 0-1 0 0,-1 0 1 0 0,1 1 0 0 0,-1-1 0 0 0,0 0 0 0 0,1 0 0 0 0,-1-1 0 0 0,-2 2-1 0 0,3-2-5 0 0,0 1-1 0 0,0-1 0 0 0,1 0 0 0 0,-1 0 1 0 0,0 0-1 0 0,0 0 0 0 0,0 0 0 0 0,1 0 0 0 0,-1 0 1 0 0,0 0-1 0 0,0 0 0 0 0,1 0 0 0 0,-1-1 0 0 0,0 1 1 0 0,0 0-1 0 0,1 0 0 0 0,-1-1 0 0 0,0 1 0 0 0,0 0 1 0 0,1-1-1 0 0,-1 1 0 0 0,1-1 0 0 0,-1 1 0 0 0,-1-2 1 0 0,2-4 129 0 0,2-2-128 0 0,0 0 0 0 0,1 0 0 0 0,0 1 0 0 0,1-1 0 0 0,0 0 0 0 0,0 1 0 0 0,1 0 0 0 0,0 0 0 0 0,0 0 0 0 0,0 1 0 0 0,9-8 0 0 0,11-11 7 0 0,40-28 1 0 0,-29 25 37 0 0,78-43 0 0 0,-96 61-199 0 0,1 1 0 0 0,0 1 0 0 0,0 1 0 0 0,0 1 0 0 0,1 0 0 0 0,34-4 0 0 0,-51 10-46 0 0,1 0 0 0 0,-1 0-1 0 0,1 0 1 0 0,-1 0 0 0 0,1 1 0 0 0,-1 0 0 0 0,0-1 0 0 0,1 1 0 0 0,5 3-1 0 0,6 7-1795 0 0,-12-8 716 0 0,-3-2 835 0 0,1 0 0 0 0,0 0-1 0 0,-1 0 1 0 0,1 1 0 0 0,-1-1-1 0 0,0 0 1 0 0,1 0 0 0 0,-1 0-1 0 0,1 3 1 0 0,-1 8-4803 0 0</inkml:trace>
</inkml:ink>
</file>

<file path=ppt/ink/ink2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39.17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1 9 1692 0 0,'0'-9'6106'0'0,"0"9"-6046"0"0,-3 3 192 0 0,-1 1 0 0 0,1-1 0 0 0,0 1 0 0 0,0-1 0 0 0,0 1 0 0 0,0 0 0 0 0,1 0 0 0 0,0 0 0 0 0,-4 9 0 0 0,-13 46 1004 0 0,12-34-756 0 0,3-12-305 0 0,1 0-1 0 0,1 0 1 0 0,0 1 0 0 0,1-1 0 0 0,0 1-1 0 0,1-1 1 0 0,1 1 0 0 0,0-1 0 0 0,4 19-1 0 0,-3-22-172 0 0,1 0-1 0 0,-1 0 0 0 0,2-1 1 0 0,-1 1-1 0 0,1-1 0 0 0,1 0 1 0 0,0 0-1 0 0,0-1 0 0 0,1 1 1 0 0,0-1-1 0 0,0-1 0 0 0,1 1 1 0 0,9 8-1 0 0,-13-14-320 0 0,-1 0-1 0 0,1 0 1 0 0,0-1-1 0 0,0 1 1 0 0,0-1 0 0 0,0 0-1 0 0,0 0 1 0 0,0 0-1 0 0,0 0 1 0 0,1 0-1 0 0,-1-1 1 0 0,0 1 0 0 0,0-1-1 0 0,0 0 1 0 0,1 0-1 0 0,-1 0 1 0 0,0-1 0 0 0,0 1-1 0 0,1-1 1 0 0,-1 0-1 0 0,0 1 1 0 0,0-1 0 0 0,0-1-1 0 0,0 1 1 0 0,0 0-1 0 0,0-1 1 0 0,4-2 0 0 0,5-8-3294 0 0</inkml:trace>
</inkml:ink>
</file>

<file path=ppt/ink/ink2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39.53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6 128 952 0 0,'-16'-42'3177'0'0,"-20"-44"295"0"0,36 86-3528 0 0,0 1-1 0 0,-1-1 1 0 0,1 0 0 0 0,0 0 0 0 0,0 1 0 0 0,-1-1-1 0 0,1 0 1 0 0,0 0 0 0 0,0 1 0 0 0,0-1 0 0 0,-1 0 0 0 0,1 0-1 0 0,0 1 1 0 0,0-1 0 0 0,0 0 0 0 0,0 1 0 0 0,0-1-1 0 0,0 0 1 0 0,0 1 0 0 0,0-1 0 0 0,0 0 0 0 0,0 1 0 0 0,0-1-1 0 0,0 0 1 0 0,0 1 0 0 0,0-1 0 0 0,0 0 0 0 0,0 1 0 0 0,0-1-1 0 0,0 0 1 0 0,0 1 0 0 0,0-1 0 0 0,0 0 0 0 0,1 1-1 0 0,-1-1 1 0 0,0 0 0 0 0,0 1 0 0 0,1-1 0 0 0,3 11-1530 0 0,-1 0 166 0 0</inkml:trace>
  <inkml:trace contextRef="#ctx0" brushRef="#br0" timeOffset="1">242 389 1112 0 0,'1'2'322'0'0,"-1"0"-1"0"0,1 0 1 0 0,0 0 0 0 0,0 1-1 0 0,-1-1 1 0 0,1-1-1 0 0,1 1 1 0 0,-1 0 0 0 0,0 0-1 0 0,0 0 1 0 0,1 0 0 0 0,-1-1-1 0 0,1 1 1 0 0,0-1-1 0 0,-1 1 1 0 0,1-1 0 0 0,0 0-1 0 0,0 0 1 0 0,0 1-1 0 0,0-1 1 0 0,0-1 0 0 0,0 1-1 0 0,3 1 1 0 0,4 1-107 0 0,2-1 0 0 0,-1 0 1 0 0,19 1-1 0 0,-10-1 230 0 0,39 5-114 0 0,18 3-1454 0 0,-2-4-3512 0 0,-53-6 2329 0 0</inkml:trace>
</inkml:ink>
</file>

<file path=ppt/ink/ink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2:29.37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3 1252 0 0,'1'-1'189'0'0,"0"1"0"0"0,0 0 0 0 0,0-1 0 0 0,0 1 0 0 0,-1 0 0 0 0,1-1 0 0 0,0 1 0 0 0,0 0 0 0 0,0 0 0 0 0,0 0 0 0 0,0 0 0 0 0,0 0 0 0 0,0 0 0 0 0,0 0 0 0 0,0 0 0 0 0,0 1 0 0 0,0-1-1 0 0,0 0 1 0 0,0 1 0 0 0,0-1 0 0 0,0 0 0 0 0,0 1 0 0 0,0-1 0 0 0,0 1 0 0 0,-1-1 0 0 0,1 1 0 0 0,0 0 0 0 0,0-1 0 0 0,-1 1 0 0 0,1 0 0 0 0,0 0 0 0 0,-1-1 0 0 0,1 1 0 0 0,-1 0 0 0 0,1 1 0 0 0,0 2 121 0 0,0 0 1 0 0,-1 0 0 0 0,0 1-1 0 0,0-1 1 0 0,0 0-1 0 0,0 0 1 0 0,-2 6-1 0 0,1 24 603 0 0,2-25-806 0 0,0-1-1 0 0,1 1 1 0 0,0-1 0 0 0,1 1-1 0 0,0-1 1 0 0,0 0-1 0 0,1 0 1 0 0,0 0-1 0 0,0-1 1 0 0,1 0-1 0 0,-1 1 1 0 0,2-1 0 0 0,-1-1-1 0 0,1 1 1 0 0,0-1-1 0 0,0 0 1 0 0,1 0-1 0 0,0-1 1 0 0,0 0-1 0 0,0 0 1 0 0,10 4 0 0 0,-15-8-74 0 0,-1 0 1 0 0,1 0 0 0 0,0-1 0 0 0,0 1 0 0 0,0 0 0 0 0,0-1 0 0 0,0 1 0 0 0,0-1 0 0 0,0 0 0 0 0,0 0-1 0 0,0 0 1 0 0,0 0 0 0 0,-1 0 0 0 0,1 0 0 0 0,0 0 0 0 0,0 0 0 0 0,0-1 0 0 0,0 1 0 0 0,0-1 0 0 0,0 0-1 0 0,0 1 1 0 0,0-1 0 0 0,-1 0 0 0 0,1 0 0 0 0,0 0 0 0 0,-1 0 0 0 0,1 0 0 0 0,-1-1 0 0 0,1 1-1 0 0,-1-1 1 0 0,1 1 0 0 0,-1 0 0 0 0,0-1 0 0 0,0 0 0 0 0,0 1 0 0 0,0-1 0 0 0,0 0 0 0 0,0 0 0 0 0,0 1-1 0 0,0-1 1 0 0,-1 0 0 0 0,1-3 0 0 0,1 1-13 0 0,-1-1 0 0 0,0 0 1 0 0,0 0-1 0 0,-1 1 0 0 0,1-1 0 0 0,-1 0 0 0 0,0 0 1 0 0,0 0-1 0 0,-1 1 0 0 0,0-1 0 0 0,1 0 0 0 0,-2 0 0 0 0,1 1 1 0 0,0-1-1 0 0,-1 0 0 0 0,-2-4 0 0 0,-1 3-100 0 0,1 0 0 0 0,-1 1 1 0 0,0 0-1 0 0,0 0 0 0 0,0 0 0 0 0,-1 1 0 0 0,0 0 0 0 0,0 0 1 0 0,-8-4-1 0 0,6 3-806 0 0,-1 1 0 0 0,0 0 0 0 0,0 1 0 0 0,-1 0 0 0 0,1 1 0 0 0,-12-2 0 0 0</inkml:trace>
</inkml:ink>
</file>

<file path=ppt/ink/ink2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39.86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7 1360 0 0,'14'-6'6483'0'0,"-12"7"-6362"0"0,-1 0 0 0 0,0 0 0 0 0,0 0 0 0 0,0 0 0 0 0,0 0 1 0 0,0 0-1 0 0,-1 0 0 0 0,1 1 0 0 0,0-1 0 0 0,-1 0 0 0 0,1 1 0 0 0,0-1 1 0 0,-1 0-1 0 0,0 1 0 0 0,1-1 0 0 0,-1 1 0 0 0,0-1 0 0 0,0 1 0 0 0,0-1 0 0 0,1 0 1 0 0,-2 3-1 0 0,1 46 1174 0 0,0-14-444 0 0,4 21 76 0 0,-3-34-707 0 0,0 0 0 0 0,2 0-1 0 0,0 0 1 0 0,2-1 0 0 0,11 36-1 0 0,-14-55-344 0 0,-1 1-1 0 0,1-1 1 0 0,0 0-1 0 0,0 0 1 0 0,0 0 0 0 0,0 0-1 0 0,0 0 1 0 0,6 5-1 0 0,-7-7-165 0 0,0 0 0 0 0,0-1 0 0 0,1 1 0 0 0,-1 0 0 0 0,0 0 0 0 0,1-1 1 0 0,-1 1-1 0 0,1-1 0 0 0,-1 1 0 0 0,1-1 0 0 0,-1 0 0 0 0,1 0 0 0 0,-1 1 0 0 0,1-1 0 0 0,-1 0 0 0 0,1 0 0 0 0,-1 0 0 0 0,1-1 0 0 0,-1 1 0 0 0,1 0 0 0 0,-1-1 0 0 0,1 1 0 0 0,-1-1 1 0 0,2 0-1 0 0,9-6-3802 0 0</inkml:trace>
</inkml:ink>
</file>

<file path=ppt/ink/ink2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40.19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15 97 2052 0 0,'-84'-89'6652'0'0,"83"89"-6647"0"0,1-1-1 0 0,-1 0 0 0 0,0 1 1 0 0,1-1-1 0 0,-1 1 1 0 0,0-1-1 0 0,0 1 1 0 0,1-1-1 0 0,-1 1 1 0 0,0 0-1 0 0,0-1 1 0 0,0 1-1 0 0,1 0 0 0 0,-1-1 1 0 0,0 1-1 0 0,0 0 1 0 0,0 0-1 0 0,0 0 1 0 0,0 0-1 0 0,0 0 1 0 0,0 0-1 0 0,1 0 0 0 0,-1 0 1 0 0,0 0-1 0 0,0 1 1 0 0,0-1-1 0 0,0 0 1 0 0,0 0-1 0 0,-1 1 1 0 0,1 0-120 0 0,0-1-3 0 0,1 1-1 0 0,0-1 1 0 0,-1 1-1 0 0,1-1 0 0 0,0 1 1 0 0,0 0-1 0 0,-1-1 0 0 0,1 1 1 0 0,0-1-1 0 0,0 1 0 0 0,0-1 1 0 0,0 1-1 0 0,-1 0 1 0 0,1-1-1 0 0,0 1 0 0 0,0-1 1 0 0,0 1-1 0 0,0 0 0 0 0,1-1 1 0 0,-1 1-1 0 0,0 0 0 0 0,2 9-1602 0 0</inkml:trace>
  <inkml:trace contextRef="#ctx0" brushRef="#br0" timeOffset="1">385 233 1060 0 0,'7'14'1313'0'0,"-2"1"-1"0"0,0-1 1 0 0,0 1 0 0 0,-1 0-1 0 0,2 19 1 0 0,5 18-58 0 0,4 13-819 0 0,9 106-1 0 0,-22-101-6191 0 0,-2-58 2854 0 0</inkml:trace>
</inkml:ink>
</file>

<file path=ppt/ink/ink2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40.95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20 1084 0 0,'0'-3'1350'0'0,"0"1"-1177"0"0,0 0 1 0 0,1-1-1 0 0,-1 1 1 0 0,0 0-1 0 0,1 0 1 0 0,-1 0 0 0 0,1-1-1 0 0,0 1 1 0 0,0 0-1 0 0,0 0 1 0 0,0 0-1 0 0,0 0 1 0 0,0 0-1 0 0,1 1 1 0 0,-1-1 0 0 0,1 0-1 0 0,-1 1 1 0 0,3-3-1 0 0,1 0-9 0 0,-1 1 0 0 0,1 0 1 0 0,0 1-1 0 0,0-1 0 0 0,0 1 0 0 0,0 0 0 0 0,8-3 0 0 0,9 0 26 0 0,-1 1-1 0 0,43-2 1 0 0,-61 5-140 0 0,56-2-29 0 0,225-25 2907 0 0,-227 10-1846 0 0,-55 17-949 0 0,-2 1-131 0 0,1 0 0 0 0,-1 0 0 0 0,0 0 0 0 0,0 0 0 0 0,1 0 1 0 0,-1 0-1 0 0,0 0 0 0 0,1 0 0 0 0,-1 0 0 0 0,0 0 0 0 0,0 0 0 0 0,1 0 0 0 0,-1 0 0 0 0,0 0 0 0 0,0 0 0 0 0,1 0 0 0 0,-1 0 0 0 0,0 0 0 0 0,0 0 0 0 0,1 0 1 0 0,-1 0-1 0 0,0-1 0 0 0,0 1 0 0 0,1 0 0 0 0,-1 0 0 0 0,0 0 0 0 0,0-1 0 0 0,0 1 0 0 0,0 0 0 0 0,1 0 0 0 0,-1 0 0 0 0,0-1 0 0 0,0 1 0 0 0,0-1 1 0 0,1-11 57 0 0,-6-11-21 0 0,3 20-51 0 0,0 0 1 0 0,1 0-1 0 0,-1 0 1 0 0,-1 0-1 0 0,1 0 0 0 0,0 0 1 0 0,-1 1-1 0 0,1-1 1 0 0,-1 1-1 0 0,0 0 0 0 0,0-1 1 0 0,0 1-1 0 0,0 1 0 0 0,0-1 1 0 0,0 0-1 0 0,0 1 1 0 0,-7-2-1 0 0,5 1 7 0 0,0 2-1 0 0,0-1 1 0 0,0 0 0 0 0,0 1-1 0 0,0 0 1 0 0,-1 1 0 0 0,1-1-1 0 0,0 1 1 0 0,0 0 0 0 0,0 0-1 0 0,-7 2 1 0 0,5 0 74 0 0,0-1 1 0 0,0 1-1 0 0,0 1 0 0 0,0-1 0 0 0,1 1 1 0 0,0 0-1 0 0,0 1 0 0 0,0 0 0 0 0,0-1 0 0 0,1 2 1 0 0,-1-1-1 0 0,1 1 0 0 0,1 0 0 0 0,-1 0 1 0 0,1 0-1 0 0,-7 13 0 0 0,9-12-1 0 0,1-1 0 0 0,-1 0 0 0 0,1 0 0 0 0,0 1 0 0 0,1-1 0 0 0,0 1 1 0 0,0-1-1 0 0,0 0 0 0 0,0 1 0 0 0,1-1 0 0 0,0 0 0 0 0,1 1 0 0 0,0-1 0 0 0,0 0 0 0 0,0 0 0 0 0,0 0 0 0 0,1 0 0 0 0,0-1 0 0 0,0 1 0 0 0,6 7 0 0 0,-5-7-21 0 0,1 0 1 0 0,0-1-1 0 0,0 1 0 0 0,0-1 0 0 0,1 0 1 0 0,0 0-1 0 0,0 0 0 0 0,0-1 0 0 0,0 0 1 0 0,1 0-1 0 0,-1-1 0 0 0,1 0 0 0 0,0 0 1 0 0,0-1-1 0 0,1 1 0 0 0,12 1 0 0 0,-12-3-59 0 0,0-1 0 0 0,0-1 0 0 0,-1 1 0 0 0,1-1-1 0 0,0 0 1 0 0,-1-1 0 0 0,1 0 0 0 0,-1 0 0 0 0,1-1-1 0 0,-1 0 1 0 0,0 0 0 0 0,12-8 0 0 0,4-4-206 0 0,-1-1 1 0 0,25-22-1 0 0,-30 23 163 0 0,-3 3-31 0 0,-2 1-51 0 0,1 0 1 0 0,24-14-1 0 0,-35 24 135 0 0,-1 0-1 0 0,1 0 1 0 0,-1 1 0 0 0,1-1 0 0 0,0 1 0 0 0,-1-1 0 0 0,1 1 0 0 0,0 0 0 0 0,-1 0 0 0 0,1 0 0 0 0,0 0 0 0 0,-1 0 0 0 0,1 0 0 0 0,0 0-1 0 0,-1 0 1 0 0,1 1 0 0 0,-1-1 0 0 0,1 0 0 0 0,0 1 0 0 0,-1 0 0 0 0,1-1 0 0 0,-1 1 0 0 0,1 0 0 0 0,-1 0 0 0 0,0 0 0 0 0,1 0 0 0 0,-1 0-1 0 0,0 0 1 0 0,0 0 0 0 0,1 0 0 0 0,-1 0 0 0 0,0 1 0 0 0,0-1 0 0 0,-1 1 0 0 0,1-1 0 0 0,0 0 0 0 0,1 4 0 0 0,3 5 94 0 0,0 1 0 0 0,0 0-1 0 0,-1 1 1 0 0,2 11 0 0 0,-4-15-57 0 0,2 9 26 0 0,-1 0 0 0 0,1 20 0 0 0,1 8 4516 0 0,-3-65-4075 0 0,0 10-476 0 0,1 1 0 0 0,0 0 0 0 0,1-1-1 0 0,-1 1 1 0 0,2 1 0 0 0,-1-1-1 0 0,1 1 1 0 0,9-11 0 0 0,-10 13-45 0 0,0 0 0 0 0,1 1 0 0 0,0 0 0 0 0,0 0 1 0 0,1 0-1 0 0,-1 1 0 0 0,1 0 0 0 0,0 0 0 0 0,0 0 0 0 0,0 1 1 0 0,13-5-1 0 0,-16 7 14 0 0,0 0 1 0 0,0 1-1 0 0,0-1 0 0 0,0 1 1 0 0,1 0-1 0 0,-1 0 0 0 0,0 0 1 0 0,0 0-1 0 0,0 1 0 0 0,0-1 1 0 0,0 1-1 0 0,0 0 1 0 0,0 0-1 0 0,0 0 0 0 0,0 0 1 0 0,0 0-1 0 0,0 1 0 0 0,-1-1 1 0 0,1 1-1 0 0,-1 0 1 0 0,1 0-1 0 0,-1 0 0 0 0,1 0 1 0 0,-1 0-1 0 0,0 0 0 0 0,0 1 1 0 0,0-1-1 0 0,0 1 0 0 0,-1-1 1 0 0,1 1-1 0 0,-1 0 1 0 0,1-1-1 0 0,-1 1 0 0 0,0 0 1 0 0,0 0-1 0 0,1 6 0 0 0,10 34 277 0 0,-11-41-228 0 0,0-4-44 0 0,0 0-5 0 0,0 0-1 0 0,1 0 1 0 0,-1 0-1 0 0,1 0 1 0 0,-1 0-1 0 0,1 0 1 0 0,0 1-1 0 0,0-1 1 0 0,-1 1-1 0 0,1-1 1 0 0,0 1-1 0 0,0-1 1 0 0,1 1-1 0 0,-1 0 1 0 0,0 0-1 0 0,0 0 1 0 0,0 1-1 0 0,1-1 1 0 0,2 0-1 0 0,6-3-25 0 0,-3 1 9 0 0,-1 1-1 0 0,0-1 1 0 0,1 1-1 0 0,-1 0 0 0 0,1 1 1 0 0,0 0-1 0 0,0 0 1 0 0,0 0-1 0 0,12 2 1 0 0,-13 0-155 0 0,1 0 1 0 0,-1 1-1 0 0,0 0 0 0 0,0 0 1 0 0,0 0-1 0 0,0 1 1 0 0,-1 0-1 0 0,1 1 1 0 0,-1 0-1 0 0,11 7 0 0 0,-14-8-146 0 0,0-1-1 0 0,0 1 1 0 0,0 0-1 0 0,-1 0 0 0 0,1 0 1 0 0,-1 0-1 0 0,0 1 1 0 0,0-1-1 0 0,0 1 0 0 0,0-1 1 0 0,-1 1-1 0 0,1-1 1 0 0,-1 1-1 0 0,0 0 0 0 0,0 0 1 0 0,0 0-1 0 0,-1 0 0 0 0,0 0 1 0 0,1 0-1 0 0,-1 0 1 0 0,0-1-1 0 0,-1 1 0 0 0,0 5 1 0 0,-2 12-3693 0 0,0-12 911 0 0</inkml:trace>
</inkml:ink>
</file>

<file path=ppt/ink/ink2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41.82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9 323 1040 0 0,'6'-26'5749'0'0,"-7"29"-5053"0"0,-8 20-51 0 0,1 2-1 0 0,1-1 1 0 0,1 1-1 0 0,2 0 1 0 0,0 1-1 0 0,0 34 1 0 0,1-18 110 0 0,-11 48 0 0 0,14-88-539 0 0,-3 8 1189 0 0,-3-10-830 0 0,3-1-708 0 0,0-3 236 0 0,0-13-205 0 0,0 0-1 0 0,1 0 0 0 0,1 0 0 0 0,1 0 0 0 0,0 0 1 0 0,1 0-1 0 0,1 0 0 0 0,8-32 0 0 0,1 4-175 0 0,3 0 0 0 0,20-45 0 0 0,-21 60 147 0 0,2 0 0 0 0,0 2 0 0 0,28-39 0 0 0,-33 54-48 0 0,-1 1 0 0 0,2 0-1 0 0,0 0 1 0 0,0 2 0 0 0,1-1 0 0 0,0 1-1 0 0,1 1 1 0 0,0 0 0 0 0,17-8 0 0 0,-25 15-28 0 0,0 0 1 0 0,0 0 0 0 0,1 1 0 0 0,-1 0-1 0 0,0 0 1 0 0,1 0 0 0 0,-1 0 0 0 0,1 1-1 0 0,9 0 1 0 0,-13 0 66 0 0,-1 0 0 0 0,1 1 0 0 0,-1-1 0 0 0,1 0 0 0 0,0 1 1 0 0,-1-1-1 0 0,1 1 0 0 0,-1-1 0 0 0,1 1 0 0 0,-1 0 0 0 0,1-1 0 0 0,-1 1 0 0 0,0 0 0 0 0,1 0 0 0 0,-1 0 0 0 0,0 0 0 0 0,0 0 0 0 0,0 0 0 0 0,1 1 0 0 0,-1-1 1 0 0,-1 0-1 0 0,1 1 0 0 0,0-1 0 0 0,0 0 0 0 0,0 1 0 0 0,-1-1 0 0 0,1 1 0 0 0,-1-1 0 0 0,1 1 0 0 0,-1 0 0 0 0,1-1 0 0 0,-1 1 0 0 0,0-1 0 0 0,0 1 1 0 0,0 0-1 0 0,0-1 0 0 0,0 4 0 0 0,-2 10-1674 0 0</inkml:trace>
</inkml:ink>
</file>

<file path=ppt/ink/ink2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42.48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30 24 784 0 0,'-46'13'2457'0'0,"34"-9"-1253"0"0,0 0 0 0 0,-1-1-1 0 0,1 0 1 0 0,-23 1 0 0 0,41-2-916 0 0,-6-2-280 0 0,1 1 0 0 0,-1-1 0 0 0,1 1 1 0 0,-1-1-1 0 0,1 0 0 0 0,-1 0 1 0 0,1 1-1 0 0,-1-1 0 0 0,1 0 0 0 0,-1 0 1 0 0,1 0-1 0 0,0 1 0 0 0,-1-1 0 0 0,1 0 1 0 0,-1 0-1 0 0,1 0 0 0 0,-1 0 0 0 0,1 0 1 0 0,0 0-1 0 0,-1 0 0 0 0,1 0 0 0 0,-1-1 1 0 0,1 1-1 0 0,0 0 0 0 0,403-17 1010 0 0,-381 16-1024 0 0,17 3 18 0 0,-36 1 4 0 0,-4-3-7 0 0,1 0 0 0 0,0 1 0 0 0,0-1 0 0 0,-1 1 0 0 0,1-1 0 0 0,0 1 1 0 0,-1-1-1 0 0,1 1 0 0 0,-1 0 0 0 0,1-1 0 0 0,0 1 0 0 0,-1 0 0 0 0,1-1 1 0 0,-1 1-1 0 0,0 0 0 0 0,1-1 0 0 0,-1 1 0 0 0,0 0 0 0 0,1 0 0 0 0,-1 0 0 0 0,0-1 1 0 0,0 1-1 0 0,0 0 0 0 0,0 0 0 0 0,0 1 0 0 0,0 22 110 0 0,0-18-105 0 0,1 2 79 0 0,0 0 0 0 0,0 0 0 0 0,1 0 0 0 0,0 0 0 0 0,0 0 0 0 0,1-1 0 0 0,0 1 0 0 0,0-1 0 0 0,1 1 0 0 0,0-1 0 0 0,0 0 0 0 0,1-1 0 0 0,0 1 0 0 0,0-1 0 0 0,1 0 0 0 0,-1 0 0 0 0,1-1 0 0 0,0 1 0 0 0,1-1 0 0 0,-1-1 0 0 0,10 6 0 0 0,-6-4 42 0 0,1 0 1 0 0,0 0-1 0 0,0-1 1 0 0,1-1-1 0 0,-1 1 1 0 0,1-2-1 0 0,0 0 1 0 0,0 0 0 0 0,0-1-1 0 0,0-1 1 0 0,1 0-1 0 0,-1-1 1 0 0,18-1-1 0 0,-25 0-102 0 0,0 1-1 0 0,0-2 1 0 0,1 1-1 0 0,-1-1 1 0 0,0 1-1 0 0,0-1 0 0 0,-1-1 1 0 0,1 1-1 0 0,0-1 1 0 0,-1 0-1 0 0,1 0 1 0 0,5-5-1 0 0,-8 6-27 0 0,0-1 1 0 0,0 1-1 0 0,0-1 1 0 0,0 1-1 0 0,-1-1 1 0 0,1 0-1 0 0,-1 1 0 0 0,0-1 1 0 0,0 0-1 0 0,0 0 1 0 0,0 0-1 0 0,0 0 1 0 0,-1 0-1 0 0,1 0 1 0 0,-1 0-1 0 0,0 0 0 0 0,0 0 1 0 0,0 0-1 0 0,0 0 1 0 0,0 0-1 0 0,-1 0 1 0 0,1 0-1 0 0,-2-3 0 0 0,0-1-28 0 0,0 1-1 0 0,-1-1 1 0 0,0 1-1 0 0,0 0 1 0 0,0 0-1 0 0,-1 1 1 0 0,0-1-1 0 0,0 1 1 0 0,0 0-1 0 0,-9-8 1 0 0,-5-3-980 0 0,-34-23 1 0 0,9 8-2179 0 0,39 28 2604 0 0,3 3 243 0 0,0-1 1 0 0,0 0-1 0 0,0 0 0 0 0,0 1 1 0 0,0-1-1 0 0,0 0 1 0 0,0 0-1 0 0,0 0 1 0 0,1 0-1 0 0,-1 0 0 0 0,0 0 1 0 0,-1-2-1 0 0,3 2 252 0 0,0 0 0 0 0,-1 0 0 0 0,1 1 0 0 0,0-1-1 0 0,-1 1 1 0 0,1-1 0 0 0,0 1 0 0 0,0-1 0 0 0,0 1-1 0 0,-1-1 1 0 0,1 1 0 0 0,0-1 0 0 0,0 1 0 0 0,0 0 0 0 0,0 0-1 0 0,0-1 1 0 0,0 1 0 0 0,0 0 0 0 0,0 0 0 0 0,0 0 0 0 0,0 0-1 0 0,-1 0 1 0 0,2 0 0 0 0,22-3 227 0 0,0 1 1 0 0,-1 1-1 0 0,1 1 0 0 0,31 3 1 0 0,-43-1 105 0 0,-1 0 0 0 0,1 1 0 0 0,-1 0 0 0 0,0 1 0 0 0,1 0 0 0 0,-2 0 0 0 0,1 2 0 0 0,-1-1 0 0 0,1 1 0 0 0,-1 1 0 0 0,9 7 0 0 0,-10-5 15 0 0,0 0 0 0 0,-1 0 0 0 0,0 1 0 0 0,0 0 0 0 0,-1 1 0 0 0,10 20 0 0 0,3 4 652 0 0,-13-20 149 0 0,-1-2 3056 0 0,-5-13-4067 0 0,-1 0 1 0 0,1 0-1 0 0,-1 0 0 0 0,0 0 1 0 0,1 0-1 0 0,-1 0 1 0 0,1 0-1 0 0,-1-1 0 0 0,0 1 1 0 0,1 0-1 0 0,-1 0 1 0 0,1 0-1 0 0,-1 0 0 0 0,0-1 1 0 0,1 1-1 0 0,-1 0 1 0 0,0 0-1 0 0,1-1 0 0 0,-1 1 1 0 0,0 0-1 0 0,0-1 1 0 0,1 1-1 0 0,-1 0 0 0 0,0-1 1 0 0,0 1-1 0 0,0 0 1 0 0,1-1-1 0 0,-1 1 1 0 0,0-1-1 0 0,0 1 0 0 0,0 0 1 0 0,0-1-1 0 0,0 0 1 0 0,5-8-170 0 0,0 0 1 0 0,0 0-1 0 0,1 0 1 0 0,0 1 0 0 0,1 0-1 0 0,-1 0 1 0 0,2 0-1 0 0,-1 1 1 0 0,1 0 0 0 0,0 1-1 0 0,14-10 1 0 0,-9 10-806 0 0,1 1 1 0 0,0-1 0 0 0,0 2-1 0 0,0 0 1 0 0,0 1-1 0 0,27-3 1 0 0,39 1-4450 0 0,-64 3 3953 0 0</inkml:trace>
</inkml:ink>
</file>

<file path=ppt/ink/ink2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42.92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50 1116 0 0,'3'-1'1346'0'0,"5"-4"-248"0"0,-6 3-811 0 0,-1 1 1 0 0,1 0 0 0 0,-1 0 0 0 0,1 0 0 0 0,-1 0 0 0 0,1 0 0 0 0,0 0 0 0 0,-1 1 0 0 0,1-1 0 0 0,0 1 0 0 0,0-1 0 0 0,0 1 0 0 0,0-1 0 0 0,-1 1 0 0 0,1 0 0 0 0,0 0 0 0 0,0 0 0 0 0,0 0 0 0 0,2 1 0 0 0,-3 0-249 0 0,-1 0 1 0 0,0 0-1 0 0,0 1 1 0 0,0-1-1 0 0,0 0 1 0 0,0 0 0 0 0,0 0-1 0 0,0 1 1 0 0,0-1-1 0 0,0 0 1 0 0,-1 0-1 0 0,1 0 1 0 0,0 1-1 0 0,-1-1 1 0 0,1 0-1 0 0,-1 0 1 0 0,0 1-1 0 0,0 0 72 0 0,0 8 83 0 0,-1-1 0 0 0,2 1 0 0 0,-1-1 0 0 0,1 1 1 0 0,1 0-1 0 0,0-1 0 0 0,0 1 0 0 0,1-1 0 0 0,0 1 0 0 0,0-1 0 0 0,5 10 0 0 0,-5-12-143 0 0,0 0 0 0 0,1 0 0 0 0,0 0-1 0 0,0 0 1 0 0,1-1 0 0 0,0 1 0 0 0,0-1-1 0 0,0 0 1 0 0,1 0 0 0 0,0 0 0 0 0,0-1-1 0 0,1 0 1 0 0,-1 0 0 0 0,1 0 0 0 0,0-1-1 0 0,9 6 1 0 0,-12-9-58 0 0,1-1-1 0 0,-1 1 1 0 0,0 0-1 0 0,0-1 1 0 0,1 0-1 0 0,-1 1 1 0 0,0-1-1 0 0,0-1 1 0 0,1 1-1 0 0,-1 0 1 0 0,0-1-1 0 0,0 0 1 0 0,1 1 0 0 0,-1-1-1 0 0,0-1 1 0 0,0 1-1 0 0,0 0 1 0 0,0-1-1 0 0,0 1 1 0 0,-1-1-1 0 0,1 0 1 0 0,3-3-1 0 0,1-3-154 0 0,1 0-1 0 0,-2 0 0 0 0,1-1 0 0 0,7-13 1 0 0,-14 22 154 0 0,0 0 0 0 0,0-1 0 0 0,0 1 0 0 0,1 0 1 0 0,-1 0-1 0 0,0 0 0 0 0,0-1 0 0 0,0 1 0 0 0,0 0 1 0 0,0 0-1 0 0,0-1 0 0 0,1 1 0 0 0,-1 0 0 0 0,0-1 0 0 0,0 1 1 0 0,0 0-1 0 0,0 0 0 0 0,0-1 0 0 0,0 1 0 0 0,0 0 0 0 0,0 0 1 0 0,0-1-1 0 0,0 1 0 0 0,0 0 0 0 0,0-1 0 0 0,-1 1 0 0 0,1 0 1 0 0,0 0-1 0 0,0-1 0 0 0,0 1 0 0 0,0 0 0 0 0,0 0 1 0 0,0-1-1 0 0,-1 1 0 0 0,1 0 0 0 0,0 0 0 0 0,0 0 0 0 0,0-1 1 0 0,-1 1-1 0 0,1 0 0 0 0,0 0 0 0 0,0 0 0 0 0,-1 0 0 0 0,1 0 1 0 0,0-1-1 0 0,-1 1 0 0 0,1 0 3 0 0,-1 0 0 0 0,1 0-1 0 0,-1 0 1 0 0,1 0 0 0 0,-1 0 0 0 0,1 0 0 0 0,-1 0 0 0 0,1 0 0 0 0,-1 0-1 0 0,1 1 1 0 0,-1-1 0 0 0,1 0 0 0 0,0 0 0 0 0,-1 0 0 0 0,1 1-1 0 0,-1-1 1 0 0,1 0 0 0 0,-1 0 0 0 0,1 1 0 0 0,0-1 0 0 0,-1 0-1 0 0,1 1 1 0 0,0-1 0 0 0,-1 0 0 0 0,1 1 0 0 0,-2 2 55 0 0,1 0 1 0 0,0 0 0 0 0,0 1-1 0 0,0-1 1 0 0,0 0-1 0 0,1 0 1 0 0,-1 0-1 0 0,1 1 1 0 0,0-1 0 0 0,0 0-1 0 0,0 1 1 0 0,0-1-1 0 0,1 0 1 0 0,-1 0 0 0 0,1 1-1 0 0,0-1 1 0 0,0 0-1 0 0,0 0 1 0 0,0 0 0 0 0,0 0-1 0 0,1 0 1 0 0,-1 0-1 0 0,1 0 1 0 0,0 0-1 0 0,4 4 1 0 0,-3-4 42 0 0,-1 0 0 0 0,1 0-1 0 0,0 0 1 0 0,0 0 0 0 0,0-1 0 0 0,0 1 0 0 0,0-1-1 0 0,1 1 1 0 0,-1-1 0 0 0,1 0 0 0 0,0-1 0 0 0,0 1-1 0 0,-1-1 1 0 0,1 0 0 0 0,0 1 0 0 0,0-2 0 0 0,0 1-1 0 0,0 0 1 0 0,0-1 0 0 0,0 0 0 0 0,0 0-1 0 0,1 0 1 0 0,3-1 0 0 0,-3 0-62 0 0,0 0 0 0 0,0 0 0 0 0,0-1 1 0 0,0 1-1 0 0,0-1 0 0 0,-1-1 0 0 0,1 1 0 0 0,-1-1 0 0 0,1 1 0 0 0,-1-1 0 0 0,0 0 0 0 0,0-1 1 0 0,0 1-1 0 0,0-1 0 0 0,-1 0 0 0 0,1 0 0 0 0,-1 0 0 0 0,0 0 0 0 0,0-1 0 0 0,4-8 0 0 0,-3 1-5 0 0,0 1 0 0 0,-1-1-1 0 0,-1 1 1 0 0,0-1-1 0 0,0 0 1 0 0,-1 0-1 0 0,0 0 1 0 0,-1 0 0 0 0,-1 0-1 0 0,0 0 1 0 0,-1 1-1 0 0,-3-15 1 0 0,-2-2-900 0 0,-2 0-1 0 0,-1 0 1 0 0,-24-46 0 0 0,13 35-7002 0 0</inkml:trace>
</inkml:ink>
</file>

<file path=ppt/ink/ink2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43.67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0 744 0 0,'3'2'1311'0'0,"2"0"-976"0"0,0 1 0 0 0,-1-1 0 0 0,0 1 1 0 0,1 0-1 0 0,-1 1 0 0 0,0-1 0 0 0,0 1 0 0 0,-1 0 1 0 0,1 0-1 0 0,-1 0 0 0 0,0 0 0 0 0,0 0 0 0 0,0 1 1 0 0,-1-1-1 0 0,0 1 0 0 0,0 0 0 0 0,0 0 0 0 0,0 0 1 0 0,1 7-1 0 0,3 12 672 0 0,-1 1 0 0 0,3 44 0 0 0,-6 48 319 0 0,-3-66-328 0 0,1-50-890 0 0,0 0 0 0 0,0 1 0 0 0,0-1 0 0 0,0 0 0 0 0,0 0 0 0 0,0 1 0 0 0,-1-1 0 0 0,1 0 0 0 0,0 0 0 0 0,-1 0 0 0 0,1 1 0 0 0,-1-1 0 0 0,1 0 1 0 0,-1 0-1 0 0,1 0 0 0 0,-1 0 0 0 0,0 0 0 0 0,0 0 0 0 0,1 0 0 0 0,-3 1 0 0 0,3-2-97 0 0,-1-1 0 0 0,1 1 0 0 0,0-1 0 0 0,-1 0 1 0 0,1 1-1 0 0,0-1 0 0 0,0 1 0 0 0,0-1 0 0 0,0 0 0 0 0,-1 1 1 0 0,1-1-1 0 0,0 1 0 0 0,0-1 0 0 0,0 0 0 0 0,0 1 0 0 0,0-1 1 0 0,1 0-1 0 0,-1 1 0 0 0,0-1 0 0 0,0 1 0 0 0,0-1 0 0 0,0 0 1 0 0,1 1-1 0 0,-1-1 0 0 0,0 1 0 0 0,1-1 0 0 0,-1 1 0 0 0,0-1 1 0 0,1 1-1 0 0,0-1 0 0 0,9-21-94 0 0,-2 13 38 0 0,-1 0 0 0 0,1 1 1 0 0,1 0-1 0 0,0 0 1 0 0,0 1-1 0 0,0 0 1 0 0,1 1-1 0 0,0-1 1 0 0,0 2-1 0 0,0 0 1 0 0,1 0-1 0 0,12-3 1 0 0,-18 7 25 0 0,-1 0 1 0 0,0 1 0 0 0,1 0-1 0 0,-1-1 1 0 0,1 2-1 0 0,-1-1 1 0 0,0 1 0 0 0,1-1-1 0 0,-1 1 1 0 0,0 0-1 0 0,1 1 1 0 0,-1-1 0 0 0,0 1-1 0 0,0 0 1 0 0,0 0 0 0 0,0 0-1 0 0,-1 0 1 0 0,1 1-1 0 0,5 4 1 0 0,4 5 12 0 0,0 1 1 0 0,-1 0-1 0 0,17 24 1 0 0,10 11 95 0 0,-3-14 345 0 0,-35-34-438 0 0,0 1 0 0 0,0-1 0 0 0,0 0 0 0 0,0 1 0 0 0,1-1 0 0 0,-1 0 0 0 0,0 0 0 0 0,0 0 0 0 0,0 0-1 0 0,0 0 1 0 0,0 0 0 0 0,1 0 0 0 0,-1 0 0 0 0,0 0 0 0 0,0 0 0 0 0,0-1 0 0 0,0 1 0 0 0,0 0 0 0 0,0-1 0 0 0,0 1 0 0 0,0-1 0 0 0,0 1-1 0 0,0-1 1 0 0,0 0 0 0 0,1-1 0 0 0,25-19-379 0 0,-10 2 673 0 0,23-20 1 0 0,-39 38-243 0 0,1 0-21 0 0,4-4-19 0 0,-4 4-14 0 0,15-15 187 0 0,-5 6 239 0 0,-11 9-411 0 0,1-1-21 0 0,-2 2-1 0 0,0-1 0 0 0,0 1-1 0 0,0 0 1 0 0,0 0-1 0 0,0 0 1 0 0,0-1 0 0 0,0 1-1 0 0,1 0 1 0 0,-1 0 0 0 0,0 0-1 0 0,0 0 1 0 0,0-1 0 0 0,0 1-1 0 0,0 0 1 0 0,0 0-1 0 0,1 0 1 0 0,-1 0 0 0 0,0 0-1 0 0,0-1 1 0 0,0 1 0 0 0,0 0-1 0 0,1 0 1 0 0,-1 0 0 0 0,0 0-1 0 0,0 0 1 0 0,0 0 0 0 0,0 0-1 0 0,1 0 1 0 0,-1 0-1 0 0,0 0 1 0 0,0 0 0 0 0,0 0-1 0 0,1 0 1 0 0,-1 0 0 0 0,0 0-1 0 0,0 0 1 0 0,0 0 0 0 0,1 0-1 0 0,-1 0 1 0 0,0 0 0 0 0,2 1 6 0 0,-1 0 1 0 0,0 0-1 0 0,1 0 1 0 0,-1 0-1 0 0,0 0 1 0 0,0 0 0 0 0,0 1-1 0 0,0-1 1 0 0,0 0-1 0 0,0 1 1 0 0,0-1-1 0 0,0 1 1 0 0,0-1 0 0 0,-1 1-1 0 0,1-1 1 0 0,-1 1-1 0 0,1-1 1 0 0,-1 3-1 0 0,3 3 5 0 0,0 0-69 0 0,-1 0 1 0 0,0 0-1 0 0,0 1 1 0 0,-1-1-1 0 0,1 0 1 0 0,-2 1-1 0 0,1-1 1 0 0,-1 11-1 0 0,-1-13-437 0 0,0 0-1 0 0,0 0 0 0 0,0 0 1 0 0,-1 0-1 0 0,1 0 1 0 0,-1 0-1 0 0,0-1 1 0 0,-4 8-1 0 0,4-9-44 0 0,1 1-207 0 0</inkml:trace>
</inkml:ink>
</file>

<file path=ppt/ink/ink2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44.03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49 1772 0 0,'5'-92'7721'0'0,"-2"35"-7502"0"0,-3 58-572 0 0,0 1-1 0 0,0-1 0 0 0,1 0 1 0 0,-1 1-1 0 0,0-1 0 0 0,1 0 1 0 0,-1 1-1 0 0,1-1 1 0 0,-1 0-1 0 0,1 0 0 0 0,-1 0 1 0 0,2 2-1 0 0,4 4-2357 0 0</inkml:trace>
</inkml:ink>
</file>

<file path=ppt/ink/ink2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44.36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1 13 836 0 0,'0'0'4885'0'0,"-3"1"-4263"0"0,0 0-451 0 0,-1 0-1 0 0,1 1 1 0 0,-1 0 0 0 0,1 0 0 0 0,0 0 0 0 0,0 0 0 0 0,0 0 0 0 0,0 1 0 0 0,0-1 0 0 0,0 1 0 0 0,1 0 0 0 0,-1-1 0 0 0,1 1 0 0 0,-3 4 0 0 0,2-1-63 0 0,0-1-1 0 0,1 1 1 0 0,-1 0 0 0 0,1 0-1 0 0,0 0 1 0 0,1 0 0 0 0,0 0 0 0 0,-1 7-1 0 0,1 0-41 0 0,1 1 0 0 0,0-1 0 0 0,1 1-1 0 0,0-1 1 0 0,1 0 0 0 0,0 0 0 0 0,8 23-1 0 0,-8-30-363 0 0,1 1-1 0 0,-1-1 1 0 0,1 0 0 0 0,0 0-1 0 0,1 0 1 0 0,-1 0-1 0 0,1 0 1 0 0,8 8 0 0 0,6-15-3306 0 0,-10-6 1895 0 0</inkml:trace>
  <inkml:trace contextRef="#ctx0" brushRef="#br0" timeOffset="1">193 9 1116 0 0,'8'-9'4604'0'0,"-6"24"-3540"0"0,-1 0 1 0 0,-1 0-1 0 0,-4 29 1 0 0,1 9-245 0 0,-1 67 2161 0 0,4-117-2380 0 0,0-3-552 0 0,0 1-1 0 0,0-1 1 0 0,0 0-1 0 0,0 1 1 0 0,0-1 0 0 0,1 1-1 0 0,-1-1 1 0 0,0 0 0 0 0,0 1-1 0 0,0-1 1 0 0,0 0-1 0 0,1 1 1 0 0,-1-1 0 0 0,0 0-1 0 0,0 1 1 0 0,1-1-1 0 0,-1 0 1 0 0,0 1 0 0 0,1-1-1 0 0,-1 0 1 0 0,0 0 0 0 0,1 0-1 0 0,0 1 1 0 0,13-9 276 0 0,0 0-265 0 0,0 0 1 0 0,1 0-1 0 0,0 2 0 0 0,0 0 0 0 0,0 0 0 0 0,1 2 0 0 0,28-6 1 0 0,-39 10-65 0 0,-1 1 1 0 0,1-1-1 0 0,0 1 1 0 0,0-1 0 0 0,0 1-1 0 0,0 1 1 0 0,0-1-1 0 0,-1 1 1 0 0,1 0 0 0 0,-1 0-1 0 0,1 0 1 0 0,-1 1-1 0 0,7 4 1 0 0,-6-3-245 0 0,1 0 1 0 0,-1 1-1 0 0,0 0 0 0 0,-1 0 1 0 0,1 0-1 0 0,-1 0 1 0 0,0 1-1 0 0,5 8 0 0 0,-7-10-197 0 0,0-1 1 0 0,-1 1-1 0 0,1 0 0 0 0,-1 0 0 0 0,2 7 0 0 0,-4 10-4094 0 0,-2-9 74 0 0</inkml:trace>
</inkml:ink>
</file>

<file path=ppt/ink/ink2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45.60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0 87 512 0 0,'0'0'3654'0'0,"1"0"-3549"0"0,-1 0 0 0 0,1 1 0 0 0,-1-1 0 0 0,1 0 1 0 0,-1 0-1 0 0,1 1 0 0 0,-1-1 0 0 0,1 0 0 0 0,-1 1 1 0 0,1-1-1 0 0,-1 0 0 0 0,0 1 0 0 0,1-1 0 0 0,-1 1 0 0 0,0-1 1 0 0,1 1-1 0 0,-1-1 0 0 0,0 1 0 0 0,0-1 0 0 0,1 1 1 0 0,-1-1-1 0 0,0 1 0 0 0,0-1 0 0 0,1 2 0 0 0,-14 61 2027 0 0,2 1-1 0 0,-1 95 0 0 0,8-96-334 0 0,4-61-1090 0 0,3-3-558 0 0,5-3-176 0 0,-1 0-1 0 0,0 0 1 0 0,0-1 0 0 0,0 1-1 0 0,-1-2 1 0 0,1 1 0 0 0,9-12-1 0 0,11-8-128 0 0,-16 15 105 0 0,-1 1-46 0 0,0 1 1 0 0,1 0 0 0 0,0 0 0 0 0,22-11 0 0 0,-30 18 83 0 0,-1 0 0 0 0,1 1 0 0 0,-1 0 1 0 0,1-1-1 0 0,0 1 0 0 0,-1 0 0 0 0,1 0 1 0 0,-1 1-1 0 0,1-1 0 0 0,0 0 0 0 0,-1 1 1 0 0,5 1-1 0 0,26 12-47 0 0,15 13-62 0 0,28 13 3769 0 0,-74-39-2941 0 0,10-7 58 0 0,-9 5-670 0 0,0 0 0 0 0,1-1 0 0 0,-1 1 0 0 0,0-1 0 0 0,0 0 0 0 0,0 0-1 0 0,-1 0 1 0 0,1 0 0 0 0,0 0 0 0 0,-1-1 0 0 0,1 1 0 0 0,-1-1 0 0 0,3-4 0 0 0,1-6-123 0 0,0-1 0 0 0,0 0 1 0 0,-2 0-1 0 0,0 0 1 0 0,0 0-1 0 0,-1-1 0 0 0,-1 1 1 0 0,-1-1-1 0 0,1-22 1 0 0,-2 32-408 0 0,-1 0 0 0 0,1-1 0 0 0,0 1 1 0 0,-1 0-1 0 0,0 0 0 0 0,-1 0 0 0 0,1 0 1 0 0,-1 0-1 0 0,0 0 0 0 0,0 0 1 0 0,0 0-1 0 0,-1 1 0 0 0,1-1 0 0 0,-5-4 1 0 0,6 16-2661 0 0,1-7 3073 0 0,1 1-1 0 0,-1-1 1 0 0,0 0-1 0 0,1 1 1 0 0,9 5-38 0 0,1 0 1 0 0,-1-1-1 0 0,1 0 1 0 0,0-1-1 0 0,1 0 1 0 0,-1-1-1 0 0,1 0 1 0 0,12 1-1 0 0,-1-2 235 0 0,0 0-1 0 0,1-1 1 0 0,29-3-1 0 0,-42 0-125 0 0,0 0 1 0 0,-1 0-1 0 0,1-1 0 0 0,-1 0 1 0 0,1-1-1 0 0,-1 0 0 0 0,0-1 1 0 0,-1 0-1 0 0,1 0 0 0 0,-1-1 1 0 0,0 0-1 0 0,0-1 0 0 0,-1 0 1 0 0,0 0-1 0 0,0-1 0 0 0,0 0 1 0 0,-1-1-1 0 0,-1 1 0 0 0,11-18 1 0 0,-17 25-47 0 0,1 1 1 0 0,0-1 0 0 0,-1 0-1 0 0,1 0 1 0 0,-1 0 0 0 0,0 0-1 0 0,1 0 1 0 0,-1 0-1 0 0,0 0 1 0 0,0 0 0 0 0,1 0-1 0 0,-1 0 1 0 0,0 0 0 0 0,0 0-1 0 0,0 0 1 0 0,0 0-1 0 0,0 0 1 0 0,0 0 0 0 0,-1 0-1 0 0,1 0 1 0 0,0 0 0 0 0,0 0-1 0 0,-1 0 1 0 0,1 0-1 0 0,-1 0 1 0 0,1 0 0 0 0,-1 0-1 0 0,1 0 1 0 0,-1 1-1 0 0,1-1 1 0 0,-1 0 0 0 0,0 0-1 0 0,1 1 1 0 0,-1-1 0 0 0,0 0-1 0 0,0 1 1 0 0,0-1-1 0 0,1 1 1 0 0,-1-1 0 0 0,0 1-1 0 0,0-1 1 0 0,0 1 0 0 0,0-1-1 0 0,0 1 1 0 0,0 0-1 0 0,0 0 1 0 0,0-1 0 0 0,0 1-1 0 0,0 0 1 0 0,-1 0 0 0 0,-4 0 4 0 0,-1-1 0 0 0,1 1 0 0 0,0 0 0 0 0,-1 1 0 0 0,1 0 0 0 0,0 0 0 0 0,-9 2 0 0 0,10-1 17 0 0,0 0 0 0 0,0 0 0 0 0,1 0 0 0 0,-1 0 0 0 0,0 1 0 0 0,1 0 0 0 0,0 0 0 0 0,0 0 0 0 0,0 0 0 0 0,0 1 0 0 0,0-1 0 0 0,1 1 0 0 0,-1 0 0 0 0,1 0-1 0 0,-4 7 1 0 0,5-7 5 0 0,0-1 0 0 0,1 1 0 0 0,0-1 0 0 0,-1 1 0 0 0,1 0 0 0 0,1-1 0 0 0,-1 1 0 0 0,0 0 0 0 0,1 0-1 0 0,0-1 1 0 0,0 1 0 0 0,0 0 0 0 0,0 0 0 0 0,1 0 0 0 0,-1-1 0 0 0,1 1 0 0 0,0 0 0 0 0,0 0 0 0 0,0-1-1 0 0,1 1 1 0 0,3 5 0 0 0,0-1-38 0 0,0 0 0 0 0,1-1 0 0 0,0 1-1 0 0,0-1 1 0 0,1-1 0 0 0,0 0 0 0 0,0 1 0 0 0,0-2-1 0 0,1 1 1 0 0,0-1 0 0 0,0-1 0 0 0,11 6 0 0 0,3-1-1824 0 0,1-1 0 0 0,0 0 0 0 0,33 5 1 0 0,-48-12 101 0 0,10-1 7 0 0</inkml:trace>
</inkml:ink>
</file>

<file path=ppt/ink/ink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2:29.75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2 44 1156 0 0,'5'-3'739'0'0,"1"-1"0"0"0,-1 1 0 0 0,0-1 0 0 0,-1 0 0 0 0,1 0 0 0 0,-1-1 0 0 0,1 1 0 0 0,4-9 1465 0 0,-15 51-1468 0 0,10-12-537 0 0,1 0 1 0 0,1 0 0 0 0,1-1 0 0 0,12 27 0 0 0,-10-29-32 0 0,-1 1 1 0 0,-1 0-1 0 0,-1 0 0 0 0,5 39 0 0 0,-11-59-149 0 0,0 0 0 0 0,-1 0-1 0 0,1 0 1 0 0,-1 0 0 0 0,1 0-1 0 0,-1 0 1 0 0,0-1 0 0 0,-1 1-1 0 0,1 0 1 0 0,0 0-1 0 0,-1-1 1 0 0,0 1 0 0 0,0-1-1 0 0,0 0 1 0 0,-1 1 0 0 0,1-1-1 0 0,-1 0 1 0 0,1 0 0 0 0,-1-1-1 0 0,0 1 1 0 0,-6 3-1 0 0,8-5-36 0 0,1 0 0 0 0,-1-1 0 0 0,0 0 0 0 0,0 1 0 0 0,0-1 0 0 0,0 1 0 0 0,0-1 0 0 0,1 0 0 0 0,-1 0 0 0 0,0 0 0 0 0,0 1 0 0 0,0-1 0 0 0,0 0 0 0 0,0 0 0 0 0,0 0 0 0 0,0 0 0 0 0,0-1 0 0 0,0 1 0 0 0,0 0 0 0 0,0 0 0 0 0,0 0-1 0 0,1-1 1 0 0,-1 1 0 0 0,0-1 0 0 0,0 1 0 0 0,0 0 0 0 0,0-1 0 0 0,1 0 0 0 0,-1 1 0 0 0,0-1 0 0 0,0 1 0 0 0,1-1 0 0 0,-1 0 0 0 0,0 1 0 0 0,1-1 0 0 0,-1-1 0 0 0,-1-1-144 0 0,0 1 1 0 0,1-1-1 0 0,-1 1 1 0 0,1-1-1 0 0,0 0 1 0 0,0 0-1 0 0,0 1 1 0 0,0-1-1 0 0,0 0 1 0 0,0-4-1 0 0,1-2-229 0 0,1 0 1 0 0,0 0-1 0 0,0 0 0 0 0,1 1 0 0 0,0-1 1 0 0,1 0-1 0 0,0 1 0 0 0,6-14 0 0 0,9-28 1870 0 0,-33 59-292 0 0,-1 6-659 0 0,0 1-1 0 0,0 1 1 0 0,2 0-1 0 0,0 1 0 0 0,-21 37 1 0 0,-16 40-420 0 0,50-95-351 0 0,1 1 1 0 0,0 0 0 0 0,-1-1-1 0 0,1 1 1 0 0,0 0 0 0 0,0 0-1 0 0,0-1 1 0 0,0 1 0 0 0,0 0-1 0 0,0-1 1 0 0,0 1 0 0 0,0 0-1 0 0,0 0 1 0 0,0-1-1 0 0,0 1 1 0 0,0 0 0 0 0,0 0-1 0 0,1-1 1 0 0,-1 1 0 0 0,0 0-1 0 0,0-1 1 0 0,1 1 0 0 0,-1 0-1 0 0,1-1 1 0 0,0 2 0 0 0</inkml:trace>
</inkml:ink>
</file>

<file path=ppt/ink/ink2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47.05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05 76 0 0,'18'-21'6411'0'0,"-13"23"-5414"0"0,-5-2-962 0 0,1 0 1 0 0,-1 0-1 0 0,0 0 1 0 0,1 0-1 0 0,-1 0 0 0 0,1 0 1 0 0,-1 0-1 0 0,0 0 1 0 0,1 0-1 0 0,-1 0 0 0 0,0 0 1 0 0,1 0-1 0 0,-1 1 1 0 0,0-1-1 0 0,1 0 0 0 0,-1 0 1 0 0,0 0-1 0 0,1 1 1 0 0,-1-1-1 0 0,0 0 0 0 0,1 0 1 0 0,-1 1-1 0 0,0-1 1 0 0,0 0-1 0 0,1 0 0 0 0,-1 1 1 0 0,0-1-1 0 0,0 0 1 0 0,0 1-1 0 0,0-1 0 0 0,1 1 1 0 0,4 31 1440 0 0,2 36 0 0 0,4 27-409 0 0,30 99 450 0 0,-41-193-1465 0 0,0 0 0 0 0,0 0 1 0 0,0 0-1 0 0,0 0 0 0 0,1 0 0 0 0,-1 0 1 0 0,0 0-1 0 0,0 0 0 0 0,1 0 1 0 0,-1 0-1 0 0,0-1 0 0 0,1 1 0 0 0,-1 0 1 0 0,1 0-1 0 0,-1 0 0 0 0,1 0 1 0 0,-1 0-1 0 0,1-1 0 0 0,0 1 1 0 0,-1 0-1 0 0,1 0 0 0 0,0-1 0 0 0,0 1 1 0 0,0-1-1 0 0,-1 1 0 0 0,1-1 1 0 0,0 1-1 0 0,0-1 0 0 0,0 1 1 0 0,0-1-1 0 0,0 0 0 0 0,2 1 0 0 0,0-2-73 0 0,0 0-1 0 0,0 0 0 0 0,0 0 1 0 0,0 0-1 0 0,0 0 0 0 0,0-1 1 0 0,-1 1-1 0 0,1-1 0 0 0,4-3 0 0 0,3-2-164 0 0,-1-1-1 0 0,0 0 1 0 0,8-11-1 0 0,-9 10 35 0 0,0 1 0 0 0,0 0 0 0 0,10-7 0 0 0,-17 15 138 0 0,0-1-1 0 0,1 1 1 0 0,-1-1-1 0 0,0 1 1 0 0,1-1-1 0 0,-1 1 1 0 0,1 0-1 0 0,-1 0 1 0 0,0 0-1 0 0,1 0 1 0 0,-1 0-1 0 0,1 0 1 0 0,-1 0-1 0 0,1 0 1 0 0,-1 0-1 0 0,0 0 1 0 0,1 1-1 0 0,-1-1 1 0 0,0 1-1 0 0,1-1 1 0 0,-1 1-1 0 0,0 0 1 0 0,1-1-1 0 0,-1 1 1 0 0,0 0-1 0 0,0 0 1 0 0,2 1-1 0 0,5 6-4 0 0,0-1-1 0 0,13 16 1 0 0,-4-4 7 0 0,58 45 1454 0 0,-73-63-1363 0 0,0 0 0 0 0,1-1 0 0 0,-1 1 0 0 0,0 0 0 0 0,0-1 0 0 0,0 0 0 0 0,0 1 0 0 0,0-1 0 0 0,1 0 0 0 0,-1 0 0 0 0,0 0 0 0 0,0 0 1 0 0,0-1-1 0 0,1 1 0 0 0,-1-1 0 0 0,0 1 0 0 0,0-1 0 0 0,0 0 0 0 0,0 0 0 0 0,0 1 0 0 0,0-2 0 0 0,0 1 0 0 0,3-2 0 0 0,-1 0-50 0 0,-1 0-1 0 0,1 0 1 0 0,-1 0-1 0 0,0-1 1 0 0,0 1-1 0 0,0-1 1 0 0,0 0-1 0 0,-1 0 1 0 0,1 0-1 0 0,-1 0 1 0 0,0 0 0 0 0,0 0-1 0 0,-1-1 1 0 0,1 1-1 0 0,-1-1 1 0 0,0 1-1 0 0,1-8 1 0 0,0-6-217 0 0,-1 0 0 0 0,-2-36 0 0 0,0 51 143 0 0,1-4-217 0 0,-1-1 0 0 0,0 1 1 0 0,-1-1-1 0 0,0 1 0 0 0,0 0 0 0 0,-1 0 0 0 0,0-1 1 0 0,-4-7-1 0 0,5 11-129 0 0,-1 0-1 0 0,1 0 1 0 0,-1 0 0 0 0,0 1 0 0 0,0-1 0 0 0,0 1 0 0 0,-1-1-1 0 0,1 1 1 0 0,-1 0 0 0 0,1 1 0 0 0,-1-1 0 0 0,0 0-1 0 0,-8-2 1 0 0,10 4-401 0 0,-1 1 55 0 0,-11 1 89 0 0,11 0 82 0 0,1 6-321 0 0,2-7 867 0 0,0 0 0 0 0,-1 1 0 0 0,1-1 0 0 0,0 0 0 0 0,0 1 0 0 0,0-1 0 0 0,0 1 0 0 0,0-1 0 0 0,0 0 0 0 0,0 1 0 0 0,0-1 0 0 0,-1 1 0 0 0,1-1 0 0 0,1 0 0 0 0,-1 1 1 0 0,0-1-1 0 0,0 1 0 0 0,0-1 0 0 0,0 0 0 0 0,0 1 0 0 0,0-1 0 0 0,0 1 0 0 0,0-1 0 0 0,1 0 0 0 0,-1 1 0 0 0,0-1 0 0 0,0 0 0 0 0,1 1 0 0 0,-1-1 0 0 0,0 0 0 0 0,0 0 0 0 0,1 1 0 0 0,-1-1 0 0 0,0 0 0 0 0,1 0 0 0 0,-1 1 0 0 0,0-1 0 0 0,1 0 0 0 0,-1 0 0 0 0,0 0 0 0 0,1 0 0 0 0,-1 1 0 0 0,1-1 0 0 0,-1 0 0 0 0,12 6-135 0 0,0 0-1 0 0,0-1 1 0 0,0 0 0 0 0,0-1-1 0 0,1 0 1 0 0,-1-1-1 0 0,1 0 1 0 0,26 1 0 0 0,-23-2 352 0 0,0-2 0 0 0,1-1 1 0 0,-1 0-1 0 0,1 0 0 0 0,-1-2 0 0 0,30-8 1 0 0,-42 10-65 0 0,0 0-1 0 0,-1-1 1 0 0,1 1 0 0 0,-1-1 0 0 0,1 0 0 0 0,-1 0 0 0 0,0 0 0 0 0,0 0-1 0 0,0 0 1 0 0,0-1 0 0 0,0 1 0 0 0,-1-1 0 0 0,1 0 0 0 0,-1 0 0 0 0,1 0-1 0 0,-1 0 1 0 0,0 0 0 0 0,2-6 0 0 0,-3 8-94 0 0,-1 0 1 0 0,0 0-1 0 0,0 1 1 0 0,0-1-1 0 0,0 0 0 0 0,0 1 1 0 0,0-1-1 0 0,-1 0 1 0 0,1 0-1 0 0,0 1 0 0 0,0-1 1 0 0,0 0-1 0 0,-1 1 1 0 0,1-1-1 0 0,0 0 0 0 0,-1 1 1 0 0,1-1-1 0 0,-1 1 1 0 0,1-1-1 0 0,-1 0 1 0 0,1 1-1 0 0,-1-1 0 0 0,1 1 1 0 0,-1-1-1 0 0,1 1 1 0 0,-1 0-1 0 0,1-1 0 0 0,-1 1 1 0 0,0 0-1 0 0,1-1 1 0 0,-1 1-1 0 0,0 0 0 0 0,1 0 1 0 0,-1-1-1 0 0,0 1 1 0 0,0 0-1 0 0,-25-4 645 0 0,17 5-580 0 0,-1 0 0 0 0,1 1 0 0 0,0 0 0 0 0,0 1-1 0 0,0 0 1 0 0,0 0 0 0 0,0 1 0 0 0,0 0 0 0 0,1 0 0 0 0,0 1-1 0 0,0 0 1 0 0,0 1 0 0 0,1 0 0 0 0,-1 0 0 0 0,1 0 0 0 0,1 1 0 0 0,-1 0-1 0 0,1 0 1 0 0,-7 13 0 0 0,12-18-88 0 0,-1 0 0 0 0,1 0-1 0 0,0 0 1 0 0,0 0 0 0 0,1 0 0 0 0,-1 0 0 0 0,0 1-1 0 0,1-1 1 0 0,0 0 0 0 0,-1 0 0 0 0,1 1 0 0 0,0-1-1 0 0,0 0 1 0 0,0 1 0 0 0,0-1 0 0 0,1 0 0 0 0,-1 0-1 0 0,0 1 1 0 0,1-1 0 0 0,0 0 0 0 0,-1 0 0 0 0,1 0-1 0 0,0 0 1 0 0,0 0 0 0 0,1 0 0 0 0,-1 0-1 0 0,0 0 1 0 0,0 0 0 0 0,1 0 0 0 0,-1-1 0 0 0,1 1-1 0 0,0 0 1 0 0,0-1 0 0 0,-1 1 0 0 0,1-1 0 0 0,0 0-1 0 0,0 0 1 0 0,0 0 0 0 0,0 0 0 0 0,0 0 0 0 0,1 0-1 0 0,-1 0 1 0 0,0-1 0 0 0,0 1 0 0 0,1-1 0 0 0,-1 0-1 0 0,3 1 1 0 0,3-1 2 0 0,1 1-1 0 0,-1-2 0 0 0,0 1 1 0 0,0-1-1 0 0,0 0 1 0 0,0-1-1 0 0,-1 0 1 0 0,1 0-1 0 0,0 0 1 0 0,-1-1-1 0 0,1-1 1 0 0,-1 1-1 0 0,0-1 0 0 0,0 0 1 0 0,12-10-1 0 0,2-3 29 0 0,-1-1-1 0 0,0-1 1 0 0,25-32-1 0 0,-35 44-1 0 0,-5 13 1 0 0,-4 25 144 0 0,-1-10 131 0 0,1-15-214 0 0,0 0 1 0 0,1-1 0 0 0,-1 1-1 0 0,1 0 1 0 0,1-1-1 0 0,-1 0 1 0 0,1 1 0 0 0,0-1-1 0 0,0 0 1 0 0,1 0-1 0 0,-1-1 1 0 0,1 1 0 0 0,0-1-1 0 0,0 0 1 0 0,1 0-1 0 0,-1 0 1 0 0,1 0-1 0 0,6 3 1 0 0,-7-5-85 0 0,0 0 0 0 0,0 0 0 0 0,1 0 0 0 0,-1-1 1 0 0,1 0-1 0 0,-1 1 0 0 0,1-2 0 0 0,0 1 0 0 0,-1 0 0 0 0,1-1 0 0 0,0 0 0 0 0,0 0 0 0 0,-1-1 0 0 0,1 1 1 0 0,0-1-1 0 0,-1 0 0 0 0,1 0 0 0 0,0 0 0 0 0,-1-1 0 0 0,0 0 0 0 0,1 0 0 0 0,-1 0 0 0 0,6-4 0 0 0,3-3-15 0 0,-1-1 0 0 0,0-1-1 0 0,0 0 1 0 0,18-23 0 0 0,-14 16-155 0 0,-15 16 89 0 0,3 1-10 0 0,2 1-90 0 0,-2 10 134 0 0,-3-7 31 0 0,0 0 1 0 0,0 1-1 0 0,1-1 0 0 0,-1 0 1 0 0,1-1-1 0 0,-1 1 1 0 0,1 0-1 0 0,0 0 1 0 0,0-1-1 0 0,0 1 0 0 0,0-1 1 0 0,0 1-1 0 0,1-1 1 0 0,-1 0-1 0 0,1 0 1 0 0,0 0-1 0 0,-1 0 0 0 0,1-1 1 0 0,0 1-1 0 0,4 1 1 0 0,-2-1 10 0 0,1 0-1 0 0,-1 0 1 0 0,1-1 0 0 0,0 1 0 0 0,-1-1 0 0 0,1-1-1 0 0,0 1 1 0 0,0-1 0 0 0,-1 0 0 0 0,1 0 0 0 0,7-1-1 0 0,-3-2-80 0 0,-1 0-1 0 0,0 0 1 0 0,0-1-1 0 0,0 0 0 0 0,-1-1 1 0 0,1 0-1 0 0,-1 0 0 0 0,0-1 1 0 0,0 0-1 0 0,-1 0 1 0 0,0-1-1 0 0,0 0 0 0 0,10-13 1 0 0,-16 19 41 0 0,-1 0 0 0 0,1 0 1 0 0,-1 0-1 0 0,1 0 0 0 0,-1 1 0 0 0,1-1 1 0 0,0 0-1 0 0,-1 0 0 0 0,1 1 0 0 0,0-1 1 0 0,-1 0-1 0 0,1 1 0 0 0,0-1 1 0 0,0 1-1 0 0,0-1 0 0 0,-1 1 0 0 0,1 0 1 0 0,0-1-1 0 0,0 1 0 0 0,0 0 1 0 0,2-1-1 0 0,-3 3 22 0 0,1-1 0 0 0,0 1 0 0 0,-1-1 0 0 0,1 1 0 0 0,-1 0 0 0 0,0-1 1 0 0,0 1-1 0 0,1 0 0 0 0,-1-1 0 0 0,0 1 0 0 0,0 0 0 0 0,-1 2 0 0 0,1 2 40 0 0,0 0 49 0 0,-1-1 1 0 0,1 1-1 0 0,0-1 0 0 0,1 1 1 0 0,-1 0-1 0 0,1-1 1 0 0,0 1-1 0 0,1-1 1 0 0,0 0-1 0 0,-1 1 1 0 0,1-1-1 0 0,1 0 1 0 0,-1 0-1 0 0,6 7 1 0 0,-7-10-63 0 0,1 0 0 0 0,0 0 0 0 0,0 0 0 0 0,-1 0 0 0 0,1-1 0 0 0,0 1 0 0 0,0-1 0 0 0,1 1 0 0 0,-1-1 0 0 0,0 0 0 0 0,0 0-1 0 0,1 0 1 0 0,-1 0 0 0 0,1 0 0 0 0,-1 0 0 0 0,1-1 0 0 0,-1 1 0 0 0,1-1 0 0 0,-1 0 0 0 0,1 0 0 0 0,-1 0 0 0 0,1 0 0 0 0,0 0 0 0 0,-1 0 0 0 0,4-2 0 0 0,-2 1-33 0 0,1-1 0 0 0,-1 0 0 0 0,0 0 0 0 0,0 0 0 0 0,0 0 0 0 0,0-1 0 0 0,0 0 0 0 0,-1 0 0 0 0,1 0 0 0 0,-1 0-1 0 0,0 0 1 0 0,0-1 0 0 0,0 0 0 0 0,0 1 0 0 0,0-1 0 0 0,-1 0 0 0 0,0 0 0 0 0,3-7 0 0 0,5-12-179 0 0,-2 0-1 0 0,8-32 1 0 0,-9 32 168 0 0,45-188 2044 0 0,-52 211-2014 0 0,0-1 0 0 0,-1 1-1 0 0,1 0 1 0 0,0-1 0 0 0,0 1 0 0 0,0 0 0 0 0,0 0-1 0 0,0-1 1 0 0,0 1 0 0 0,0 0 0 0 0,0-1 0 0 0,0 1-1 0 0,0 0 1 0 0,1-1 0 0 0,-1 1 0 0 0,0 0 0 0 0,0 0-1 0 0,0-1 1 0 0,0 1 0 0 0,0 0 0 0 0,0 0 0 0 0,1-1-1 0 0,-1 1 1 0 0,0 0 0 0 0,0 0 0 0 0,0 0 0 0 0,1-1-1 0 0,-1 1 1 0 0,0 0 0 0 0,0 0 0 0 0,0 0 0 0 0,1-1-1 0 0,-1 1 1 0 0,0 0 0 0 0,1 0 0 0 0,-1 0 0 0 0,5 12 277 0 0,3 34 38 0 0,-7-36-233 0 0,12 60 203 0 0,-2-17-634 0 0,5 79-1 0 0,-15-113-736 0 0,-1 0 0 0 0,-5 35-1 0 0,2-42-31 0 0,1 0 0 0 0,-2 0 0 0 0,0 0 0 0 0,0 0 0 0 0,-7 13 0 0 0,3-13-1621 0 0,2-2-713 0 0</inkml:trace>
</inkml:ink>
</file>

<file path=ppt/ink/ink2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47.41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407 1428 0 0,'1'-2'1137'0'0,"2"-6"-732"0"0,1 1 0 0 0,0 0 0 0 0,0 1 0 0 0,1-1 0 0 0,0 1 0 0 0,0-1 0 0 0,0 1 0 0 0,1 1 1 0 0,0-1-1 0 0,8-5 0 0 0,-2 2-126 0 0,0 2 0 0 0,1-1 1 0 0,0 2-1 0 0,1 0 0 0 0,15-6 0 0 0,6 2-786 0 0,0 2 0 0 0,1 0-1 0 0,63-3 1 0 0,-75 10-1451 0 0,-2-2-347 0 0</inkml:trace>
  <inkml:trace contextRef="#ctx0" brushRef="#br0" timeOffset="1">802 58 1600 0 0,'8'-58'7408'0'0,"-7"59"-7383"0"0,0-1 0 0 0,1 0-1 0 0,-1 1 1 0 0,0-1 0 0 0,0 1-1 0 0,0-1 1 0 0,0 1 0 0 0,0 0-1 0 0,0-1 1 0 0,0 1 0 0 0,0 0-1 0 0,0 0 1 0 0,0 0 0 0 0,0 0-1 0 0,-1-1 1 0 0,1 1 0 0 0,0 0-1 0 0,-1 0 1 0 0,1 1 0 0 0,0-1-1 0 0,-1 0 1 0 0,0 0 0 0 0,1 0-1 0 0,-1 0 1 0 0,1 2 0 0 0,9 36 350 0 0,-8-27-280 0 0,3 8-124 0 0,25 114 775 0 0,-28-119-1130 0 0,-1 1 1 0 0,0-1-1 0 0,0 1 1 0 0,-2-1-1 0 0,0 1 1 0 0,-5 25-1 0 0,-4-13-2892 0 0,2-18 804 0 0</inkml:trace>
</inkml:ink>
</file>

<file path=ppt/ink/ink2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47.79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5 200 848 0 0,'-2'-1'397'0'0,"0"-1"-1"0"0,0 0 1 0 0,0 1-1 0 0,0-1 0 0 0,0 0 1 0 0,0 0-1 0 0,0 0 1 0 0,1-1-1 0 0,-1 1 1 0 0,1 0-1 0 0,0 0 1 0 0,-2-5-1 0 0,3 6-327 0 0,0 0-1 0 0,-1 0 0 0 0,1 0 1 0 0,0 0-1 0 0,0-1 0 0 0,0 1 0 0 0,0 0 1 0 0,0 0-1 0 0,0 0 0 0 0,1 0 1 0 0,-1 0-1 0 0,0-1 0 0 0,1 1 1 0 0,-1 0-1 0 0,1 0 0 0 0,-1 0 0 0 0,1 0 1 0 0,-1 0-1 0 0,1 0 0 0 0,0 0 1 0 0,-1 0-1 0 0,1 0 0 0 0,0 0 1 0 0,0 1-1 0 0,0-1 0 0 0,-1 0 0 0 0,1 0 1 0 0,0 1-1 0 0,2-2 0 0 0,13-7 253 0 0,-1 1 0 0 0,1 0 0 0 0,33-10 0 0 0,56-11 215 0 0,-48 15-258 0 0,134-34 976 0 0,-188 47-1237 0 0,0 0 0 0 0,0 0-1 0 0,0 0 1 0 0,1 1 0 0 0,-1 0 0 0 0,0 0 0 0 0,0-1-1 0 0,0 2 1 0 0,0-1 0 0 0,0 0 0 0 0,0 1-1 0 0,0-1 1 0 0,0 1 0 0 0,0 0 0 0 0,0 0 0 0 0,0 0-1 0 0,0 0 1 0 0,0 1 0 0 0,0-1 0 0 0,-1 1-1 0 0,1 0 1 0 0,-1 0 0 0 0,1 0 0 0 0,-1 0 0 0 0,0 0-1 0 0,0 0 1 0 0,1 1 0 0 0,-2-1 0 0 0,1 1-1 0 0,0-1 1 0 0,0 1 0 0 0,-1 0 0 0 0,0-1 0 0 0,3 7-1 0 0,-2 0 56 0 0,1 0-1 0 0,-1 1 1 0 0,-1-1 0 0 0,0 1-1 0 0,0-1 1 0 0,-1 1-1 0 0,0 0 1 0 0,0-1-1 0 0,-4 17 1 0 0,-6 12 1424 0 0,10-36-739 0 0,-3 6 695 0 0,3-6-831 0 0,2-8-307 0 0,1 2-274 0 0,-1 1 0 0 0,1 1 0 0 0,0-1 0 0 0,0 0 0 0 0,0 1 1 0 0,0-1-1 0 0,0 1 0 0 0,0 0 0 0 0,7-3 0 0 0,-7 3-10 0 0,8-4-11 0 0,1 0 1 0 0,-1 1-1 0 0,1 0 1 0 0,0 0-1 0 0,1 1 1 0 0,-1 1-1 0 0,0 0 1 0 0,1 1-1 0 0,14-1 1 0 0,-23 3-142 0 0,1 0-1 0 0,0 0 1 0 0,0 1 0 0 0,0-1 0 0 0,0 1-1 0 0,0 0 1 0 0,0 0 0 0 0,-1 1-1 0 0,1-1 1 0 0,0 1 0 0 0,-1 0 0 0 0,0 0-1 0 0,1 1 1 0 0,-1-1 0 0 0,0 1 0 0 0,0 0-1 0 0,0 0 1 0 0,-1 0 0 0 0,1 1 0 0 0,-1-1-1 0 0,1 1 1 0 0,-1 0 0 0 0,-1 0-1 0 0,1 0 1 0 0,0 0 0 0 0,2 7 0 0 0,-3-6-423 0 0,0 1 0 0 0,0 0 0 0 0,-1 0 0 0 0,0 0 0 0 0,0 0 0 0 0,0 0 0 0 0,-1 0 0 0 0,0 0 0 0 0,0 0 0 0 0,-2 8 0 0 0,1 17-4242 0 0,1-22 3302 0 0</inkml:trace>
</inkml:ink>
</file>

<file path=ppt/ink/ink2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48.16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2 249 1288 0 0,'1'-2'745'0'0,"-1"0"0"0"0,1 0-1 0 0,0 0 1 0 0,0 0 0 0 0,0 1 0 0 0,0-1-1 0 0,0 0 1 0 0,2-2 0 0 0,14-2 183 0 0,30-5 0 0 0,-34 9-627 0 0,0-1-1 0 0,0-1 1 0 0,22-9-1 0 0,-30 10-256 0 0,-1 1-1 0 0,1-1 1 0 0,-1 0-1 0 0,0 0 1 0 0,0-1-1 0 0,0 1 1 0 0,0-1 0 0 0,-1 0-1 0 0,1 0 1 0 0,-1 0-1 0 0,0 0 1 0 0,0-1-1 0 0,3-7 1 0 0,-4 9-23 0 0,0 0-1 0 0,-1-1 1 0 0,0 1-1 0 0,0-1 1 0 0,0 1-1 0 0,0-1 1 0 0,0 1-1 0 0,-1-1 1 0 0,0 1-1 0 0,1-1 1 0 0,-1 0-1 0 0,-1 1 1 0 0,1-1-1 0 0,0 0 1 0 0,-1 1-1 0 0,0-1 1 0 0,0 1-1 0 0,-2-7 1 0 0,1 6 3 0 0,-1 0 1 0 0,1 1-1 0 0,-1-1 1 0 0,0 1-1 0 0,1-1 1 0 0,-1 1-1 0 0,-1 0 1 0 0,1 0-1 0 0,0 0 1 0 0,-1 1-1 0 0,0-1 1 0 0,1 1 0 0 0,-1 0-1 0 0,0 0 1 0 0,-7-3-1 0 0,3 3 52 0 0,0 0 1 0 0,0 0-1 0 0,1 1 0 0 0,-1 0 0 0 0,0 0 1 0 0,0 1-1 0 0,0 0 0 0 0,0 0 0 0 0,0 1 1 0 0,0 0-1 0 0,0 0 0 0 0,0 1 0 0 0,0 0 1 0 0,1 0-1 0 0,-1 1 0 0 0,1 0 0 0 0,-1 0 1 0 0,-6 5-1 0 0,9-5-48 0 0,1 0 0 0 0,-1-1 0 0 0,1 2 1 0 0,0-1-1 0 0,0 0 0 0 0,0 1 0 0 0,0 0 1 0 0,1 0-1 0 0,-1 0 0 0 0,1 0 0 0 0,0 1 0 0 0,0-1 1 0 0,1 1-1 0 0,-1 0 0 0 0,1 0 0 0 0,0 0 1 0 0,0 0-1 0 0,1 0 0 0 0,0 0 0 0 0,0 0 0 0 0,0 1 1 0 0,0-1-1 0 0,1 0 0 0 0,0 1 0 0 0,0-1 1 0 0,0 0-1 0 0,2 8 0 0 0,1 0-14 0 0,1 0-1 0 0,0-1 1 0 0,1 1-1 0 0,0-1 1 0 0,1 0-1 0 0,1-1 1 0 0,0 1-1 0 0,17 20 1 0 0,-11-16-1105 0 0,2-1 0 0 0,0 0 1 0 0,1-1-1 0 0,33 22 1 0 0,-34-27-1865 0 0,2-5-1035 0 0</inkml:trace>
</inkml:ink>
</file>

<file path=ppt/ink/ink2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49.49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45 1220 0 0,'3'-4'424'0'0,"-1"2"0"0"0,1-1 0 0 0,0 0-1 0 0,0 1 1 0 0,0-1 0 0 0,0 1 0 0 0,0 0 0 0 0,1 0 0 0 0,-1 0-1 0 0,7-2 1 0 0,-8 3-304 0 0,1 1-1 0 0,-1-1 1 0 0,1 1-1 0 0,-1 0 1 0 0,1 0-1 0 0,-1 0 1 0 0,1 0-1 0 0,0 0 1 0 0,-1 1-1 0 0,1-1 1 0 0,-1 1-1 0 0,1 0 1 0 0,-1 0-1 0 0,0 0 1 0 0,1 0-1 0 0,-1 0 1 0 0,3 2-1 0 0,5 3 118 0 0,0 2-1 0 0,0 0 0 0 0,-1 0 0 0 0,0 1 0 0 0,0 0 0 0 0,-1 0 0 0 0,0 1 0 0 0,0 0 0 0 0,7 15 1 0 0,-2-4 13 0 0,-2 1 0 0 0,-1 1 1 0 0,14 42-1 0 0,-19-50-133 0 0,-1 0 0 0 0,-1 0-1 0 0,-1 1 1 0 0,0-1 0 0 0,0 31-1 0 0,-2-41-73 0 0,0 0 0 0 0,-1 0 0 0 0,0 1 0 0 0,0-1-1 0 0,0 0 1 0 0,-1 0 0 0 0,0-1 0 0 0,0 1 0 0 0,0 0 0 0 0,0 0-1 0 0,-1-1 1 0 0,1 0 0 0 0,-1 1 0 0 0,0-1 0 0 0,-1 0 0 0 0,1 0-1 0 0,-1-1 1 0 0,0 1 0 0 0,0-1 0 0 0,0 0 0 0 0,-7 5 0 0 0,7-6 50 0 0,-1 1 1 0 0,0-1 0 0 0,1 0 0 0 0,-1 0 0 0 0,0-1 0 0 0,0 1 0 0 0,0-1 0 0 0,0 0 0 0 0,-1-1 0 0 0,-7 1 0 0 0,11-1-73 0 0,0 0-1 0 0,0 0 1 0 0,-1-1-1 0 0,2 1 0 0 0,-1-1 1 0 0,0 1-1 0 0,0-1 1 0 0,0 0-1 0 0,0 1 1 0 0,0-1-1 0 0,0 0 1 0 0,1 0-1 0 0,-1-1 0 0 0,0 1 1 0 0,1 0-1 0 0,-1-1 1 0 0,1 1-1 0 0,-1 0 1 0 0,1-1-1 0 0,0 0 0 0 0,0 1 1 0 0,0-1-1 0 0,0 0 1 0 0,0 1-1 0 0,0-1 1 0 0,0 0-1 0 0,0 0 0 0 0,1 0 1 0 0,-2-3-1 0 0,2 1-21 0 0,0 1 0 0 0,0-1 0 0 0,0 1 0 0 0,0 0 0 0 0,1-1 0 0 0,-1 1 0 0 0,1-1 0 0 0,0 1 0 0 0,0 0 0 0 0,0 0 0 0 0,0-1 0 0 0,0 1 0 0 0,1 0 0 0 0,0 0 0 0 0,-1 0 0 0 0,1 0 0 0 0,0 1 0 0 0,1-1 0 0 0,3-4 0 0 0,6-5-31 0 0,0 0 0 0 0,22-15 0 0 0,-3 4-112 0 0,2 2 0 0 0,0 2 1 0 0,39-17-1 0 0,112-38-578 0 0,-90 38 385 0 0,-56 23 245 0 0,-22 8 21 0 0,30-14 1 0 0,-35 11 282 0 0,-28 9-113 0 0,7 0-99 0 0,-1 2 1 0 0,1-1 0 0 0,-1 2 0 0 0,1-1 0 0 0,0 1-1 0 0,1 1 1 0 0,-18 10 0 0 0,24-13 1 0 0,0 0 0 0 0,1 0 0 0 0,-1 0 0 0 0,0 0 0 0 0,1 1 0 0 0,-1-1 0 0 0,1 1 0 0 0,0 0 0 0 0,0-1 0 0 0,0 1 0 0 0,0 0 0 0 0,0 0 0 0 0,1 0 0 0 0,0 1-1 0 0,-1-1 1 0 0,1 0 0 0 0,0 0 0 0 0,0 1 0 0 0,1-1 0 0 0,-1 1 0 0 0,1-1 0 0 0,0 1 0 0 0,0-1 0 0 0,0 1 0 0 0,0-1 0 0 0,0 0 0 0 0,1 1 0 0 0,0-1 0 0 0,0 4 0 0 0,0-4 6 0 0,0-2-2 0 0,-1 1 0 0 0,1-1 0 0 0,0 1 0 0 0,-1-1 1 0 0,1 1-1 0 0,0-1 0 0 0,0 1 0 0 0,0-1 0 0 0,0 0 0 0 0,0 1 1 0 0,0-1-1 0 0,1 0 0 0 0,-1 0 0 0 0,0 0 0 0 0,0 0 0 0 0,1 0 0 0 0,-1 0 1 0 0,1-1-1 0 0,-1 1 0 0 0,1 0 0 0 0,2 0 0 0 0,-1 1-23 0 0,1-1 0 0 0,-1 0 0 0 0,0 0 0 0 0,1 0-1 0 0,-1 0 1 0 0,1 0 0 0 0,-1-1 0 0 0,1 1 0 0 0,-1-1-1 0 0,1 0 1 0 0,0 0 0 0 0,-1 0 0 0 0,1-1 0 0 0,-1 1 0 0 0,1-1-1 0 0,-1 0 1 0 0,1 0 0 0 0,-1 0 0 0 0,0-1 0 0 0,1 1 0 0 0,3-3-1 0 0,4-3-73 0 0,1-1 0 0 0,-1 0-1 0 0,0-1 1 0 0,10-11 0 0 0,-7 6 110 0 0,-12 13 143 0 0,-2 16-58 0 0,-1-8-2 0 0,1 0 1 0 0,0 0-1 0 0,0 1 0 0 0,1-1 1 0 0,0 0-1 0 0,0 0 0 0 0,1 0 0 0 0,0 0 1 0 0,0 0-1 0 0,6 13 0 0 0,-5-15-28 0 0,0 0 1 0 0,0 0-1 0 0,1 0 0 0 0,-1-1 0 0 0,1 1 0 0 0,0-1 0 0 0,1 0 0 0 0,-1 0 1 0 0,1 0-1 0 0,-1 0 0 0 0,1-1 0 0 0,0 0 0 0 0,0 0 0 0 0,1 0 1 0 0,-1-1-1 0 0,11 4 0 0 0,-11-5-58 0 0,0 0 1 0 0,-1-1 0 0 0,1 0-1 0 0,0 0 1 0 0,0 0-1 0 0,0 0 1 0 0,-1-1-1 0 0,1 0 1 0 0,0 1-1 0 0,0-2 1 0 0,-1 1 0 0 0,1-1-1 0 0,-1 1 1 0 0,1-1-1 0 0,-1-1 1 0 0,0 1-1 0 0,0-1 1 0 0,0 1-1 0 0,0-1 1 0 0,0 0 0 0 0,5-6-1 0 0,0-1-84 0 0,-1 1 1 0 0,0-1-1 0 0,-1-1 0 0 0,0 0 1 0 0,0 0-1 0 0,-1 0 0 0 0,-1 0 0 0 0,6-16 1 0 0,25-103-267 0 0,-26 89 272 0 0,22-93 1673 0 0,-32 133-1531 0 0,-1 2-70 0 0,0 1 0 0 0,0-1 0 0 0,0 1 1 0 0,0-1-1 0 0,1 1 0 0 0,-1 0 0 0 0,0 0 0 0 0,1-1 0 0 0,0 1 0 0 0,-1 0 0 0 0,1 0 0 0 0,0 2 0 0 0,-1 39 82 0 0,1 0-1 0 0,8 46 1 0 0,-3-27-53 0 0,-4-51-121 0 0,2 21-1423 0 0,-2 0 0 0 0,0-1 0 0 0,-7 48 0 0 0,6-78 1378 0 0,0 0-1 0 0,0 0 1 0 0,0 0 0 0 0,0 1 0 0 0,-1-1 0 0 0,1 0-1 0 0,0 0 1 0 0,0 0 0 0 0,-1 0 0 0 0,1 0-1 0 0,-1 0 1 0 0,1 0 0 0 0,-1 0 0 0 0,0 0-1 0 0,1 0 1 0 0,-1 0 0 0 0,0 0 0 0 0,1 0-1 0 0,-1-1 1 0 0,0 1 0 0 0,0 0 0 0 0,0 0 0 0 0,0-1-1 0 0,0 1 1 0 0,0-1 0 0 0,0 1 0 0 0,0-1-1 0 0,0 1 1 0 0,0-1 0 0 0,0 1 0 0 0,0-1-1 0 0,0 0 1 0 0,-1 0 0 0 0,1 0 0 0 0,0 0-1 0 0,-2 0 1 0 0,3 0 150 0 0,-1 0-1 0 0,1-1 1 0 0,-1 1-1 0 0,1-1 1 0 0,-1 1-1 0 0,1-1 1 0 0,-1 1-1 0 0,1-1 1 0 0,0 1-1 0 0,-1-1 1 0 0,1 0-1 0 0,0 1 1 0 0,0-1-1 0 0,-1 1 1 0 0,1-1-1 0 0,0 0 1 0 0,0 1-1 0 0,0-1 1 0 0,0 0-1 0 0,0 1 1 0 0,0-1-1 0 0,0 0 1 0 0,0 1-1 0 0,0-1 1 0 0,0 0-1 0 0,0 1 1 0 0,0-1-1 0 0,0 0 1 0 0,0 1-1 0 0,1-1 1 0 0,-1 0-1 0 0,8-22 389 0 0,-4 17-360 0 0,1 0 0 0 0,0 1 1 0 0,0-1-1 0 0,0 1 0 0 0,1 0 0 0 0,0 0 0 0 0,0 1 0 0 0,0 0 1 0 0,0 0-1 0 0,12-5 0 0 0,10-4 189 0 0,35-10 1 0 0,-52 20-124 0 0,15-6 102 0 0,-2 0 166 0 0,1 0 0 0 0,0 2 0 0 0,0 1 0 0 0,1 1 0 0 0,34-2 0 0 0,-55 7-230 0 0,0 0 0 0 0,0 0 0 0 0,0 1 0 0 0,0 0 0 0 0,0 0 0 0 0,0 0 0 0 0,-1 1 1 0 0,1-1-1 0 0,0 1 0 0 0,-1 0 0 0 0,1 0 0 0 0,-1 1 0 0 0,0-1 0 0 0,1 1 0 0 0,-1 0 1 0 0,6 6-1 0 0,-6-4-52 0 0,0 0 1 0 0,0 0-1 0 0,-1 0 1 0 0,0 1 0 0 0,0-1-1 0 0,0 1 1 0 0,0-1-1 0 0,-1 1 1 0 0,0 0-1 0 0,0 0 1 0 0,-1 0 0 0 0,0 0-1 0 0,1 7 1 0 0,-1 0-93 0 0,0 0 1 0 0,-1 0-1 0 0,0-1 1 0 0,-1 1 0 0 0,-3 14-1 0 0,2-19-577 0 0,0 0 1 0 0,-1-1-1 0 0,-5 14 0 0 0,6-16-326 0 0,-1-1-1 0 0,1 0 1 0 0,-1 1-1 0 0,0-1 1 0 0,-1 0-1 0 0,-5 6 1 0 0,-1-3-2914 0 0</inkml:trace>
</inkml:ink>
</file>

<file path=ppt/ink/ink2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50.69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 155 2188 0 0,'-6'-77'6877'0'0,"4"31"-5448"0"0,2 45-1499 0 0,1 0 0 0 0,-1 0 0 0 0,1 0 1 0 0,-1 0-1 0 0,1 1 0 0 0,0-1 0 0 0,-1 0 0 0 0,1 0 0 0 0,0 1 0 0 0,-1-1 0 0 0,1 1 0 0 0,0-1 0 0 0,0 0 0 0 0,0 1 0 0 0,0-1 0 0 0,-1 1 0 0 0,1 0 0 0 0,0-1 0 0 0,0 1 0 0 0,0 0 0 0 0,0-1 0 0 0,0 1 1 0 0,0 0-1 0 0,0 0 0 0 0,0 0 0 0 0,0 0 0 0 0,0 0 0 0 0,0 0 0 0 0,0 0 0 0 0,0 0 0 0 0,0 0 0 0 0,1 1 0 0 0,27 4-1250 0 0,-1 2-1 0 0,35 11 0 0 0,-46-12 1650 0 0,1 2 0 0 0,-1-1 0 0 0,0 2 0 0 0,27 19 0 0 0,-36-22 161 0 0,0 1 1 0 0,0 0-1 0 0,-1 1 1 0 0,0 0-1 0 0,-1 0 1 0 0,11 18 0 0 0,-2-1 457 0 0,10 31 0 0 0,-6-13 0 0 0,-18-41-431 0 0,4 5 1354 0 0,1-17-1848 0 0,1 1-1 0 0,0 0 1 0 0,0 0 0 0 0,1 1 0 0 0,0 0 0 0 0,1 0 0 0 0,-1 1 0 0 0,2 0 0 0 0,-1 1 0 0 0,1-1-1 0 0,14-5 1 0 0,-21 10-34 0 0,-1 1 0 0 0,1 0 0 0 0,0 1 0 0 0,0-1 0 0 0,0 0 0 0 0,0 1 0 0 0,-1 0 0 0 0,1-1 0 0 0,0 1 0 0 0,0 0 0 0 0,0 1 0 0 0,0-1-1 0 0,0 0 1 0 0,0 1 0 0 0,0 0 0 0 0,-1-1 0 0 0,1 1 0 0 0,0 0 0 0 0,0 1 0 0 0,-1-1 0 0 0,1 0 0 0 0,-1 1 0 0 0,1-1 0 0 0,3 5 0 0 0,6 7-6 0 0,0 0 1 0 0,-1 1-1 0 0,-1 1 1 0 0,0 0 0 0 0,-1 0-1 0 0,8 20 1 0 0,23 36 309 0 0,-39-70-270 0 0,0 0 0 0 0,1 1 0 0 0,-1-1 0 0 0,0 0 0 0 0,0 0 0 0 0,0 0 0 0 0,1-1 0 0 0,-1 1 0 0 0,1 0 0 0 0,-1 0 0 0 0,0-1 0 0 0,1 1 0 0 0,-1-1 0 0 0,1 1 0 0 0,0-1 0 0 0,-1 0 0 0 0,1 0 0 0 0,1 1 0 0 0,25-4 123 0 0,-22 1-142 0 0,1-1 1 0 0,-1 1-1 0 0,0-2 0 0 0,0 1 0 0 0,0-1 1 0 0,0 1-1 0 0,-1-1 0 0 0,1-1 0 0 0,-1 1 0 0 0,0-1 1 0 0,0 0-1 0 0,7-11 0 0 0,-1 1-70 0 0,-1-1-1 0 0,0 0 1 0 0,10-24-1 0 0,-3-4 18 0 0,18-69-1 0 0,-29 89-13 0 0,-4 6-72 0 0,-2 18 132 0 0,0 0 0 0 0,0 0 0 0 0,0-1 0 0 0,0 1 0 0 0,0 0 0 0 0,0 0 1 0 0,0 0-1 0 0,0 0 0 0 0,-1 0 0 0 0,1-1 0 0 0,0 1 0 0 0,0 0 0 0 0,0 0 0 0 0,0 0 1 0 0,0 0-1 0 0,0 0 0 0 0,-1 0 0 0 0,1-1 0 0 0,0 1 0 0 0,0 0 0 0 0,0 0 0 0 0,0 0 0 0 0,0 0 1 0 0,-1 0-1 0 0,1 0 0 0 0,0 0 0 0 0,0 0 0 0 0,0 0 0 0 0,-1 0 0 0 0,1 0 0 0 0,0 0 1 0 0,0 0-1 0 0,0 0 0 0 0,0 0 0 0 0,-1 0 0 0 0,1 0 0 0 0,0 0 0 0 0,0 0 0 0 0,0 0 0 0 0,0 0 1 0 0,-1 0-1 0 0,1 1 0 0 0,-2 0-6 0 0,1 0 0 0 0,0 0 0 0 0,-1 0 1 0 0,1 0-1 0 0,0 1 0 0 0,-1-1 0 0 0,1 1 0 0 0,0-1 0 0 0,0 1 1 0 0,0-1-1 0 0,0 1 0 0 0,0 0 0 0 0,1 0 0 0 0,-2 1 0 0 0,-9 36 123 0 0,2 0-1 0 0,-8 75 0 0 0,11-65 110 0 0,-15 59 0 0 0,18-97-199 0 0,-1 7 72 0 0,-2 0-1 0 0,-12 30 1 0 0,16-44-72 0 0,0 0 1 0 0,0 0-1 0 0,0-1 1 0 0,-1 1-1 0 0,1-1 0 0 0,-1 1 1 0 0,0-1-1 0 0,0 0 1 0 0,0 0-1 0 0,-1 0 0 0 0,1 0 1 0 0,-1-1-1 0 0,1 1 1 0 0,-1-1-1 0 0,0 0 1 0 0,0 0-1 0 0,-4 1 0 0 0,6-2-17 0 0,1 0-1 0 0,-1 0 0 0 0,0-1 0 0 0,1 1 0 0 0,-1-1 0 0 0,0 0 0 0 0,0 0 0 0 0,1 1 0 0 0,-1-1 1 0 0,0 0-1 0 0,0 0 0 0 0,0-1 0 0 0,1 1 0 0 0,-1 0 0 0 0,0 0 0 0 0,0-1 0 0 0,1 1 0 0 0,-1-1 1 0 0,0 0-1 0 0,1 1 0 0 0,-1-1 0 0 0,1 0 0 0 0,-1 0 0 0 0,1 0 0 0 0,-1 0 0 0 0,1 0 0 0 0,0-1 1 0 0,-1 1-1 0 0,1 0 0 0 0,0-1 0 0 0,0 1 0 0 0,0 0 0 0 0,0-1 0 0 0,0 1 0 0 0,0-1 0 0 0,0 0 1 0 0,1 1-1 0 0,-2-4 0 0 0,1-1-38 0 0,0 0 0 0 0,0 0 1 0 0,0-1-1 0 0,1 1 0 0 0,-1 0 1 0 0,2 0-1 0 0,-1 0 0 0 0,1 0 0 0 0,2-11 1 0 0,5-12-70 0 0,2 1 0 0 0,0 0 0 0 0,17-30 0 0 0,48-76-88 0 0,-40 76 343 0 0,28-65-1 0 0,-63 122-151 0 0,0 0-1 0 0,1-1 0 0 0,-1 1 0 0 0,0 0 0 0 0,0-1 0 0 0,0 1 0 0 0,0 0 0 0 0,0-1 0 0 0,0 1 0 0 0,0 0 1 0 0,0-1-1 0 0,0 1 0 0 0,-1 0 0 0 0,1 0 0 0 0,0-1 0 0 0,-1 1 0 0 0,1 0 0 0 0,-1 0 0 0 0,-1-2 0 0 0,1 2 1 0 0,0-1-1 0 0,0 1 1 0 0,-1 0-1 0 0,1 0 1 0 0,-1 0-1 0 0,1 0 1 0 0,-1 0-1 0 0,1 1 1 0 0,-1-1-1 0 0,1 0 1 0 0,-1 1-1 0 0,0-1 0 0 0,0 1 1 0 0,1-1-1 0 0,-1 1 1 0 0,0 0-1 0 0,1 0 1 0 0,-1 0-1 0 0,0 0 1 0 0,0 0-1 0 0,1 0 1 0 0,-1 0-1 0 0,0 1 1 0 0,0-1-1 0 0,-2 2 0 0 0,2-2-19 0 0,0 0 0 0 0,1 0 0 0 0,-1 1-1 0 0,0-1 1 0 0,1 1 0 0 0,-1 0 0 0 0,0-1-1 0 0,1 1 1 0 0,-1 0 0 0 0,1 0 0 0 0,-1 0-1 0 0,1 0 1 0 0,-1 0 0 0 0,1 1 0 0 0,0-1-1 0 0,-1 0 1 0 0,1 1 0 0 0,0-1 0 0 0,0 0-1 0 0,0 1 1 0 0,0 0 0 0 0,0-1 0 0 0,1 1-1 0 0,-1-1 1 0 0,0 1 0 0 0,1 0 0 0 0,-1 0-1 0 0,1-1 1 0 0,-1 1 0 0 0,1 0 0 0 0,0 0-1 0 0,0-1 1 0 0,0 1 0 0 0,0 0 0 0 0,0 0-1 0 0,1 2 1 0 0,0 0-92 0 0,0 1 0 0 0,0-1 1 0 0,0 1-1 0 0,1-1 0 0 0,0 1 0 0 0,-1-1 0 0 0,2 0 0 0 0,-1 0 0 0 0,0 0 0 0 0,1 0 1 0 0,0 0-1 0 0,0-1 0 0 0,5 5 0 0 0,0-1-46 0 0,0 0 0 0 0,0-1 1 0 0,1 0-1 0 0,0-1 0 0 0,1 0 0 0 0,-1 0 0 0 0,1-1 1 0 0,0 0-1 0 0,0-1 0 0 0,0 0 0 0 0,0 0 0 0 0,1-1 1 0 0,-1-1-1 0 0,1 0 0 0 0,-1 0 0 0 0,1-1 1 0 0,-1 0-1 0 0,13-2 0 0 0,-4-1 246 0 0,-1-1-1 0 0,0-1 1 0 0,0-1-1 0 0,0 0 1 0 0,0-1-1 0 0,-1-1 1 0 0,-1-1-1 0 0,1 0 1 0 0,20-16-1 0 0,-32 22 34 0 0,-1 1-75 0 0,-1 0-1 0 0,1 0 0 0 0,-1-1 0 0 0,0 1 1 0 0,0-1-1 0 0,4-3 0 0 0,-1 7-36 0 0,-5-1-10 0 0,-1 0-1 0 0,1 0 0 0 0,-1 0 0 0 0,0 0 1 0 0,1 0-1 0 0,-1 0 0 0 0,1 0 0 0 0,-1 0 1 0 0,1 0-1 0 0,-1 0 0 0 0,1 0 0 0 0,-1 0 1 0 0,1 0-1 0 0,-1 0 0 0 0,1 1 0 0 0,-1-1 1 0 0,0 0-1 0 0,1 0 0 0 0,-1 1 0 0 0,1-1 1 0 0,-1 0-1 0 0,0 0 0 0 0,1 1 0 0 0,-1-1 1 0 0,0 0-1 0 0,1 1 0 0 0,-1-1 0 0 0,1 1 1 0 0,4 25 199 0 0,-1 1 1 0 0,2 53 0 0 0,-10 58 481 0 0,4-128-578 0 0,-1 0-1 0 0,0 0 1 0 0,-1 1 0 0 0,-4 13 0 0 0,5-21-101 0 0,0-1 1 0 0,0 1-1 0 0,0-1 1 0 0,0 1-1 0 0,0-1 1 0 0,-1 0-1 0 0,1 1 1 0 0,-1-1-1 0 0,1 0 1 0 0,-1 0-1 0 0,0 0 1 0 0,0 0 0 0 0,0 0-1 0 0,0 0 1 0 0,0-1-1 0 0,-1 1 1 0 0,1-1-1 0 0,0 0 1 0 0,-1 1-1 0 0,1-1 1 0 0,-1 0-1 0 0,1 0 1 0 0,-4 0-1 0 0,3 0-105 0 0,1-1-1 0 0,-1 0 0 0 0,0 1 0 0 0,1-1 1 0 0,-1 0-1 0 0,0-1 0 0 0,1 1 0 0 0,-1 0 1 0 0,1-1-1 0 0,-1 1 0 0 0,1-1 1 0 0,-1 0-1 0 0,1 0 0 0 0,-1 0 0 0 0,1 0 1 0 0,0 0-1 0 0,0-1 0 0 0,-1 1 1 0 0,1-1-1 0 0,0 1 0 0 0,0-1 0 0 0,-2-2 1 0 0,2 1-89 0 0,-1-1 1 0 0,1 1-1 0 0,0-1 1 0 0,0 1-1 0 0,0-1 1 0 0,1 0 0 0 0,-1 0-1 0 0,1 1 1 0 0,0-1-1 0 0,0 0 1 0 0,0 0-1 0 0,1 0 1 0 0,-1 0 0 0 0,1-7-1 0 0,0-71 1328 0 0,0 81-1128 0 0,0 1 1 0 0,-1-1-1 0 0,1 0 1 0 0,0 1-1 0 0,-1-1 1 0 0,1 1-1 0 0,0-1 1 0 0,-1 1-1 0 0,1-1 1 0 0,-1 1-1 0 0,1-1 1 0 0,-1 1-1 0 0,1-1 1 0 0,-1 1-1 0 0,1 0 1 0 0,-1-1-1 0 0,1 1 1 0 0,-1 0-1 0 0,1-1 0 0 0,-1 1 1 0 0,0 0-1 0 0,1 0 1 0 0,-1-1-1 0 0,0 1 1 0 0,1 0-1 0 0,-1 0 1 0 0,1 0-1 0 0,-1 0 1 0 0,0 0-1 0 0,1 0 1 0 0,-1 0-1 0 0,0 0 1 0 0,1 0-1 0 0,-1 1 1 0 0,0-1-1 0 0,0 0 1 0 0,-25 6 123 0 0,18-1-243 0 0,0 0 0 0 0,0 0 0 0 0,1 1 0 0 0,-9 9-1 0 0,-24 28-3772 0 0,36-39 3187 0 0,-11 13-2015 0 0</inkml:trace>
</inkml:ink>
</file>

<file path=ppt/ink/ink2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52.78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 54 1628 0 0,'-1'-10'3778'0'0,"2"8"-3680"0"0,-1 1 0 0 0,1 0 0 0 0,0 0 0 0 0,0 0-1 0 0,0 0 1 0 0,0 0 0 0 0,0 0 0 0 0,0 0 0 0 0,0 0-1 0 0,0 0 1 0 0,0 1 0 0 0,1-1 0 0 0,-1 0 0 0 0,0 1-1 0 0,0-1 1 0 0,1 1 0 0 0,-1-1 0 0 0,0 1 0 0 0,1 0-1 0 0,-1-1 1 0 0,1 1 0 0 0,1 0 0 0 0,41-4 843 0 0,-38 3-729 0 0,40-2 460 0 0,279-12 1315 0 0,-318 15-1929 0 0,42-3-650 0 0,-46 2 451 0 0,0 1-175 0 0,0 0 0 0 0,0 0 0 0 0,0 1 0 0 0,1-1-1 0 0,-1 0 1 0 0,0 1 0 0 0,0 0 0 0 0,0 0 0 0 0,5 2 0 0 0,-3 10-4912 0 0</inkml:trace>
</inkml:ink>
</file>

<file path=ppt/ink/ink2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53.77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47 55 96 0 0,'-4'-28'3135'0'0,"4"27"-3041"0"0,0 0 1 0 0,-1-1 0 0 0,1 1-1 0 0,-1 0 1 0 0,1 0 0 0 0,-1 0-1 0 0,0 0 1 0 0,1 0 0 0 0,-1-1-1 0 0,0 1 1 0 0,0 0 0 0 0,0 1-1 0 0,0-1 1 0 0,0 0 0 0 0,0 0-1 0 0,0 0 1 0 0,0 1 0 0 0,0-1-1 0 0,0 0 1 0 0,0 1-1 0 0,-2-1 1 0 0,-6-1 64 0 0,0 1 1 0 0,0 0-1 0 0,-1 0 0 0 0,1 1 1 0 0,0 0-1 0 0,-1 1 0 0 0,-14 3 0 0 0,21-4-136 0 0,-1 1-1 0 0,0-1 1 0 0,1 1-1 0 0,-1 0 0 0 0,1 0 1 0 0,-1 1-1 0 0,1-1 1 0 0,0 1-1 0 0,0 0 0 0 0,0-1 1 0 0,-1 1-1 0 0,2 1 1 0 0,-1-1-1 0 0,0 0 0 0 0,0 1 1 0 0,1-1-1 0 0,-1 1 1 0 0,1 0-1 0 0,0 0 0 0 0,0 0 1 0 0,0 0-1 0 0,0 0 1 0 0,1 1-1 0 0,-2 3 0 0 0,2-3 8 0 0,1 0 1 0 0,0 0-1 0 0,-1 0 0 0 0,2 0 0 0 0,-1 0 0 0 0,0 0 0 0 0,1 0 1 0 0,0 0-1 0 0,0 0 0 0 0,0 0 0 0 0,0-1 0 0 0,1 1 0 0 0,-1 0 1 0 0,1 0-1 0 0,0-1 0 0 0,0 1 0 0 0,1-1 0 0 0,-1 0 0 0 0,4 4 1 0 0,6 7 129 0 0,2 0 0 0 0,26 21 0 0 0,-23-21-75 0 0,187 154 352 0 0,-201-166-428 0 0,1 2 50 0 0,1-1-1 0 0,0 1 1 0 0,-1 1-1 0 0,0-1 0 0 0,0 0 1 0 0,0 1-1 0 0,3 5 1 0 0,-7-8 5 0 0,-1-2-55 0 0,0 1-1 0 0,0 0 1 0 0,0 0-1 0 0,0-1 1 0 0,0 1 0 0 0,-1-1-1 0 0,1 1 1 0 0,0-1-1 0 0,-1 0 1 0 0,1 1-1 0 0,0-1 1 0 0,-1 0-1 0 0,1 0 1 0 0,0 0 0 0 0,-1 0-1 0 0,1 0 1 0 0,0 0-1 0 0,-1 0 1 0 0,1-1-1 0 0,-2 1 1 0 0,-30-5 72 0 0,33 5-80 0 0,-24-5 82 0 0,1-1 0 0 0,-42-15-1 0 0,56 17-115 0 0,0 0 0 0 0,0-1 0 0 0,1 0-1 0 0,-1 0 1 0 0,1-1 0 0 0,0 0 0 0 0,1 0 0 0 0,0-1-1 0 0,-11-12 1 0 0,15 14-71 0 0,0-1 1 0 0,1 1-1 0 0,0-1 0 0 0,0 1 0 0 0,0-1 0 0 0,1 0 0 0 0,0 1 1 0 0,0-1-1 0 0,0 0 0 0 0,1 0 0 0 0,0 0 0 0 0,0 0 0 0 0,1 0 1 0 0,1-10-1 0 0,-2 15 276 0 0,-7 10 331 0 0,-130 215 2214 0 0,72-110-2595 0 0,62-110-224 0 0,-1 3-721 0 0,0 0-1 0 0,0 0 1 0 0,0 1-1 0 0,-3 10 0 0 0,10-6-3981 0 0</inkml:trace>
</inkml:ink>
</file>

<file path=ppt/ink/ink2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54.09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8 716 0 0,'4'-2'599'0'0,"0"-1"-1"0"0,0 1 1 0 0,0 0 0 0 0,0 1-1 0 0,0-1 1 0 0,0 1 0 0 0,0-1-1 0 0,0 1 1 0 0,6 0 0 0 0,-8 1-463 0 0,1 0-1 0 0,-1 0 1 0 0,0 1 0 0 0,0-1 0 0 0,0 0 0 0 0,0 1 0 0 0,0 0 0 0 0,0-1 0 0 0,0 1 0 0 0,0 0 0 0 0,0 0 0 0 0,0 0 0 0 0,0 0-1 0 0,-1 1 1 0 0,1-1 0 0 0,0 0 0 0 0,-1 1 0 0 0,1-1 0 0 0,-1 1 0 0 0,3 3 0 0 0,4 6 63 0 0,0 1 0 0 0,-1 1 0 0 0,0-1 0 0 0,-1 1 0 0 0,8 23 0 0 0,15 69-1204 0 0,-28-100 848 0 0,1 6-997 0 0,-1 0 1 0 0,0 0 0 0 0,-1 15-1 0 0,0-22 593 0 0,0 7-1449 0 0</inkml:trace>
</inkml:ink>
</file>

<file path=ppt/ink/ink2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54.45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8 36 0 0,'0'0'252'0'0,"0"-9"160"0"0,4 0-472 0 0</inkml:trace>
</inkml:ink>
</file>

<file path=ppt/ink/ink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2:30.29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1 371 720 0 0,'1'0'297'0'0,"1"-1"157"0"0,0 0-1 0 0,0 1 1 0 0,1-1 0 0 0,-1 1 0 0 0,0-1 0 0 0,1 1 0 0 0,-1 0 0 0 0,0-1-1 0 0,1 1 1 0 0,-1 0 0 0 0,1 1 0 0 0,-1-1 0 0 0,0 0 0 0 0,1 1 0 0 0,-1-1-1 0 0,0 1 1 0 0,4 1 0 0 0,-3 2-189 0 0,0-1 1 0 0,0 1-1 0 0,0 0 0 0 0,0-1 1 0 0,-1 1-1 0 0,0 1 0 0 0,1-1 0 0 0,-1 0 1 0 0,-1 0-1 0 0,1 1 0 0 0,-1-1 1 0 0,1 6-1 0 0,2 10-363 0 0,1 33 0 0 0,-2-8-6032 0 0,-1-32 2225 0 0</inkml:trace>
  <inkml:trace contextRef="#ctx0" brushRef="#br0" timeOffset="1">57 209 684 0 0,'-6'-18'2064'0'0,"-2"-1"-584"0"0,2 4-227 0 0,0-1-209 0 0,0 2-128 0 0,0-1-112 0 0,2 3-96 0 0,-2-1-220 0 0,2 0-112 0 0,2 3-216 0 0,0-8-608 0 0,8 1-1012 0 0,10 3-1857 0 0,-6 7 969 0 0</inkml:trace>
  <inkml:trace contextRef="#ctx0" brushRef="#br0" timeOffset="2">347 1 1880 0 0,'21'60'7133'0'0,"-1"37"-3129"0"0,-7-31-2669 0 0,24 149-68 0 0,-32-123-10844 0 0</inkml:trace>
</inkml:ink>
</file>

<file path=ppt/ink/ink2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54.81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432 0 0,'12'11'572'0'0,"0"0"0"0"0,-2 1-1 0 0,1 1 1 0 0,-2-1 0 0 0,1 2 0 0 0,-2 0-1 0 0,13 26 1 0 0,-12-18 31 0 0,-2 0 1 0 0,0 0-1 0 0,-1 1 0 0 0,4 41 1 0 0,-5-32-267 0 0,2 35 6151 0 0,-8-69-6431 0 0,-1 0 0 0 0,1 0 0 0 0,0 0 1 0 0,-1 0-1 0 0,1-1 0 0 0,0 1 0 0 0,0 0 0 0 0,0-1 0 0 0,1 1 0 0 0,-1-1 0 0 0,1 1 1 0 0,-1-5-1 0 0,0-6-41 0 0,0 0 0 0 0,1 0 0 0 0,1 0 0 0 0,0 0 0 0 0,4-15 0 0 0,-3 21-56 0 0,-1 1 1 0 0,2-1 0 0 0,-1 1-1 0 0,1 0 1 0 0,0 0 0 0 0,0 0 0 0 0,0 0-1 0 0,1 1 1 0 0,0-1 0 0 0,0 1 0 0 0,1 0-1 0 0,4-5 1 0 0,-7 8 25 0 0,0 1 0 0 0,0-1 0 0 0,0 1-1 0 0,0 0 1 0 0,0-1 0 0 0,0 1 0 0 0,0 0 0 0 0,1 0-1 0 0,-1 0 1 0 0,0 0 0 0 0,1 1 0 0 0,-1-1 0 0 0,1 1 0 0 0,-1-1-1 0 0,0 1 1 0 0,1 0 0 0 0,-1 0 0 0 0,4 0 0 0 0,-2 1-3 0 0,-1 0 0 0 0,1 0 0 0 0,0 0 0 0 0,-1 0 0 0 0,1 1 0 0 0,-1 0 0 0 0,1-1 0 0 0,-1 1 0 0 0,0 0-1 0 0,5 5 1 0 0,0-1-10 0 0,-2 0 0 0 0,1 1 0 0 0,-1 0 0 0 0,0 1 0 0 0,-1-1 0 0 0,1 1 0 0 0,-1 0 0 0 0,4 12 0 0 0,2-2 335 0 0,-8-14 204 0 0,-5-10-324 0 0,2 3-173 0 0,-1-1-1 0 0,1 1 1 0 0,0-1 0 0 0,0 1-1 0 0,0-1 1 0 0,1 1 0 0 0,-1-1-1 0 0,1 1 1 0 0,0-1 0 0 0,0 1-1 0 0,0-1 1 0 0,3-5 0 0 0,0 0-14 0 0,0 0 0 0 0,1 1 0 0 0,0 0 0 0 0,0-1 0 0 0,1 2 0 0 0,0-1 0 0 0,1 1 0 0 0,0 0 0 0 0,0 0 0 0 0,14-10 0 0 0,-12 10-22 0 0,2 0 1 0 0,-1 0-1 0 0,1 2 1 0 0,0-1-1 0 0,0 1 1 0 0,1 1-1 0 0,22-7 0 0 0,-30 10 21 0 0,0 0-1 0 0,0 1 1 0 0,0-1-1 0 0,0 1 0 0 0,0 0 1 0 0,0 0-1 0 0,0 0 0 0 0,0 0 1 0 0,0 1-1 0 0,0-1 0 0 0,0 1 1 0 0,0 0-1 0 0,-1 0 1 0 0,1 1-1 0 0,0-1 0 0 0,-1 1 1 0 0,1 0-1 0 0,-1 0 0 0 0,1 0 1 0 0,-1 0-1 0 0,0 1 1 0 0,0-1-1 0 0,0 1 0 0 0,0 0 1 0 0,0 0-1 0 0,-1 0 0 0 0,1 0 1 0 0,-1 0-1 0 0,0 0 0 0 0,0 1 1 0 0,0-1-1 0 0,0 1 1 0 0,2 7-1 0 0,1 5-232 0 0,-1 1 1 0 0,0 0-1 0 0,-1 0 1 0 0,-1 0-1 0 0,-1 0 1 0 0,-1 21-1 0 0,0 51-7158 0 0,10-81 3314 0 0</inkml:trace>
</inkml:ink>
</file>

<file path=ppt/ink/ink2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55.32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17 1104 0 0,'22'-18'4244'0'0,"-18"18"-3645"0"0,-2 1-455 0 0,1 0-1 0 0,-1 0 1 0 0,0 0 0 0 0,1 0-1 0 0,-1 1 1 0 0,0-1 0 0 0,0 0-1 0 0,0 1 1 0 0,0 0-1 0 0,0-1 1 0 0,0 1 0 0 0,0 0-1 0 0,-1 0 1 0 0,1 0 0 0 0,-1 0-1 0 0,1 1 1 0 0,-1-1-1 0 0,0 0 1 0 0,0 0 0 0 0,1 4-1 0 0,4 9 488 0 0,0 1 0 0 0,3 19 0 0 0,-3-9-112 0 0,34 142 1593 0 0,-40-167-2041 0 0,0 0 0 0 0,0-1 0 0 0,1 1 0 0 0,-1-1 0 0 0,0 1 0 0 0,0 0 1 0 0,0-1-1 0 0,0 1 0 0 0,0 0 0 0 0,0-1 0 0 0,0 1 0 0 0,0-1 0 0 0,0 1 1 0 0,0 0-1 0 0,0-1 0 0 0,0 1 0 0 0,-1 0 0 0 0,1-1 0 0 0,-1 2 0 0 0,-7-4 318 0 0,-8-12-256 0 0,10 6-168 0 0,1 0 0 0 0,0-1 1 0 0,0 0-1 0 0,1 0 0 0 0,0 0 1 0 0,1 0-1 0 0,0-1 0 0 0,0 0 1 0 0,1 1-1 0 0,0-1 0 0 0,1 0 0 0 0,0 0 1 0 0,1-17-1 0 0,1 9-256 0 0,0 1 0 0 0,2 0 0 0 0,0 0 0 0 0,1 0 0 0 0,0 0 0 0 0,14-32 1 0 0,-11 35 149 0 0,0 1 1 0 0,1-1-1 0 0,0 1 1 0 0,1 1 0 0 0,1 0-1 0 0,0 0 1 0 0,0 1-1 0 0,1 0 1 0 0,1 1 0 0 0,0 0-1 0 0,0 1 1 0 0,1 0-1 0 0,0 1 1 0 0,0 0 0 0 0,29-11-1 0 0,-38 18 117 0 0,0 0-1 0 0,0 0 0 0 0,0 1 1 0 0,0-1-1 0 0,0 1 1 0 0,1 0-1 0 0,-1 0 0 0 0,0 0 1 0 0,0 0-1 0 0,0 1 1 0 0,0 0-1 0 0,0-1 0 0 0,1 2 1 0 0,-1-1-1 0 0,-1 0 1 0 0,1 1-1 0 0,0 0 0 0 0,6 4 1 0 0,-8-5 22 0 0,-1 0 0 0 0,1 0 1 0 0,-1 1-1 0 0,0-1 0 0 0,1 0 1 0 0,-1 1-1 0 0,0 0 0 0 0,0-1 1 0 0,0 1-1 0 0,0 0 0 0 0,0-1 1 0 0,0 1-1 0 0,-1 0 0 0 0,1 0 0 0 0,0 0 1 0 0,0 3-1 0 0,-1-3 10 0 0,0 1 0 0 0,0 0 0 0 0,-1-1 1 0 0,1 1-1 0 0,0 0 0 0 0,-1-1 0 0 0,0 1 0 0 0,1-1 0 0 0,-1 1 0 0 0,0-1 1 0 0,-1 1-1 0 0,1-1 0 0 0,0 0 0 0 0,0 0 0 0 0,-3 3 0 0 0,-2 3 13 0 0,-1-1 1 0 0,0 0-1 0 0,0 0 0 0 0,0-1 0 0 0,-1 0 0 0 0,0 0 0 0 0,-14 8 1 0 0,-2-2 162 0 0,-40 16 1 0 0,19-16-2309 0 0</inkml:trace>
  <inkml:trace contextRef="#ctx0" brushRef="#br0" timeOffset="1">606 7 788 0 0,'27'-6'3339'0'0,"-21"6"-1161"0"0,-4 1-1888 0 0,0 1 1 0 0,1 0 0 0 0,-1 0 0 0 0,0 0 0 0 0,0 0-1 0 0,0 0 1 0 0,0 0 0 0 0,0 1 0 0 0,-1-1-1 0 0,1 1 1 0 0,-1-1 0 0 0,1 1 0 0 0,-1 0 0 0 0,1 3-1 0 0,17 51 1565 0 0,-13-39-1477 0 0,12 36 218 0 0,-6-23-521 0 0,-2-1 0 0 0,-2 1 0 0 0,0 1 0 0 0,5 53 1 0 0,-13-1-3123 0 0,-1-43-3056 0 0</inkml:trace>
</inkml:ink>
</file>

<file path=ppt/ink/ink2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55.87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 200 1132 0 0,'3'-2'1404'0'0,"19"-11"1973"0"0,48-20 0 0 0,5-2-2669 0 0,-66 30-625 0 0,-1-1 0 0 0,1 1 0 0 0,9-11 0 0 0,-15 14-57 0 0,0 0-1 0 0,-1-1 0 0 0,1 0 0 0 0,-1 0 0 0 0,0 1 0 0 0,0-1 1 0 0,0-1-1 0 0,0 1 0 0 0,0 0 0 0 0,-1 0 0 0 0,1-1 0 0 0,0-3 1 0 0,-2 6-23 0 0,0-1 1 0 0,0 1 0 0 0,0-1 0 0 0,0 1 0 0 0,0 0-1 0 0,0-1 1 0 0,-1 1 0 0 0,1-1 0 0 0,0 1 0 0 0,-1-1-1 0 0,1 1 1 0 0,-1 0 0 0 0,0-1 0 0 0,1 1 0 0 0,-1 0-1 0 0,0 0 1 0 0,0-1 0 0 0,0 1 0 0 0,0 0-1 0 0,0 0 1 0 0,0 0 0 0 0,0 0 0 0 0,0 0 0 0 0,0 0-1 0 0,-1 1 1 0 0,1-1 0 0 0,0 0 0 0 0,-1 0 0 0 0,1 1-1 0 0,0-1 1 0 0,-1 1 0 0 0,1 0 0 0 0,-1-1 0 0 0,1 1-1 0 0,-3 0 1 0 0,-6-2 52 0 0,0 0 0 0 0,0 1-1 0 0,-17 0 1 0 0,26 1-37 0 0,-9 0 51 0 0,0 1 0 0 0,0 0 0 0 0,0 0-1 0 0,0 1 1 0 0,1 1 0 0 0,-1-1 0 0 0,0 1-1 0 0,-11 6 1 0 0,17-7-29 0 0,0 0 0 0 0,1 0 0 0 0,-1 0 0 0 0,1 1 0 0 0,-1-1 0 0 0,1 1 0 0 0,0-1 1 0 0,0 1-1 0 0,0 0 0 0 0,1 0 0 0 0,-1 0 0 0 0,1 1 0 0 0,0-1 0 0 0,-1 1 0 0 0,2-1 0 0 0,-1 1 0 0 0,0 0 0 0 0,1 0 0 0 0,-1 0 0 0 0,1 0 0 0 0,0 0 0 0 0,0 7 0 0 0,1-2 10 0 0,1 0-1 0 0,0 1 0 0 0,0-1 0 0 0,1 0 1 0 0,0 0-1 0 0,1 0 0 0 0,0-1 0 0 0,1 1 1 0 0,-1 0-1 0 0,2-1 0 0 0,-1 0 0 0 0,1 0 0 0 0,0-1 1 0 0,11 14-1 0 0,2-1-860 0 0,1-1-1 0 0,0 0 1 0 0,41 29 0 0 0,-30-29-3386 0 0,-16-14 675 0 0</inkml:trace>
</inkml:ink>
</file>

<file path=ppt/ink/ink2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56.44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3 104 964 0 0,'11'7'3444'0'0,"-8"10"-2438"0"0,0 1-1 0 0,-1-1 0 0 0,-1 0 0 0 0,-1 0 0 0 0,-2 25 0 0 0,0 4-8 0 0,-4 142 2290 0 0,6-187-3191 0 0,1 0-1 0 0,-1 0 0 0 0,0-1 0 0 0,0 1 1 0 0,0 0-1 0 0,-1 0 0 0 0,1 0 1 0 0,0 0-1 0 0,0 0 0 0 0,0 0 0 0 0,-1-1 1 0 0,1 1-1 0 0,0 0 0 0 0,-1 0 0 0 0,1 0 1 0 0,-1-1-1 0 0,1 1 0 0 0,-1 0 1 0 0,1 0-1 0 0,-1 0 0 0 0,0-1-64 0 0,1 0 1 0 0,-1 0-1 0 0,1 1 1 0 0,-1-1-1 0 0,0 0 0 0 0,1 0 1 0 0,-1 0-1 0 0,1 0 1 0 0,-1 0-1 0 0,1 0 0 0 0,-1 0 1 0 0,1 0-1 0 0,-1 0 0 0 0,0-1 1 0 0,1 1-1 0 0,-1 0 1 0 0,1 0-1 0 0,-1 0 0 0 0,1-1 1 0 0,-1 1-1 0 0,1 0 1 0 0,-1-1-1 0 0,-2-1 10 0 0,0 0 1 0 0,0 0-1 0 0,1 0 1 0 0,-1-1-1 0 0,1 1 1 0 0,0-1-1 0 0,-3-4 1 0 0,1-2-87 0 0,0 1 1 0 0,1 0 0 0 0,1-1 0 0 0,-1 0 0 0 0,1 0 0 0 0,1 0-1 0 0,-1 0 1 0 0,2 0 0 0 0,-1-13 0 0 0,2-1-294 0 0,1 0 0 0 0,7-34 0 0 0,-4 36 202 0 0,0 0 1 0 0,2 1-1 0 0,0 0 0 0 0,1 0 1 0 0,1 0-1 0 0,18-29 0 0 0,-21 41 87 0 0,0 0 0 0 0,1 0-1 0 0,-1 0 1 0 0,1 1 0 0 0,1 0-1 0 0,16-12 1 0 0,-19 16 24 0 0,1-1-1 0 0,0 1 1 0 0,0 0 0 0 0,0 1-1 0 0,0-1 1 0 0,1 1 0 0 0,-1 1-1 0 0,0-1 1 0 0,1 1-1 0 0,0 0 1 0 0,10 0 0 0 0,-10 1 16 0 0,0 1 0 0 0,0 0 0 0 0,0 0 0 0 0,0 0 0 0 0,0 1 0 0 0,0 0 0 0 0,0 1 0 0 0,-1-1 0 0 0,1 1 0 0 0,8 5 0 0 0,-5-1 11 0 0,-1 0 1 0 0,1 0-1 0 0,-1 1 1 0 0,0 0-1 0 0,13 16 1 0 0,-9-7 26 0 0,-1 0-1 0 0,-1 0 1 0 0,-1 1-1 0 0,0 1 1 0 0,-1-1 0 0 0,11 37-1 0 0,-11-23-263 0 0,-2 1-1 0 0,5 38 0 0 0,-10-48-1673 0 0,-1-1 0 0 0,-2 25 0 0 0,-1-35-734 0 0,-2-2-715 0 0</inkml:trace>
</inkml:ink>
</file>

<file path=ppt/ink/ink2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56.80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4 177 496 0 0,'-1'-2'310'0'0,"-1"-1"85"0"0,-1 1 0 0 0,1-1-1 0 0,0 0 1 0 0,0-1 0 0 0,0 1 0 0 0,1 0-1 0 0,-1-1 1 0 0,1 1 0 0 0,-1 0 0 0 0,1-1-1 0 0,0 0 1 0 0,1 1 0 0 0,-2-6 0 0 0,3 7-341 0 0,0 0 0 0 0,0 1 0 0 0,0-1 0 0 0,1 0 0 0 0,-1 1 1 0 0,0-1-1 0 0,1 1 0 0 0,-1-1 0 0 0,1 1 0 0 0,-1 0 0 0 0,1 0 1 0 0,-1-1-1 0 0,1 1 0 0 0,0 0 0 0 0,0 0 0 0 0,2 0 1 0 0,-3 0-18 0 0,13-5 72 0 0,-1 1-1 0 0,1 0 1 0 0,0 1 0 0 0,0 0 0 0 0,21-2 0 0 0,76-3-449 0 0,-76 7 185 0 0,-15 1 124 0 0,17-3-8 0 0,0 3 1 0 0,1 1-1 0 0,66 9 1 0 0,-98-7 186 0 0,0 0 0 0 0,0 0 0 0 0,-1 0 0 0 0,1 0 0 0 0,-1 1 0 0 0,0 0 0 0 0,0 0 0 0 0,0 0 0 0 0,0 1-1 0 0,0 0 1 0 0,-1 0 0 0 0,0 0 0 0 0,1 0 0 0 0,4 9 0 0 0,4 5 454 0 0,0 2 0 0 0,14 32 0 0 0,-7-13 97 0 0,9 21 71 0 0,-14-25 3892 0 0,2-36-3796 0 0,-16 0-843 0 0,-1 1-1 0 0,1 0 0 0 0,0-1 1 0 0,0 1-1 0 0,-1-1 0 0 0,1 1 1 0 0,0-1-1 0 0,-1 1 1 0 0,1-1-1 0 0,0 1 0 0 0,-1-1 1 0 0,1 0-1 0 0,-1 1 0 0 0,1-1 1 0 0,-1 0-1 0 0,1 1 0 0 0,-1-1 1 0 0,0 0-1 0 0,1 0 1 0 0,-1 0-1 0 0,0 0 0 0 0,1-1 42 0 0,5-7 60 0 0,0-2 0 0 0,0 1 0 0 0,-1-1 0 0 0,-1 1-1 0 0,7-23 1 0 0,8-58-57 0 0,-16 71-105 0 0,10-69-1975 0 0,-12 69-1999 0 0,-1 1-3402 0 0,4 30 3643 0 0</inkml:trace>
</inkml:ink>
</file>

<file path=ppt/ink/ink2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57.16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64 102 288 0 0,'5'-4'485'0'0,"-1"1"-1"0"0,0-1 1 0 0,0 0 0 0 0,-1 0-1 0 0,1 0 1 0 0,-1 0 0 0 0,5-10-1 0 0,-7 13-405 0 0,0 0 0 0 0,0-1 0 0 0,-1 1 0 0 0,1 0 0 0 0,-1 0 0 0 0,1-1 0 0 0,-1 1 0 0 0,0-1-1 0 0,0 1 1 0 0,1 0 0 0 0,-1-1 0 0 0,0 1 0 0 0,0-1 0 0 0,0 1 0 0 0,-1 0 0 0 0,1-1 0 0 0,0 1 0 0 0,0-1 0 0 0,-1 1 0 0 0,1 0 0 0 0,-1-1-1 0 0,1 1 1 0 0,-1 0 0 0 0,1 0 0 0 0,-1-1 0 0 0,0 1 0 0 0,0 0 0 0 0,0 0 0 0 0,0 0 0 0 0,0 0 0 0 0,0 0 0 0 0,0 0 0 0 0,0 0 0 0 0,0 0-1 0 0,0 0 1 0 0,-1 0 0 0 0,-3-2 72 0 0,0 1 0 0 0,0 0 0 0 0,0 1 0 0 0,0-1 0 0 0,0 1 0 0 0,0 0-1 0 0,0 0 1 0 0,0 0 0 0 0,-1 1 0 0 0,1 0 0 0 0,0 0 0 0 0,0 0 0 0 0,-10 2 0 0 0,7 0-68 0 0,-1 0 0 0 0,1 0 0 0 0,0 0 0 0 0,1 1 0 0 0,-1 0 0 0 0,0 0 0 0 0,1 1 0 0 0,-10 6 0 0 0,10-4 88 0 0,0-1 0 0 0,0 2-1 0 0,0-1 1 0 0,1 0 0 0 0,-10 13 0 0 0,14-15-123 0 0,-1 0-1 0 0,1 0 1 0 0,0 0 0 0 0,0 0 0 0 0,0 1 0 0 0,0-1-1 0 0,1 1 1 0 0,-1-1 0 0 0,1 1 0 0 0,1-1-1 0 0,-1 1 1 0 0,0 5 0 0 0,1-9-40 0 0,0 0 1 0 0,0 0-1 0 0,0 0 0 0 0,0 0 1 0 0,0 0-1 0 0,1 0 0 0 0,-1 0 1 0 0,0 1-1 0 0,1-1 0 0 0,-1 0 0 0 0,0 0 1 0 0,1 0-1 0 0,-1 0 0 0 0,1 0 1 0 0,0 0-1 0 0,-1-1 0 0 0,1 1 1 0 0,0 0-1 0 0,-1 0 0 0 0,1 0 1 0 0,0-1-1 0 0,0 1 0 0 0,0 0 0 0 0,0-1 1 0 0,0 1-1 0 0,0 0 0 0 0,0-1 1 0 0,0 1-1 0 0,0-1 0 0 0,0 0 1 0 0,0 1-1 0 0,0-1 0 0 0,0 0 1 0 0,0 0-1 0 0,0 0 0 0 0,0 1 1 0 0,0-1-1 0 0,0 0 0 0 0,0-1 0 0 0,2 1 1 0 0,4 0-93 0 0,1-1 0 0 0,0-1 0 0 0,-1 1 1 0 0,12-5-1 0 0,-10 3 12 0 0,38-14-367 0 0,-44 16 347 0 0,2 1 12 0 0,-2 1 73 0 0,-1-1 1 0 0,1 1-1 0 0,0 0 1 0 0,0 0-1 0 0,0 0 1 0 0,0 0-1 0 0,-1 0 1 0 0,1 0-1 0 0,-1 1 1 0 0,1-1-1 0 0,-1 1 1 0 0,1 0-1 0 0,-1 0 1 0 0,0 0-1 0 0,0 0 1 0 0,0 0-1 0 0,0 0 1 0 0,0 1-1 0 0,0-1 1 0 0,-1 1-1 0 0,1-1 1 0 0,1 5-1 0 0,5 14 181 0 0,-1 0 1 0 0,-1 1-1 0 0,-1 0 0 0 0,-1 0 0 0 0,2 25 0 0 0,-5-31 39 0 0,-1-1 0 0 0,0 1 0 0 0,-1-1 0 0 0,0 1 0 0 0,-1-1 0 0 0,-1 0-1 0 0,-1 1 1 0 0,-6 17 0 0 0,8-28-78 0 0,-1 0 1 0 0,1 0-1 0 0,0 0 0 0 0,-1-1 0 0 0,0 1 0 0 0,0-1 0 0 0,-1 0 0 0 0,1 0 1 0 0,-1 0-1 0 0,0 0 0 0 0,0-1 0 0 0,0 1 0 0 0,0-1 0 0 0,-1 0 0 0 0,1 0 1 0 0,-1-1-1 0 0,0 1 0 0 0,0-1 0 0 0,0 0 0 0 0,-8 2 0 0 0,7-3-56 0 0,0 0-1 0 0,0-1 1 0 0,0 1-1 0 0,0-1 1 0 0,0-1-1 0 0,0 1 1 0 0,0-1-1 0 0,0 0 1 0 0,0 0-1 0 0,0-1 1 0 0,1 0-1 0 0,-1 0 1 0 0,1 0-1 0 0,-1-1 1 0 0,1 0-1 0 0,0 0 1 0 0,0 0-1 0 0,-6-5 1 0 0,4 3-143 0 0,1-1 0 0 0,0 1 0 0 0,0-1 1 0 0,1 0-1 0 0,0-1 0 0 0,0 1 0 0 0,0-1 0 0 0,1 0 1 0 0,0-1-1 0 0,-4-7 0 0 0,7 10-342 0 0,-1 1-1 0 0,1-1 1 0 0,0 0 0 0 0,0 0 0 0 0,0 0-1 0 0,1 1 1 0 0,0-10 0 0 0,0 9-205 0 0,1 1 1 0 0,-1 0-1 0 0,1 0 0 0 0,0 0 1 0 0,1 0-1 0 0,-1 0 1 0 0,1 0-1 0 0,-1 1 1 0 0,1-1-1 0 0,3-4 1 0 0,8-10-4289 0 0</inkml:trace>
</inkml:ink>
</file>

<file path=ppt/ink/ink2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57.50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8 976 0 0,'0'0'2116'0'0,"26"-3"969"0"0,-6-1-1197 0 0,-2 1-660 0 0,-4-1-384 0 0,4 0-1016 0 0</inkml:trace>
</inkml:ink>
</file>

<file path=ppt/ink/ink2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5:58.02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2 26 1160 0 0,'-29'-6'5069'0'0,"26"5"-4371"0"0,7 0-56 0 0,18-5-181 0 0,0 2 0 0 0,0 0 0 0 0,0 2 0 0 0,1 1 0 0 0,43 2-1 0 0,-20 0-69 0 0,351 8 1466 0 0,-379-11-1751 0 0</inkml:trace>
</inkml:ink>
</file>

<file path=ppt/ink/ink2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6:01.44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31 1376 0 0,'0'-14'1311'0'0,"1"-1"1"0"0,0 1-1 0 0,1 0 0 0 0,1 0 0 0 0,8-25 1 0 0,-11 37-1147 0 0,4 3-88 0 0,-1 0 0 0 0,0 0 0 0 0,0 0 0 0 0,0 0 0 0 0,0 0 0 0 0,0 1 0 0 0,0-1 0 0 0,0 1 0 0 0,0 0 0 0 0,0 0 0 0 0,-1 0 0 0 0,1 0 1 0 0,-1 1-1 0 0,0-1 0 0 0,1 1 0 0 0,-1-1 0 0 0,0 1 0 0 0,-1 0 0 0 0,1 0 0 0 0,2 5 0 0 0,5 8 173 0 0,-1 1 0 0 0,8 23 0 0 0,8 30 438 0 0,22 108 1 0 0,-38-156 3650 0 0,-4-29-3987 0 0,16-68 69 0 0,-15 51-581 0 0,13-36 0 0 0,-9 36 87 0 0,-1 1-42 0 0,0 1 1 0 0,2 1 0 0 0,21-36 0 0 0,-30 55 97 0 0,0 0 0 0 0,1 0-1 0 0,0 1 1 0 0,-1-1 0 0 0,1 0 0 0 0,0 1 0 0 0,0-1 0 0 0,0 1 0 0 0,0-1 0 0 0,0 1 0 0 0,0 0 0 0 0,0 0 0 0 0,1 0 0 0 0,-1 0 0 0 0,0 0 0 0 0,1 0 0 0 0,-1 1 0 0 0,0-1 0 0 0,1 1 0 0 0,-1 0 0 0 0,1-1 0 0 0,-1 1 0 0 0,1 0 0 0 0,-1 1 0 0 0,1-1 0 0 0,-1 0 0 0 0,1 1 0 0 0,-1-1-1 0 0,0 1 1 0 0,1 0 0 0 0,-1 0 0 0 0,3 1 0 0 0,6 4 2 0 0,0 0-1 0 0,0 1 1 0 0,0 0-1 0 0,17 16 1 0 0,-22-18 2 0 0,89 79 1490 0 0,-92-85-1322 0 0,-2 1-143 0 0,1-1 0 0 0,-1 1-1 0 0,0-1 1 0 0,0 1 0 0 0,0-1-1 0 0,0 1 1 0 0,0-1 0 0 0,0 0 0 0 0,0 1-1 0 0,0-1 1 0 0,0 0 0 0 0,0 0 0 0 0,0 0-1 0 0,0 0 1 0 0,-1 0 0 0 0,1 0 0 0 0,0 0-1 0 0,-1 0 1 0 0,1 0 0 0 0,0 0 0 0 0,-1 0-1 0 0,1 0 1 0 0,-1 0 0 0 0,0-1 0 0 0,1 1-1 0 0,-1 0 1 0 0,0 0 0 0 0,0 0 0 0 0,0-1-1 0 0,0 1 1 0 0,0 0 0 0 0,0 0 0 0 0,0-2-1 0 0,1-63-409 0 0,-11-91-1 0 0,8 131-416 0 0,1 16-1048 0 0,-1-10 613 0 0</inkml:trace>
</inkml:ink>
</file>

<file path=ppt/ink/ink2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6:01.91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23 103 1160 0 0,'14'-9'2579'0'0,"-4"0"-1767"0"0,-1-1 0 0 0,-1-1-1 0 0,1 0 1 0 0,12-23 0 0 0,-21 34-799 0 0,1 0-1 0 0,-1-1 1 0 0,0 1-1 0 0,0 0 1 0 0,1-1-1 0 0,-1 1 1 0 0,0-1-1 0 0,0 1 1 0 0,1 0-1 0 0,-1-1 0 0 0,0 1 1 0 0,0-1-1 0 0,0 1 1 0 0,0-1-1 0 0,0 1 1 0 0,0-1-1 0 0,0 1 1 0 0,1-1-1 0 0,-2 1 1 0 0,1 0-1 0 0,0-1 1 0 0,0 1-1 0 0,0-1 1 0 0,0 1-1 0 0,0-1 1 0 0,0 1-1 0 0,0-1 1 0 0,0 1-1 0 0,-1-1 1 0 0,1 1-1 0 0,0 0 1 0 0,0-1-1 0 0,-1 1 1 0 0,1-1-1 0 0,0 1 1 0 0,-1 0-1 0 0,1-1 1 0 0,0 1-1 0 0,-1 0 1 0 0,1 0-1 0 0,0-1 1 0 0,-1 1-1 0 0,1 0 1 0 0,-1 0-1 0 0,1-1 1 0 0,-1 1-1 0 0,1 0 1 0 0,0 0-1 0 0,-1 0 1 0 0,0 0-1 0 0,-21 0 375 0 0,12 3-219 0 0,0 1 1 0 0,1 0-1 0 0,-1 1 0 0 0,1 0 1 0 0,0 1-1 0 0,0-1 0 0 0,1 2 1 0 0,-1-1-1 0 0,1 1 0 0 0,-7 8 1 0 0,9-8-62 0 0,0 0 0 0 0,0 0 0 0 0,1 0 0 0 0,-1 0 0 0 0,2 1 0 0 0,-1 0 0 0 0,1 0 0 0 0,0 0 0 0 0,1 0 0 0 0,0 1 0 0 0,-4 16 0 0 0,7-21-51 0 0,-1 0 0 0 0,1-1 0 0 0,0 1 1 0 0,0-1-1 0 0,1 1 0 0 0,-1 0 0 0 0,1-1 0 0 0,-1 1 0 0 0,1-1 1 0 0,0 0-1 0 0,0 1 0 0 0,1-1 0 0 0,-1 0 0 0 0,1 1 1 0 0,0-1-1 0 0,0 0 0 0 0,3 5 0 0 0,0-4-2 0 0,-1 0 1 0 0,1 0-1 0 0,-1 0 0 0 0,1 0 1 0 0,0-1-1 0 0,0 0 0 0 0,1 0 1 0 0,-1 0-1 0 0,11 3 0 0 0,-1-1-1 0 0,1-1 0 0 0,-1-1 1 0 0,1 0-1 0 0,0-1 0 0 0,0-1 0 0 0,0 0 0 0 0,21-3 0 0 0,-22 0-54 0 0,0 0 0 0 0,0-1 0 0 0,0-1 0 0 0,0-1 0 0 0,0 0-1 0 0,-1-1 1 0 0,0 0 0 0 0,0-1 0 0 0,-1-1 0 0 0,0 0 0 0 0,0-1-1 0 0,13-11 1 0 0,-5 0-77 0 0,0 0-1 0 0,-2-2 1 0 0,0 0 0 0 0,-1-1-1 0 0,22-38 1 0 0,-32 44-3 0 0,-8 16 59 0 0,-9 11 122 0 0,4 5 19 0 0,1 1 0 0 0,1 0 1 0 0,0 0-1 0 0,-1 27 1 0 0,4 72-487 0 0,0-67-1890 0 0,-1-38 1855 0 0</inkml:trace>
</inkml:ink>
</file>

<file path=ppt/ink/ink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2:30.69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237 164 0 0,'-1'-11'5257'0'0,"4"8"-5037"0"0,-1 1 0 0 0,1-1 1 0 0,0 1-1 0 0,0 0 0 0 0,0 0 0 0 0,0 0 0 0 0,1 0 0 0 0,-1 1 0 0 0,0-1 0 0 0,1 1 0 0 0,-1 0 1 0 0,1 0-1 0 0,-1 0 0 0 0,6 0 0 0 0,57-8 737 0 0,-62 8-854 0 0,73-5 627 0 0,-24 3 86 0 0,-1-2-1 0 0,103-24 1 0 0,-143 26-752 0 0,0-1 1 0 0,0 0 0 0 0,-1-1-1 0 0,0 0 1 0 0,0 0-1 0 0,0-1 1 0 0,0-1-1 0 0,-1 0 1 0 0,0-1 0 0 0,-1 1-1 0 0,1-2 1 0 0,-2 1-1 0 0,15-18 1 0 0,-23 25-62 0 0,1 1-1 0 0,0-1 1 0 0,-1 0-1 0 0,1 1 1 0 0,-1-1 0 0 0,1 0-1 0 0,-1 0 1 0 0,1 0 0 0 0,-1 1-1 0 0,1-1 1 0 0,-1 0-1 0 0,0 0 1 0 0,1 0 0 0 0,-1 0-1 0 0,0 0 1 0 0,0 0 0 0 0,0 0-1 0 0,0 0 1 0 0,1 0-1 0 0,-1 0 1 0 0,-1 1 0 0 0,1-1-1 0 0,0 0 1 0 0,0 0 0 0 0,0 0-1 0 0,0 0 1 0 0,-1 0-1 0 0,1 0 1 0 0,0 0 0 0 0,-1 0-1 0 0,1 1 1 0 0,-1-1 0 0 0,1 0-1 0 0,-1 0 1 0 0,1 0-1 0 0,-1 1 1 0 0,0-1 0 0 0,1 0-1 0 0,-1 1 1 0 0,0-1 0 0 0,1 1-1 0 0,-1-1 1 0 0,0 1-1 0 0,0-1 1 0 0,0 1 0 0 0,0-1-1 0 0,1 1 1 0 0,-1 0 0 0 0,0-1-1 0 0,0 1 1 0 0,0 0-1 0 0,-1 0 1 0 0,-3-2 23 0 0,0 1 1 0 0,0 1-1 0 0,0-1 0 0 0,0 1 1 0 0,-1 0-1 0 0,1 0 0 0 0,0 0 1 0 0,-8 3-1 0 0,-1 0 84 0 0,0 2-1 0 0,0 0 1 0 0,1 1 0 0 0,0 0-1 0 0,0 1 1 0 0,1 0 0 0 0,0 1-1 0 0,0 0 1 0 0,1 1-1 0 0,-21 21 1 0 0,28-26-41 0 0,0 1-1 0 0,0 0 1 0 0,0 0-1 0 0,1 0 1 0 0,0 0-1 0 0,0 1 1 0 0,0-1 0 0 0,0 1-1 0 0,1 0 1 0 0,0-1-1 0 0,0 1 1 0 0,1 0-1 0 0,0 0 1 0 0,0 1-1 0 0,0-1 1 0 0,0 0 0 0 0,1 0-1 0 0,0 0 1 0 0,1 1-1 0 0,-1-1 1 0 0,1 0-1 0 0,1 0 1 0 0,-1 0-1 0 0,1 0 1 0 0,0 0-1 0 0,0 0 1 0 0,5 9 0 0 0,-1-5-70 0 0,1 0 1 0 0,-1-1 0 0 0,2 0 0 0 0,-1 0-1 0 0,1-1 1 0 0,0 0 0 0 0,1 0 0 0 0,0-1-1 0 0,0 0 1 0 0,12 6 0 0 0,-9-6-1090 0 0,0 0 0 0 0,0-2 1 0 0,1 1-1 0 0,22 5 0 0 0,-16-9-4191 0 0</inkml:trace>
</inkml:ink>
</file>

<file path=ppt/ink/ink2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6:02.27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2 111 1116 0 0,'-6'-20'932'0'0,"2"4"-212"0"0,0 1-168 0 0,-2 3-124 0 0,2-1-92 0 0,-2 2-76 0 0,0 4-56 0 0,2-2-44 0 0,-8 2-336 0 0</inkml:trace>
</inkml:ink>
</file>

<file path=ppt/ink/ink2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6:02.64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13 95 1264 0 0,'4'-1'1070'0'0,"-1"0"-854"0"0,1 0 0 0 0,0 0 0 0 0,-1 0 0 0 0,1-1 0 0 0,0 1 0 0 0,-1-1 0 0 0,0 0 0 0 0,1 0 0 0 0,-1-1 0 0 0,0 1 0 0 0,0-1-1 0 0,0 1 1 0 0,-1-1 0 0 0,1 0 0 0 0,0 0 0 0 0,-1 0 0 0 0,0 0 0 0 0,0 0 0 0 0,0-1 0 0 0,0 1 0 0 0,-1-1 0 0 0,1 1 0 0 0,1-5 0 0 0,-3 7-199 0 0,-1 0 1 0 0,1-1-1 0 0,0 1 1 0 0,0 0-1 0 0,0 0 1 0 0,-1 0-1 0 0,1 0 1 0 0,0 0-1 0 0,-1 0 0 0 0,1 0 1 0 0,-1 0-1 0 0,1 0 1 0 0,-1 0-1 0 0,0 0 1 0 0,1 0-1 0 0,-1 0 1 0 0,0 1-1 0 0,0-1 1 0 0,0 0-1 0 0,0 0 1 0 0,1 1-1 0 0,-1-1 1 0 0,0 0-1 0 0,0 1 1 0 0,0-1-1 0 0,0 1 1 0 0,-2-1-1 0 0,-1 0-12 0 0,1 0 0 0 0,-1 0 0 0 0,1 0 0 0 0,-1 0 0 0 0,0 1 0 0 0,1 0 0 0 0,-1 0 0 0 0,0 0 0 0 0,1 0 0 0 0,-1 0 0 0 0,0 1 0 0 0,1-1 0 0 0,-1 1 0 0 0,1 0 0 0 0,-1 0 0 0 0,1 1 0 0 0,0-1 0 0 0,-1 1 0 0 0,1-1 0 0 0,-4 4 0 0 0,1-1-32 0 0,3-3 39 0 0,1 1 0 0 0,-1-1 0 0 0,1 1 0 0 0,0 0 0 0 0,0 0 1 0 0,0 0-1 0 0,0 0 0 0 0,0 0 0 0 0,0 0 0 0 0,0 1 0 0 0,1-1 0 0 0,-1 1 0 0 0,1-1 0 0 0,0 1 0 0 0,0-1 0 0 0,0 1 0 0 0,0 0 0 0 0,0-1 0 0 0,0 1 1 0 0,1 0-1 0 0,-1 0 0 0 0,1 0 0 0 0,0 0 0 0 0,0 0 0 0 0,0-1 0 0 0,0 1 0 0 0,1 0 0 0 0,-1 0 0 0 0,1 0 0 0 0,-1 0 0 0 0,1-1 0 0 0,1 4 0 0 0,2 3 82 0 0,0 0-1 0 0,0 0 0 0 0,0-1 0 0 0,1 0 0 0 0,1 0 0 0 0,-1 0 1 0 0,1 0-1 0 0,9 8 0 0 0,-6-8-80 0 0,-1 1 0 0 0,0 0 0 0 0,0 0 0 0 0,-1 1-1 0 0,0 0 1 0 0,-1 0 0 0 0,6 12 0 0 0,-11-20-6 0 0,-1 0 1 0 0,1 0-1 0 0,-1 1 0 0 0,0-1 0 0 0,0 0 1 0 0,1 0-1 0 0,-2 0 0 0 0,1 1 0 0 0,0-1 1 0 0,0 0-1 0 0,-1 0 0 0 0,1 0 1 0 0,-1 0-1 0 0,1 0 0 0 0,-1 0 0 0 0,0 0 1 0 0,0 0-1 0 0,0 0 0 0 0,0 0 0 0 0,-1 0 1 0 0,1 0-1 0 0,0-1 0 0 0,-3 3 0 0 0,1 0 105 0 0,-1-1 0 0 0,0 1-1 0 0,0-1 1 0 0,0 0 0 0 0,0 0-1 0 0,-1 0 1 0 0,-8 4 0 0 0,8-5 23 0 0,0 0 0 0 0,0-1-1 0 0,0 1 1 0 0,-1-1 0 0 0,1-1 0 0 0,-1 1 0 0 0,1-1 0 0 0,0 0 0 0 0,-9 0 0 0 0,11-1-102 0 0,-1 1 0 0 0,1-1 0 0 0,0 1 0 0 0,0-1 0 0 0,0 0 0 0 0,0 0 0 0 0,0-1 0 0 0,0 1 0 0 0,0-1 0 0 0,0 1 0 0 0,0-1 0 0 0,1 0 0 0 0,-1 0 0 0 0,1 0 0 0 0,-1 0 0 0 0,-2-5 0 0 0,4 6-122 0 0,1-1-1 0 0,-1 1 1 0 0,1-1-1 0 0,0 0 1 0 0,-1 1-1 0 0,1-1 1 0 0,0 1-1 0 0,0-1 1 0 0,0 0-1 0 0,1 1 0 0 0,-1-1 1 0 0,0 1-1 0 0,1-1 1 0 0,-1 0-1 0 0,0 1 1 0 0,1-1-1 0 0,0 1 1 0 0,-1-1-1 0 0,1 1 1 0 0,0 0-1 0 0,0-1 0 0 0,0 1 1 0 0,0 0-1 0 0,0 0 1 0 0,2-2-1 0 0,35-29-5284 0 0,-28 21 3078 0 0</inkml:trace>
</inkml:ink>
</file>

<file path=ppt/ink/ink2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6:03.01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43 1516 0 0,'2'-2'1353'0'0,"0"1"-1128"0"0,-1 0 0 0 0,0 0 0 0 0,1 0 0 0 0,-1 0 0 0 0,1 1 0 0 0,-1-1-1 0 0,1 0 1 0 0,-1 1 0 0 0,1-1 0 0 0,0 1 0 0 0,-1-1 0 0 0,1 1 0 0 0,0 0 0 0 0,-1-1 0 0 0,1 1 0 0 0,0 0 0 0 0,0 0 0 0 0,-1 1 0 0 0,1-1 0 0 0,3 1 0 0 0,-3 0-31 0 0,1 0 1 0 0,0 1 0 0 0,-1-1-1 0 0,1 1 1 0 0,-1 0 0 0 0,1 0-1 0 0,-1 0 1 0 0,0 0 0 0 0,0 0 0 0 0,0 0-1 0 0,0 1 1 0 0,3 3 0 0 0,-1 1 95 0 0,0 1 1 0 0,0-1 0 0 0,-1 1-1 0 0,0-1 1 0 0,0 1 0 0 0,3 15-1 0 0,5 51 479 0 0,-11-74-767 0 0,4 61 2362 0 0,-4-59-1598 0 0,4-7-678 0 0,-1-1 0 0 0,1 1 0 0 0,0 0 0 0 0,8-6 1 0 0,-9 7-102 0 0,1 0 0 0 0,1 1 1 0 0,-1-1-1 0 0,1 1 1 0 0,-1 0-1 0 0,1 0 1 0 0,0 0-1 0 0,0 1 0 0 0,0 0 1 0 0,0 0-1 0 0,1 0 1 0 0,-1 0-1 0 0,10-1 0 0 0,-7 4 5 0 0,1 0-1 0 0,-1 1 0 0 0,1-1 0 0 0,-1 2 0 0 0,0-1 0 0 0,1 1 0 0 0,-1 0 0 0 0,-1 1 0 0 0,12 6 0 0 0,-3-2 14 0 0,3 1-3 0 0,11 6 44 0 0,2-1 0 0 0,-1-1 0 0 0,35 7 0 0 0,-63-19-62 0 0,0 0 0 0 0,1 0 0 0 0,-1-1 0 0 0,1 0 0 0 0,-1 0 0 0 0,0 0 0 0 0,1 0 0 0 0,-1 0 0 0 0,1-1 0 0 0,-1 1 0 0 0,0-1 0 0 0,1 0 0 0 0,-1 0 0 0 0,0 0 0 0 0,1 0 0 0 0,-1-1 0 0 0,0 1 0 0 0,0-1 0 0 0,0 0 0 0 0,-1 0 0 0 0,1 0 0 0 0,0 0 0 0 0,-1-1 0 0 0,1 1 0 0 0,2-4 0 0 0,0-2-155 0 0,0 1-1 0 0,-1-1 1 0 0,1 0 0 0 0,-2 0 0 0 0,1-1-1 0 0,-1 1 1 0 0,-1-1 0 0 0,3-11-1 0 0,53-304-942 0 0,-48 259 2165 0 0,-10 63-828 0 0,-5 13 353 0 0,2-5-362 0 0,1 1 0 0 0,0-1 0 0 0,0 1-1 0 0,1 0 1 0 0,0 0 0 0 0,0 0 0 0 0,1 0-1 0 0,0 7 1 0 0,6 57 886 0 0,-5-65-1025 0 0,26 154 1091 0 0,6 50-1330 0 0,-21-126-5496 0 0</inkml:trace>
</inkml:ink>
</file>

<file path=ppt/ink/ink2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6:03.82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260 2036 0 0,'0'-3'1702'0'0,"0"1"-1430"0"0,-1 0-1 0 0,1-1 0 0 0,0 1 1 0 0,0 0-1 0 0,0-1 1 0 0,1 1-1 0 0,-1 0 0 0 0,1-1 1 0 0,-1 1-1 0 0,1 0 0 0 0,0-1 1 0 0,0 1-1 0 0,0 0 1 0 0,0 0-1 0 0,0 0 0 0 0,0 0 1 0 0,2-2-1 0 0,0 1-158 0 0,-1 0-1 0 0,1 1 1 0 0,0-1-1 0 0,0 1 1 0 0,1 0 0 0 0,-1 0-1 0 0,0 0 1 0 0,1 0-1 0 0,-1 0 1 0 0,1 1 0 0 0,3-2-1 0 0,14-3 96 0 0,0 1-1 0 0,0 1 1 0 0,1 1-1 0 0,26-1 1 0 0,87 5-415 0 0,14-1-288 0 0,-77 3 1095 0 0,-36 29-292 0 0,-33-31-274 0 0,-1 0 1 0 0,1 0-1 0 0,-1 0 1 0 0,1-1-1 0 0,-1 1 1 0 0,1-1-1 0 0,0 1 1 0 0,-1-1-1 0 0,1 0 0 0 0,0 0 1 0 0,-1 0-1 0 0,1 0 1 0 0,0 0-1 0 0,-1-1 1 0 0,1 1-1 0 0,-1-1 1 0 0,1 0-1 0 0,-1 0 1 0 0,1 0-1 0 0,3-2 1 0 0,-4 1-21 0 0,0 1 1 0 0,0-1 0 0 0,0 0-1 0 0,0-1 1 0 0,0 1 0 0 0,-1 0-1 0 0,1 0 1 0 0,-1-1-1 0 0,1 1 1 0 0,-1-1 0 0 0,2-4-1 0 0,-2 2-5 0 0,0 4-10 0 0,-1 0 0 0 0,0 0 0 0 0,0 0 0 0 0,0 0 0 0 0,0-1 0 0 0,0 1-1 0 0,0 0 1 0 0,0 0 0 0 0,0-1 0 0 0,0 1 0 0 0,0 0 0 0 0,-1 0 0 0 0,1 0-1 0 0,-1 0 1 0 0,1 0 0 0 0,-1-1 0 0 0,1 1 0 0 0,-1 0 0 0 0,1 0 0 0 0,-1 0-1 0 0,0 0 1 0 0,0 0 0 0 0,0 1 0 0 0,1-1 0 0 0,-1 0 0 0 0,-2-1 0 0 0,-26-18-53 0 0,24 18 53 0 0,-1 0 0 0 0,0-1 0 0 0,0 2 0 0 0,0-1 0 0 0,0 1-1 0 0,0 0 1 0 0,0 0 0 0 0,0 1 0 0 0,0-1 0 0 0,0 2 0 0 0,-1-1 0 0 0,-11 2 0 0 0,9 0 89 0 0,0 1 0 0 0,0-1 0 0 0,1 1 0 0 0,-1 1 0 0 0,0 0 0 0 0,1 0 0 0 0,0 1 0 0 0,-12 8 0 0 0,14-9 25 0 0,0 1 0 0 0,1 0-1 0 0,-1 1 1 0 0,1-1 0 0 0,0 1 0 0 0,0 0-1 0 0,1 0 1 0 0,0 1 0 0 0,0 0 0 0 0,-4 9-1 0 0,6-11-33 0 0,0-1-1 0 0,1 1 0 0 0,0 0 1 0 0,0 0-1 0 0,0 0 0 0 0,0 0 1 0 0,1 0-1 0 0,0 0 0 0 0,0 0 1 0 0,0 1-1 0 0,1-1 0 0 0,-1 0 1 0 0,1 0-1 0 0,1-1 0 0 0,-1 1 1 0 0,3 7-1 0 0,1-2-23 0 0,0 0-1 0 0,1 0 1 0 0,0 0-1 0 0,1-1 1 0 0,0 0-1 0 0,1 0 1 0 0,-1-1-1 0 0,1 0 1 0 0,1 0-1 0 0,0-1 1 0 0,0 0-1 0 0,0-1 1 0 0,1 1-1 0 0,0-2 1 0 0,0 0-1 0 0,1 0 1 0 0,-1-1-1 0 0,16 5 1 0 0,-17-7-274 0 0,0 1 0 0 0,0-2-1 0 0,1 1 1 0 0,-1-1 0 0 0,0-1 0 0 0,0 0 0 0 0,1 0 0 0 0,-1-1-1 0 0,0 0 1 0 0,0 0 0 0 0,1-1 0 0 0,-1 0 0 0 0,-1-1 0 0 0,1 0-1 0 0,0 0 1 0 0,-1-1 0 0 0,1 0 0 0 0,-1-1 0 0 0,0 0 0 0 0,-1 0-1 0 0,1 0 1 0 0,12-13 0 0 0,3-10-880 0 0,-1 0-1 0 0,-1-2 1 0 0,-1-1 0 0 0,21-45-1 0 0,12-18 781 0 0,-31 55 962 0 0,-14 23-130 0 0,1 1 1 0 0,15-20-1 0 0,-24 34-492 0 0,1 1 0 0 0,-1-1 0 0 0,0 1 0 0 0,1-1 0 0 0,-1 1 1 0 0,0-1-1 0 0,1 1 0 0 0,-1 0 0 0 0,0-1 0 0 0,1 1 0 0 0,-1 0 0 0 0,1-1 0 0 0,-1 1 0 0 0,1 0 0 0 0,-1 0 0 0 0,1-1 1 0 0,-1 1-1 0 0,1 0 0 0 0,-1 0 0 0 0,1 0 0 0 0,-1 0 0 0 0,1 0 0 0 0,-1-1 0 0 0,1 1 0 0 0,-1 0 0 0 0,1 0 0 0 0,-1 0 0 0 0,1 0 1 0 0,-1 1-1 0 0,1-1 0 0 0,0 0 0 0 0,-1 0 0 0 0,1 0 0 0 0,0 1 22 0 0,0 0-1 0 0,0 0 1 0 0,0 0-1 0 0,0 0 1 0 0,0 0-1 0 0,0 1 1 0 0,-1-1-1 0 0,1 0 1 0 0,0 0 0 0 0,-1 0-1 0 0,1 1 1 0 0,0 1-1 0 0,7 40 924 0 0,-9-18-469 0 0,0 1 1 0 0,-2 0-1 0 0,0-1 1 0 0,-2 0 0 0 0,-16 49-1 0 0,17-64-420 0 0,1-1 0 0 0,-2 1 0 0 0,1-1 0 0 0,-1 0 0 0 0,-1 0-1 0 0,0 0 1 0 0,0-1 0 0 0,-9 10 0 0 0,11-13-38 0 0,-1-1 1 0 0,0 1-1 0 0,0-1 1 0 0,0 0-1 0 0,0 0 1 0 0,-1-1-1 0 0,1 1 1 0 0,-1-1-1 0 0,0-1 1 0 0,0 1-1 0 0,-1-1 0 0 0,1 0 1 0 0,-11 2-1 0 0,14-3-20 0 0,-1-1-1 0 0,0 0 1 0 0,1 0-1 0 0,-1 0 1 0 0,0-1 0 0 0,1 1-1 0 0,-1-1 1 0 0,-4-1-1 0 0,6 1-18 0 0,1 1-1 0 0,0 0 1 0 0,0-1 0 0 0,0 0-1 0 0,-1 1 1 0 0,1-1 0 0 0,0 0-1 0 0,0 1 1 0 0,0-1 0 0 0,0 0-1 0 0,0 0 1 0 0,0 0-1 0 0,0 0 1 0 0,0 0 0 0 0,1 0-1 0 0,-1 0 1 0 0,0 0 0 0 0,0 0-1 0 0,1 0 1 0 0,-1-1-1 0 0,1 1 1 0 0,-1 0 0 0 0,0-2-1 0 0,1 1-1 0 0,0 1-1 0 0,1 0 1 0 0,-1 0-1 0 0,0 0 1 0 0,0 0-1 0 0,0-1 0 0 0,1 1 1 0 0,-1 0-1 0 0,0 0 1 0 0,1 0-1 0 0,-1 0 1 0 0,1 0-1 0 0,0 0 0 0 0,-1 0 1 0 0,1 0-1 0 0,0 0 1 0 0,0 0-1 0 0,-1 0 1 0 0,1 0-1 0 0,0 0 1 0 0,0 1-1 0 0,0-1 0 0 0,0 0 1 0 0,2 0-1 0 0,27-14-25 0 0,-26 14 28 0 0,6-2-105 0 0,0 0-1 0 0,0 1 1 0 0,1 0 0 0 0,-1 0 0 0 0,0 1 0 0 0,1 1 0 0 0,-1-1 0 0 0,1 2 0 0 0,-1 0 0 0 0,16 3 0 0 0,-11-1-757 0 0,-1 0 1 0 0,0 1 0 0 0,0 1 0 0 0,-1 1-1 0 0,1 0 1 0 0,23 15 0 0 0,-19-7-2078 0 0,-10-7 1182 0 0</inkml:trace>
</inkml:ink>
</file>

<file path=ppt/ink/ink2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6:05.29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42 121 300 0 0,'-8'-15'1561'0'0,"0"0"1"0"0,-2 1-1 0 0,-11-15 0 0 0,17 25-1392 0 0,0 0-1 0 0,0 0 1 0 0,0 1 0 0 0,-1-1-1 0 0,1 1 1 0 0,-1 0 0 0 0,0 0-1 0 0,0 0 1 0 0,0 1 0 0 0,0 0-1 0 0,-1 0 1 0 0,1 0 0 0 0,-8-1-1 0 0,-1 0 66 0 0,-1 2 1 0 0,0 0-1 0 0,0 1 0 0 0,1 0 0 0 0,-1 1 0 0 0,0 1 1 0 0,1 0-1 0 0,-24 7 0 0 0,25-5-110 0 0,1 0 0 0 0,0 1 0 0 0,0 0 0 0 0,0 1 0 0 0,1 0 0 0 0,0 1 0 0 0,0 0 0 0 0,0 1 0 0 0,1 0 0 0 0,-11 11 0 0 0,18-16-89 0 0,0 1 1 0 0,1-1-1 0 0,-1 1 1 0 0,0 0-1 0 0,1-1 0 0 0,0 1 1 0 0,0 0-1 0 0,0 1 1 0 0,1-1-1 0 0,-1 0 1 0 0,1 0-1 0 0,0 1 1 0 0,0-1-1 0 0,0 0 0 0 0,1 1 1 0 0,0-1-1 0 0,-1 1 1 0 0,2-1-1 0 0,-1 1 1 0 0,2 6-1 0 0,-1-6-6 0 0,1 0-1 0 0,-1 0 1 0 0,1 0-1 0 0,1 0 1 0 0,-1-1-1 0 0,1 1 1 0 0,-1-1-1 0 0,1 1 1 0 0,1-1-1 0 0,-1 0 1 0 0,1-1-1 0 0,-1 1 1 0 0,1 0-1 0 0,0-1 1 0 0,0 0-1 0 0,1 0 1 0 0,6 4-1 0 0,-5-4-26 0 0,0 0-1 0 0,0 0 0 0 0,0 0 1 0 0,1-1-1 0 0,-1 0 0 0 0,1 0 1 0 0,-1-1-1 0 0,1 0 0 0 0,-1 0 1 0 0,1 0-1 0 0,0-1 1 0 0,0 0-1 0 0,-1 0 0 0 0,1-1 1 0 0,0 0-1 0 0,-1 0 0 0 0,1 0 1 0 0,-1-1-1 0 0,1 0 0 0 0,-1-1 1 0 0,0 1-1 0 0,0-1 0 0 0,0 0 1 0 0,0-1-1 0 0,0 1 0 0 0,-1-1 1 0 0,1 0-1 0 0,-1-1 1 0 0,0 1-1 0 0,5-7 0 0 0,10-14-74 0 0,-1 0 1 0 0,25-45-1 0 0,-3 3 21 0 0,-41 66 53 0 0,0 1 1 0 0,0 0 0 0 0,0 0 0 0 0,0-1 0 0 0,0 1 0 0 0,0 0 0 0 0,1 0 0 0 0,-1 0-1 0 0,0-1 1 0 0,0 1 0 0 0,0 0 0 0 0,0 0 0 0 0,1 0 0 0 0,-1 0 0 0 0,0-1-1 0 0,0 1 1 0 0,0 0 0 0 0,1 0 0 0 0,-1 0 0 0 0,0 0 0 0 0,0 0 0 0 0,1 0 0 0 0,-1 0-1 0 0,0 0 1 0 0,0 0 0 0 0,1 0 0 0 0,-1 0 0 0 0,0-1 0 0 0,0 1 0 0 0,1 0 0 0 0,-1 1-1 0 0,0-1 1 0 0,0 0 0 0 0,1 0 0 0 0,-1 0 0 0 0,0 0 0 0 0,0 0 0 0 0,0 0-1 0 0,1 0 1 0 0,6 11 178 0 0,3 27 224 0 0,-8-27-318 0 0,96 262-1319 0 0,-87-251-453 0 0,-10-19 834 0 0,3-3-942 0 0,-3 0 1648 0 0,0 0-1 0 0,0 0 1 0 0,-1-1-1 0 0,1 1 1 0 0,0 0-1 0 0,-1 0 1 0 0,1-1-1 0 0,0 1 1 0 0,-1 0-1 0 0,1-1 1 0 0,-1 1-1 0 0,1 0 0 0 0,0-1 1 0 0,-1 1-1 0 0,1-2 1 0 0,8-18-1242 0 0,22-56-150 0 0,-19 50 2789 0 0,1 1 0 0 0,23-36 0 0 0,-35 60-1184 0 0,0 0-1 0 0,0 0 1 0 0,0 0-1 0 0,0 0 1 0 0,0 0-1 0 0,0 0 1 0 0,0 0-1 0 0,0 0 1 0 0,0 0 0 0 0,0 0-1 0 0,0 0 1 0 0,1 1-1 0 0,-1-1 1 0 0,0 1-1 0 0,1-1 1 0 0,-1 1-1 0 0,0-1 1 0 0,1 1-1 0 0,-1 0 1 0 0,1-1-1 0 0,-1 1 1 0 0,3 0-1 0 0,-1 1 31 0 0,-1-1-1 0 0,1 1 1 0 0,0 0-1 0 0,-1 0 1 0 0,1 0-1 0 0,-1 0 1 0 0,1 0-1 0 0,-1 0 1 0 0,1 1-1 0 0,-1-1 1 0 0,3 3-1 0 0,4 4 367 0 0,1 2 0 0 0,-1-1 0 0 0,14 20 0 0 0,9 11 506 0 0,27 37 2560 0 0,-58-76-3380 0 0,-1 0-1 0 0,1 0 1 0 0,-1 0-1 0 0,1 0 0 0 0,0 0 1 0 0,0 0-1 0 0,-1-1 1 0 0,1 1-1 0 0,0 0 1 0 0,0-1-1 0 0,0 1 0 0 0,0-1 1 0 0,0 1-1 0 0,0-1 1 0 0,0 1-1 0 0,0-1 0 0 0,0 1 1 0 0,0-1-1 0 0,0 0 1 0 0,0 0-1 0 0,0 0 0 0 0,0 1 1 0 0,2-1-1 0 0,-1-1-46 0 0,0 1-1 0 0,0-1 1 0 0,-1 1-1 0 0,1-1 1 0 0,0 0-1 0 0,0 0 1 0 0,0 1 0 0 0,-1-1-1 0 0,1-1 1 0 0,0 1-1 0 0,2-3 1 0 0,2-1-21 0 0,0-1 0 0 0,-1-1 1 0 0,1 1-1 0 0,7-14 1 0 0,52-99 86 0 0,-28 37-3123 0 0,-36 80 2640 0 0,-1 0-1 0 0,1 1 0 0 0,0-1 0 0 0,-1 0 0 0 0,1 1 1 0 0,0-1-1 0 0,0 1 0 0 0,0-1 0 0 0,0 1 0 0 0,1-1 1 0 0,-1 1-1 0 0,0 0 0 0 0,1 0 0 0 0,-1-1 0 0 0,0 1 1 0 0,1 0-1 0 0,0 0 0 0 0,-1 0 0 0 0,1 1 0 0 0,-1-1 1 0 0,1 0-1 0 0,0 1 0 0 0,0-1 0 0 0,-1 1 0 0 0,4-1 1 0 0,1 1-87 0 0,-1 1-1 0 0,1-1 1 0 0,0 1 0 0 0,0 0 0 0 0,-1 1 0 0 0,10 2 0 0 0,14 5-647 0 0,4-3 624 0 0,-1 0 0 0 0,1-3 1 0 0,61 0-1 0 0,-80-3 635 0 0,-1-1 0 0 0,0-1 0 0 0,0 0 0 0 0,0-1 0 0 0,0 0 0 0 0,0-1 0 0 0,0 0 1 0 0,-1-1-1 0 0,0-1 0 0 0,0 0 0 0 0,0 0 0 0 0,14-12 0 0 0,-4-7 703 0 0,-22 24-888 0 0,1 0 0 0 0,-1 1 0 0 0,0-1 0 0 0,1 1-1 0 0,-1-1 1 0 0,0 1 0 0 0,0-1 0 0 0,0 0-1 0 0,0 1 1 0 0,1-1 0 0 0,-1 0 0 0 0,0 1 0 0 0,0-1-1 0 0,0 0 1 0 0,0 1 0 0 0,-1-1 0 0 0,1 0 0 0 0,0 1-1 0 0,0-1 1 0 0,0 1 0 0 0,0-1 0 0 0,-1 0-1 0 0,1 1 1 0 0,0-1 0 0 0,0 1 0 0 0,-1-1 0 0 0,1 0-1 0 0,-1 1 1 0 0,1-1 0 0 0,0 1 0 0 0,-1 0 0 0 0,1-1-1 0 0,-1 1 1 0 0,1-1 0 0 0,-1 1 0 0 0,1 0-1 0 0,-1-1 1 0 0,0 1 0 0 0,1 0 0 0 0,-1-1 0 0 0,1 1-1 0 0,-1 0 1 0 0,-1 0 0 0 0,0-2 59 0 0,-1 1 0 0 0,0 0 0 0 0,0 0 0 0 0,0 0 0 0 0,0 0-1 0 0,0 0 1 0 0,0 1 0 0 0,0 0 0 0 0,0-1 0 0 0,-5 1 0 0 0,-7 2 74 0 0,0 1-1 0 0,0 0 1 0 0,0 1-1 0 0,-22 9 1 0 0,30-10-110 0 0,0-1 0 0 0,1 2 0 0 0,0-1-1 0 0,0 1 1 0 0,0 0 0 0 0,0 0 0 0 0,1 1 0 0 0,-1-1 0 0 0,1 1 0 0 0,0 0 0 0 0,1 1-1 0 0,-1-1 1 0 0,-3 8 0 0 0,0 14 290 0 0,8-26-322 0 0,-1 0-1 0 0,1 0 1 0 0,0 0 0 0 0,0 0-1 0 0,0 0 1 0 0,0 1 0 0 0,0-1-1 0 0,1 0 1 0 0,-1 0-1 0 0,0 0 1 0 0,0 0 0 0 0,1 0-1 0 0,-1 0 1 0 0,0 0 0 0 0,1 0-1 0 0,-1 0 1 0 0,1 0 0 0 0,-1 0-1 0 0,1 0 1 0 0,0-1 0 0 0,-1 1-1 0 0,1 0 1 0 0,0 0 0 0 0,0 0-1 0 0,1 0 1 0 0,5 2 14 0 0,1-1 1 0 0,-1 0-1 0 0,1 0 1 0 0,-1-1-1 0 0,1 0 1 0 0,0 0-1 0 0,0-1 1 0 0,-1 0-1 0 0,1 0 1 0 0,0-1-1 0 0,0 0 1 0 0,11-3 0 0 0,-4 1-42 0 0,0 0 1 0 0,0 1-1 0 0,0 1 1 0 0,0 0-1 0 0,23 2 1 0 0,-34 0 5 0 0,0 0 0 0 0,0 0-1 0 0,1 0 1 0 0,-1 0 0 0 0,0 1 0 0 0,0-1 0 0 0,0 1 0 0 0,0 0-1 0 0,0 1 1 0 0,-1-1 0 0 0,1 0 0 0 0,-1 1 0 0 0,1 0 0 0 0,-1 0-1 0 0,0 0 1 0 0,0 0 0 0 0,0 1 0 0 0,0-1 0 0 0,-1 1 0 0 0,0 0-1 0 0,1-1 1 0 0,-1 1 0 0 0,2 7 0 0 0,0 1 103 0 0,0 1 1 0 0,-1-1 0 0 0,-1 1-1 0 0,0 0 1 0 0,-1 0-1 0 0,0 0 1 0 0,-1-1 0 0 0,0 1-1 0 0,-1 0 1 0 0,-1 0-1 0 0,0 0 1 0 0,0-1 0 0 0,-7 19-1 0 0,6-20 55 0 0,-1 0 0 0 0,-1 0 1 0 0,0 0-1 0 0,0 0 0 0 0,-1-1 0 0 0,-1 0 0 0 0,1 0 0 0 0,-1 0 0 0 0,-1-1 0 0 0,0 0 0 0 0,0-1 1 0 0,-1 0-1 0 0,0 0 0 0 0,-18 11 0 0 0,22-16-56 0 0,0-1-1 0 0,-1 0 1 0 0,1 1 0 0 0,-1-2 0 0 0,0 1 0 0 0,0-1-1 0 0,0 0 1 0 0,0 0 0 0 0,0 0 0 0 0,0-1 0 0 0,0 0-1 0 0,0 0 1 0 0,0 0 0 0 0,-11-3 0 0 0,13 2-70 0 0,0 0 0 0 0,1 0 0 0 0,-1-1-1 0 0,1 1 1 0 0,-1-1 0 0 0,1 0 0 0 0,-1 0 0 0 0,1 0 0 0 0,0 0 0 0 0,0 0 0 0 0,0-1 0 0 0,0 0 0 0 0,1 1 0 0 0,-1-1 0 0 0,0 0 0 0 0,1 0 0 0 0,0 0 0 0 0,0-1 0 0 0,0 1 0 0 0,0-1 0 0 0,1 1 0 0 0,-1-1 0 0 0,-1-6 0 0 0,2 4-255 0 0,0 0 0 0 0,0 0 0 0 0,1 0 0 0 0,-1 0 1 0 0,1 0-1 0 0,1 0 0 0 0,-1 0 0 0 0,1 0 0 0 0,0 0 1 0 0,1 0-1 0 0,-1 0 0 0 0,4-8 0 0 0,1 2-1168 0 0,-1 1-1 0 0,2 0 1 0 0,-1 0-1 0 0,1 1 1 0 0,9-11-1 0 0,-2 5-3440 0 0</inkml:trace>
</inkml:ink>
</file>

<file path=ppt/ink/ink2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6:05.93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1528 0 0,'0'0'1804'0'0,"16"2"1697"0"0,4-2-1401 0 0,-2 0-1244 0 0,0-2-1180 0 0,0 2-3925 0 0</inkml:trace>
</inkml:ink>
</file>

<file path=ppt/ink/ink2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6:06.63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0 0 1480 0 0,'-1'3'4046'0'0,"-18"83"763"0"0,16-65-4325 0 0,0 1 1 0 0,1-1-1 0 0,1 1 0 0 0,2 27 0 0 0,28 140 849 0 0,-1-5-2876 0 0,-27-180 1235 0 0,1 41-1843 0 0,-6-18-2579 0 0,0-19 1777 0 0</inkml:trace>
</inkml:ink>
</file>

<file path=ppt/ink/ink2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6:07.02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7 186 316 0 0,'-2'-2'336'0'0,"0"0"-1"0"0,1-1 1 0 0,-1 1 0 0 0,1-1-1 0 0,-1 1 1 0 0,1-1 0 0 0,0 1-1 0 0,0-1 1 0 0,0 0 0 0 0,0 0 0 0 0,1 1-1 0 0,-1-1 1 0 0,1 0 0 0 0,0-3-1 0 0,0 4-262 0 0,0 0-1 0 0,1 0 0 0 0,0 0 0 0 0,-1 0 1 0 0,1 0-1 0 0,0 1 0 0 0,0-1 0 0 0,0 0 1 0 0,0 1-1 0 0,0-1 0 0 0,0 1 0 0 0,1-1 1 0 0,-1 1-1 0 0,1-1 0 0 0,-1 1 0 0 0,1 0 1 0 0,-1 0-1 0 0,1 0 0 0 0,0-1 1 0 0,-1 2-1 0 0,1-1 0 0 0,2-1 0 0 0,17-7 125 0 0,1 1 0 0 0,1 1 0 0 0,-1 1 0 0 0,1 1 0 0 0,40-4-1 0 0,17-3 441 0 0,78-11 1239 0 0,-155 22-1847 0 0,-1 2 17 0 0,-1-1-39 0 0,-1 1 1 0 0,1-1-1 0 0,-1 0 0 0 0,1 0 0 0 0,-1 0 0 0 0,1 1 0 0 0,-1-1 0 0 0,1 0 0 0 0,-1 1 0 0 0,0-1 0 0 0,1 0 1 0 0,-1 1-1 0 0,1-1 0 0 0,-1 0 0 0 0,0 1 0 0 0,0-1 0 0 0,1 1 0 0 0,-1-1 0 0 0,0 1 0 0 0,0-1 0 0 0,1 1 0 0 0,-1-1 1 0 0,0 1-1 0 0,0-1 0 0 0,0 1 0 0 0,0-1 0 0 0,0 1 0 0 0,1 0 0 0 0,-7 18 202 0 0,5-14-127 0 0,-1 0-1 0 0,1 1 1 0 0,0-1 0 0 0,0 0-1 0 0,1 1 1 0 0,-1-1 0 0 0,1 1-1 0 0,0-1 1 0 0,1 1 0 0 0,0-1-1 0 0,-1 1 1 0 0,2-1 0 0 0,-1 1-1 0 0,1-1 1 0 0,-1 0 0 0 0,2 0-1 0 0,-1 0 1 0 0,0 0 0 0 0,1 0-1 0 0,0 0 1 0 0,0-1 0 0 0,0 1-1 0 0,1-1 1 0 0,0 0-1 0 0,-1 0 1 0 0,1 0 0 0 0,7 4-1 0 0,-6-3 17 0 0,1-1 0 0 0,0 0 0 0 0,0 0 0 0 0,0 0-1 0 0,0-1 1 0 0,0 0 0 0 0,1 0 0 0 0,0 0-1 0 0,-1-1 1 0 0,1 0 0 0 0,0-1 0 0 0,0 1 0 0 0,0-1-1 0 0,0 0 1 0 0,1-1 0 0 0,-1 0 0 0 0,0 0-1 0 0,0-1 1 0 0,0 0 0 0 0,13-3 0 0 0,-16 3-78 0 0,-1-1 1 0 0,1 0-1 0 0,0 1 0 0 0,-1-2 1 0 0,1 1-1 0 0,-1 0 0 0 0,0-1 1 0 0,0 0-1 0 0,0 0 1 0 0,0 0-1 0 0,0 0 0 0 0,0 0 1 0 0,-1 0-1 0 0,0-1 1 0 0,1 1-1 0 0,-1-1 0 0 0,-1 0 1 0 0,1 1-1 0 0,0-1 1 0 0,-1 0-1 0 0,0 0 0 0 0,0 0 1 0 0,0 0-1 0 0,0-8 0 0 0,0 6-78 0 0,-1 0-1 0 0,0 1 1 0 0,0-1-1 0 0,-1 0 0 0 0,1 0 1 0 0,-1 1-1 0 0,-1-1 1 0 0,1 0-1 0 0,-1 1 0 0 0,0-1 1 0 0,0 1-1 0 0,-1 0 0 0 0,1-1 1 0 0,-1 1-1 0 0,0 0 1 0 0,-8-8-1 0 0,6 7-394 0 0,-1 0 1 0 0,0 1-1 0 0,-1-1 0 0 0,1 1 1 0 0,-1 1-1 0 0,-7-5 0 0 0,9 7-350 0 0,0 0-1 0 0,-1 0 0 0 0,1 0 1 0 0,0 0-1 0 0,-1 1 0 0 0,1 0 1 0 0,-1 0-1 0 0,-11 1 0 0 0</inkml:trace>
</inkml:ink>
</file>

<file path=ppt/ink/ink2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6:07.57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58 101 792 0 0,'0'-4'284'0'0,"0"0"0"0"0,0 0 1 0 0,-1 0-1 0 0,1 1 0 0 0,-1-1 0 0 0,0 0 1 0 0,0 0-1 0 0,-1 0 0 0 0,1 0 0 0 0,-1 1 0 0 0,1-1 1 0 0,-1 1-1 0 0,0-1 0 0 0,-1 1 0 0 0,1 0 0 0 0,0 0 1 0 0,-1 0-1 0 0,0 0 0 0 0,0 0 0 0 0,0 0 0 0 0,0 1 1 0 0,0 0-1 0 0,-7-4 0 0 0,4 3-102 0 0,0 0 0 0 0,-1 1 0 0 0,1 0-1 0 0,-1 0 1 0 0,1 0 0 0 0,-1 1 0 0 0,0 0 0 0 0,0 0 0 0 0,0 1-1 0 0,0 0 1 0 0,1 0 0 0 0,-14 3 0 0 0,3 0 59 0 0,0 1 0 0 0,0 0 0 0 0,1 1 0 0 0,-1 1-1 0 0,-25 14 1 0 0,36-17-177 0 0,0 0 0 0 0,0 1 0 0 0,1-1-1 0 0,0 1 1 0 0,0 1 0 0 0,0-1-1 0 0,0 1 1 0 0,0-1 0 0 0,1 1 0 0 0,0 1-1 0 0,0-1 1 0 0,1 1 0 0 0,-1-1 0 0 0,1 1-1 0 0,0 0 1 0 0,1 0 0 0 0,-1 0-1 0 0,-1 7 1 0 0,4-9-36 0 0,-1 0 1 0 0,1 0-1 0 0,-1 1 0 0 0,1-1 0 0 0,0 0 0 0 0,1 0 0 0 0,-1 0 1 0 0,1 0-1 0 0,0 0 0 0 0,0 0 0 0 0,0 0 0 0 0,0 0 1 0 0,1 0-1 0 0,0-1 0 0 0,0 1 0 0 0,0 0 0 0 0,0-1 0 0 0,0 0 1 0 0,0 1-1 0 0,1-1 0 0 0,0 0 0 0 0,4 3 0 0 0,-1 0 7 0 0,0-1-1 0 0,1-1 1 0 0,0 1-1 0 0,0-1 1 0 0,0 0-1 0 0,0-1 1 0 0,1 0-1 0 0,-1 0 0 0 0,15 3 1 0 0,-17-5-52 0 0,-1-1 1 0 0,0 1-1 0 0,0-1 1 0 0,1 0-1 0 0,-1 0 0 0 0,0-1 1 0 0,0 1-1 0 0,0-1 1 0 0,1 0-1 0 0,-1 0 1 0 0,0 0-1 0 0,0-1 0 0 0,0 0 1 0 0,0 1-1 0 0,-1-1 1 0 0,1 0-1 0 0,0-1 1 0 0,4-4-1 0 0,5-3-162 0 0,-1-2 1 0 0,0 1-1 0 0,13-20 0 0 0,-10 13 126 0 0,48-68 12 0 0,-62 85 43 0 0,-1 0 0 0 0,1 0-1 0 0,0 1 1 0 0,-1-1-1 0 0,1 0 1 0 0,0 1 0 0 0,0-1-1 0 0,-1 0 1 0 0,1 1-1 0 0,0-1 1 0 0,0 1-1 0 0,0 0 1 0 0,0-1 0 0 0,0 1-1 0 0,1-1 1 0 0,0 4-1 0 0,-1-1 0 0 0,1 0 0 0 0,-1 1 0 0 0,1-1 0 0 0,-1 1 0 0 0,0 0 0 0 0,0-1 0 0 0,0 1 0 0 0,-1 0 0 0 0,1-1 0 0 0,-1 1 0 0 0,1 0 0 0 0,-1 4 0 0 0,1 4 14 0 0,33 133 182 0 0,-16-73-665 0 0,-12-47-144 0 0,19 73-5742 0 0</inkml:trace>
</inkml:ink>
</file>

<file path=ppt/ink/ink2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6:07.97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31 644 0 0,'5'-14'1561'0'0,"-3"9"-808"0"0,0-1 0 0 0,1 0 0 0 0,-1 1-1 0 0,1 0 1 0 0,0-1 0 0 0,0 1 0 0 0,7-7-1 0 0,-9 11-225 0 0,5 2-100 0 0,-6-1-408 0 0,0 0 0 0 0,0-1 0 0 0,1 1-1 0 0,-1 0 1 0 0,0 0 0 0 0,1 0 0 0 0,-1 0 0 0 0,0 0-1 0 0,1 0 1 0 0,-1 0 0 0 0,0 0 0 0 0,1 0 0 0 0,-1 0-1 0 0,0 0 1 0 0,1 0 0 0 0,-1 0 0 0 0,0 0 0 0 0,1 1-1 0 0,-1-1 1 0 0,0 0 0 0 0,0 0 0 0 0,1 0 0 0 0,-1 0-1 0 0,0 0 1 0 0,0 1 0 0 0,1-1 0 0 0,-1 0 0 0 0,0 0-1 0 0,0 1 1 0 0,1-1 0 0 0,-1 0 0 0 0,0 1 0 0 0,31 51 1541 0 0,21 32 1866 0 0,-52-83-3345 0 0,1-1 0 0 0,-1 0 0 0 0,0 1 0 0 0,1-1 0 0 0,-1 0 0 0 0,1 0 0 0 0,-1 1 1 0 0,1-1-1 0 0,-1 0 0 0 0,1 0 0 0 0,-1 1 0 0 0,1-1 0 0 0,-1 0 0 0 0,1 0 0 0 0,-1 0 0 0 0,1 0 0 0 0,-1 0 0 0 0,1 0 0 0 0,-1 0 0 0 0,1 0 0 0 0,-1 0 0 0 0,1 0 0 0 0,0 0 1 0 0,4-5 32 0 0,-1 0 0 0 0,1 0 0 0 0,-1-1 0 0 0,0 1 1 0 0,-1-1-1 0 0,0 0 0 0 0,1 0 0 0 0,-2 0 0 0 0,1 0 0 0 0,3-13 1 0 0,-1-5-1137 0 0,5-40 1 0 0,-6 37-1847 0 0,-1 8-5276 0 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05:34.23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3 23 1536 0 0,'0'0'2316'0'0,"-2"1"-1248"0"0,-1-1-918 0 0,0 1 1 0 0,0-1-1 0 0,0 1 1 0 0,1 0 0 0 0,-1 0-1 0 0,0 1 1 0 0,1-1-1 0 0,-1 0 1 0 0,1 1-1 0 0,0 0 1 0 0,-1-1 0 0 0,1 1-1 0 0,0 0 1 0 0,0 0-1 0 0,0 0 1 0 0,0 0-1 0 0,0 1 1 0 0,1-1-1 0 0,-1 0 1 0 0,1 1 0 0 0,-1-1-1 0 0,1 1 1 0 0,0 0-1 0 0,0-1 1 0 0,0 1-1 0 0,0 0 1 0 0,1 0 0 0 0,-1 0-1 0 0,1-1 1 0 0,0 1-1 0 0,-1 0 1 0 0,1 0-1 0 0,1 0 1 0 0,-1 0 0 0 0,0 0-1 0 0,1-1 1 0 0,-1 1-1 0 0,1 0 1 0 0,1 3-1 0 0,1 0-33 0 0,1-1-1 0 0,0 1 1 0 0,-1-1-1 0 0,2 0 0 0 0,-1 0 1 0 0,0 0-1 0 0,1-1 1 0 0,0 0-1 0 0,0 0 0 0 0,1 0 1 0 0,-1 0-1 0 0,1-1 1 0 0,10 5-1 0 0,-4-3-27 0 0,1 0 0 0 0,-1-1 0 0 0,1 0-1 0 0,0-1 1 0 0,20 2 0 0 0,-27-5-36 0 0,-1 0 0 0 0,1 0 0 0 0,-1-1 0 0 0,1 1 0 0 0,0-1 0 0 0,-1 0 0 0 0,0 0 0 0 0,1-1-1 0 0,-1 0 1 0 0,0 0 0 0 0,0 0 0 0 0,0-1 0 0 0,6-3 0 0 0,-9 5-37 0 0,0 0 0 0 0,-1-1 0 0 0,1 1 0 0 0,0-1 0 0 0,0 1 0 0 0,0-1-1 0 0,-1 0 1 0 0,1 1 0 0 0,-1-1 0 0 0,0 0 0 0 0,1 0 0 0 0,-1 0 0 0 0,0-1 0 0 0,0 1 0 0 0,0 0 0 0 0,0 0 0 0 0,-1 0 0 0 0,1-1-1 0 0,-1 1 1 0 0,1 0 0 0 0,-1-1 0 0 0,0 1 0 0 0,0-1 0 0 0,0 1 0 0 0,0 0 0 0 0,0-1 0 0 0,0 1 0 0 0,-1 0 0 0 0,1-1-1 0 0,-1 1 1 0 0,-1-4 0 0 0,0 3-12 0 0,0-1-1 0 0,-1 0 1 0 0,1 1-1 0 0,-1-1 1 0 0,0 1-1 0 0,0 0 1 0 0,0 0-1 0 0,0 0 1 0 0,-1 0-1 0 0,1 0 1 0 0,-1 1-1 0 0,1 0 1 0 0,-5-3-1 0 0,-10-4 26 0 0,-27-9-1 0 0,38 15-16 0 0,-19-6-97 0 0,-1 1 1 0 0,-35-6 0 0 0,-12 5-3718 0 0,70 9 2588 0 0,-11-2-2809 0 0</inkml:trace>
</inkml:ink>
</file>

<file path=ppt/ink/ink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2:32.05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12 263 288 0 0,'1'-2'274'0'0,"1"0"-1"0"0,-1 0 1 0 0,1 1-1 0 0,-1-1 1 0 0,1 1 0 0 0,-1-1-1 0 0,1 1 1 0 0,0-1-1 0 0,0 1 1 0 0,0 0 0 0 0,0 0-1 0 0,0 0 1 0 0,0 0-1 0 0,0 0 1 0 0,0 0 0 0 0,0 1-1 0 0,4-1 1 0 0,-2 0-101 0 0,0 1 1 0 0,0 0-1 0 0,0 0 0 0 0,1 0 1 0 0,-1 1-1 0 0,0 0 0 0 0,0 0 1 0 0,0 0-1 0 0,4 1 0 0 0,1 2-18 0 0,0 0 0 0 0,0 1 0 0 0,0 0 0 0 0,-1 0 1 0 0,0 1-1 0 0,0 0 0 0 0,10 9 0 0 0,-12-9-60 0 0,-1 0 0 0 0,1 0 0 0 0,-1 1-1 0 0,0 0 1 0 0,0 0 0 0 0,-1 0 0 0 0,0 1 0 0 0,0-1 0 0 0,-1 1 0 0 0,0 0 0 0 0,0 0 0 0 0,-1 0 0 0 0,0 1 0 0 0,0-1 0 0 0,-1 0 0 0 0,0 1 0 0 0,0-1-1 0 0,-1 1 1 0 0,0-1 0 0 0,-1 1 0 0 0,0-1 0 0 0,0 1 0 0 0,-1-1 0 0 0,0 0 0 0 0,-1 0 0 0 0,1 0 0 0 0,-1 0 0 0 0,-1 0 0 0 0,0 0 0 0 0,0-1 0 0 0,0 0-1 0 0,-1 0 1 0 0,0 0 0 0 0,-1 0 0 0 0,1-1 0 0 0,-8 7 0 0 0,5-5-31 0 0,-1 0 0 0 0,0-1-1 0 0,0 1 1 0 0,0-2 0 0 0,-1 1-1 0 0,0-1 1 0 0,0-1 0 0 0,-1 0 0 0 0,0 0-1 0 0,1-1 1 0 0,-2-1 0 0 0,1 1-1 0 0,-16 1 1 0 0,26-5-58 0 0,0 0 0 0 0,0 1 0 0 0,0-1 0 0 0,0 0 0 0 0,0 0 0 0 0,-1 0 0 0 0,1 0-1 0 0,0-1 1 0 0,0 1 0 0 0,0 0 0 0 0,0 0 0 0 0,0-1 0 0 0,0 1 0 0 0,0 0 0 0 0,0-1 0 0 0,0 1 0 0 0,-1-2 0 0 0,2 2-6 0 0,-1 0 0 0 0,1-1 1 0 0,0 1-1 0 0,0-1 0 0 0,0 1 1 0 0,0-1-1 0 0,0 1 0 0 0,0 0 0 0 0,-1-1 1 0 0,1 1-1 0 0,0-1 0 0 0,0 1 1 0 0,0-1-1 0 0,0 1 0 0 0,0-1 1 0 0,1 1-1 0 0,-1-1 0 0 0,0 1 1 0 0,0 0-1 0 0,0-1 0 0 0,0 1 1 0 0,0-1-1 0 0,1 1 0 0 0,-1-1 0 0 0,0 1 1 0 0,1-1-1 0 0,1-2-4 0 0,0 0 1 0 0,1 0-1 0 0,-1 0 0 0 0,1 0 0 0 0,0 0 1 0 0,3-2-1 0 0,24-15-24 0 0,2 2 0 0 0,-1 1 0 0 0,48-17 0 0 0,-4 1 12 0 0,-74 32 17 0 0,35-16 11 0 0,-1-1 0 0 0,50-35 0 0 0,-76 47-10 0 0,-1 0 0 0 0,0-1-1 0 0,-1 0 1 0 0,1 0 0 0 0,-1-1-1 0 0,-1 0 1 0 0,1 0 0 0 0,-1 0 0 0 0,-1-1-1 0 0,0 0 1 0 0,0 0 0 0 0,-1 0-1 0 0,0-1 1 0 0,0 1 0 0 0,3-15-1 0 0,-6 19-4 0 0,-1-1-1 0 0,1 0 0 0 0,-1 1 0 0 0,0-1 0 0 0,0 0 0 0 0,-1 0 1 0 0,0 1-1 0 0,0-1 0 0 0,0 0 0 0 0,-1 1 0 0 0,1-1 0 0 0,-1 1 0 0 0,-5-10 1 0 0,2 8 2 0 0,1 0 0 0 0,-1 0 0 0 0,0 1 0 0 0,-1-1 1 0 0,0 1-1 0 0,0 1 0 0 0,0-1 0 0 0,-13-8 0 0 0,5 5-9 0 0,-2 1-1 0 0,1 0 1 0 0,-1 1-1 0 0,0 1 1 0 0,-1 0 0 0 0,1 1-1 0 0,-1 1 1 0 0,-27-4-1 0 0,14 6 3 0 0,0 1 1 0 0,0 2-1 0 0,1 0 0 0 0,-1 2 0 0 0,1 1 0 0 0,-57 17 1 0 0,53-11 36 0 0,1 2 1 0 0,0 1 0 0 0,2 1-1 0 0,-1 2 1 0 0,-49 35-1 0 0,65-40 62 0 0,1 1 0 0 0,0 0 0 0 0,0 1-1 0 0,2 1 1 0 0,-1 0 0 0 0,2 0 0 0 0,0 1-1 0 0,1 1 1 0 0,0 0 0 0 0,-13 32-1 0 0,19-37-40 0 0,0 1 0 0 0,0-1 0 0 0,2 1-1 0 0,-1 0 1 0 0,1 0 0 0 0,1 0-1 0 0,0 1 1 0 0,1-1 0 0 0,0 0 0 0 0,1 0-1 0 0,0 1 1 0 0,1-1 0 0 0,0 0-1 0 0,1-1 1 0 0,1 1 0 0 0,0 0 0 0 0,7 15-1 0 0,1-4 3 0 0,1-1 0 0 0,1-1 0 0 0,1 0 0 0 0,1-1 0 0 0,0-1 0 0 0,2 0 0 0 0,0-1-1 0 0,1-1 1 0 0,0-1 0 0 0,43 26 0 0 0,-34-26 42 0 0,1-1-1 0 0,0-1 1 0 0,1-2-1 0 0,0-1 1 0 0,0-1-1 0 0,1-2 1 0 0,1-1 0 0 0,41 4-1 0 0,-31-8 124 0 0,1-1 0 0 0,-1-2 0 0 0,1-2 1 0 0,-1-2-1 0 0,72-16 0 0 0,-91 15-144 0 0,0-2-1 0 0,-1 0 1 0 0,0-2 0 0 0,0 0 0 0 0,-1-2 0 0 0,0 0 0 0 0,-1-1 0 0 0,0-1-1 0 0,-1-1 1 0 0,-1-1 0 0 0,31-31 0 0 0,-41 37-41 0 0,0-1 0 0 0,-1 0 0 0 0,-1 0 0 0 0,0-1 0 0 0,0 1 0 0 0,-1-1 0 0 0,0-1 1 0 0,-1 1-1 0 0,5-20 0 0 0,-6 14-18 0 0,0 1 0 0 0,-2-1 0 0 0,0 0 0 0 0,-1 0 0 0 0,0 1 0 0 0,-4-23 0 0 0,-5-2 7 0 0,-1 0 1 0 0,-2 1 0 0 0,-2 0-1 0 0,-32-67 1 0 0,30 75-120 0 0,0 0 0 0 0,-40-55 0 0 0,48 77-235 0 0,0 0 1 0 0,-1 1 0 0 0,0 0-1 0 0,-20-15 1 0 0,23 20-63 0 0,0 1 0 0 0,0-1 0 0 0,-1 1 0 0 0,1 0 0 0 0,-1 0 0 0 0,0 1 0 0 0,0 0 0 0 0,0 0 0 0 0,-12-1 0 0 0,11 2-489 0 0,1 1-1 0 0,0 1 1 0 0,0-1-1 0 0,-1 1 1 0 0,1 1-1 0 0,-10 2 1 0 0,-3 3-3209 0 0</inkml:trace>
</inkml:ink>
</file>

<file path=ppt/ink/ink3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6:08.33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4 31 1140 0 0,'9'-4'7128'0'0,"-12"6"-7021"0"0,-1 0 0 0 0,0 1 0 0 0,1-1 0 0 0,0 1 0 0 0,-1 0 0 0 0,1 0 1 0 0,0 0-1 0 0,1 0 0 0 0,-1 0 0 0 0,0 1 0 0 0,1-1 0 0 0,0 1 0 0 0,0 0 0 0 0,0 0 0 0 0,0 0 0 0 0,1 0 0 0 0,-1 0 0 0 0,1 0 0 0 0,0 0 0 0 0,0 0 0 0 0,1 0 0 0 0,-1 0 0 0 0,1 1 1 0 0,0-1-1 0 0,0 0 0 0 0,0 1 0 0 0,2 5 0 0 0,-2-4-32 0 0,1 0 1 0 0,0 0 0 0 0,1 0-1 0 0,0 0 1 0 0,0-1-1 0 0,0 1 1 0 0,0 0-1 0 0,1-1 1 0 0,0 0 0 0 0,0 0-1 0 0,0 0 1 0 0,1 0-1 0 0,0 0 1 0 0,0 0 0 0 0,0-1-1 0 0,0 0 1 0 0,1 0-1 0 0,0 0 1 0 0,0 0 0 0 0,6 3-1 0 0,-9-6-63 0 0,0 0 0 0 0,0 0 0 0 0,0 0 0 0 0,0 0 0 0 0,0-1 0 0 0,1 1 0 0 0,-1-1 0 0 0,0 1 0 0 0,0-1 0 0 0,1 0 0 0 0,-1 0 0 0 0,0 0 0 0 0,0 0 0 0 0,1 0 0 0 0,-1 0 0 0 0,0-1 0 0 0,0 1 0 0 0,1-1 0 0 0,-1 1 0 0 0,0-1 0 0 0,0 0 0 0 0,0 0 0 0 0,0 0 0 0 0,0 0 0 0 0,3-3 0 0 0,-2 1-7 0 0,0-1-1 0 0,0 1 1 0 0,0-1-1 0 0,-1 0 1 0 0,0 0-1 0 0,1 0 0 0 0,-1 0 1 0 0,-1-1-1 0 0,1 1 1 0 0,-1 0-1 0 0,0-1 1 0 0,0 1-1 0 0,0-1 1 0 0,0 0-1 0 0,-1 1 1 0 0,0-1-1 0 0,0 1 1 0 0,0-1-1 0 0,-1 0 0 0 0,1 1 1 0 0,-1-1-1 0 0,0 1 1 0 0,0-1-1 0 0,-4-7 1 0 0,-1-4-147 0 0,-2 0 0 0 0,0 0 0 0 0,-1 1 0 0 0,-21-28-1 0 0,29 41-33 0 0,-1 1 0 0 0,1 0-1 0 0,-1-1 1 0 0,1 1-1 0 0,-1 0 1 0 0,0 0-1 0 0,0 0 1 0 0,0 0-1 0 0,0 0 1 0 0,1 0-1 0 0,-4-1 1 0 0,3 2-37 0 0,0-1-691 0 0</inkml:trace>
</inkml:ink>
</file>

<file path=ppt/ink/ink3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6:08.69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364 40 0 0,'3'-1'2308'0'0,"14"0"1273"0"0,-13 0-2209 0 0,-1 1-1109 0 0,26 0 2575 0 0,-28 0-2750 0 0,1 1 0 0 0,-1-1 1 0 0,1 0-1 0 0,-1 1 0 0 0,1-1 0 0 0,-1 1 0 0 0,1 0 0 0 0,-1-1 1 0 0,1 1-1 0 0,-1 0 0 0 0,0 0 0 0 0,1 0 0 0 0,-1 0 1 0 0,0 0-1 0 0,0 0 0 0 0,0 0 0 0 0,0 0 0 0 0,0 1 1 0 0,1 1-1 0 0,2 4 9 0 0,-1 1 0 0 0,0 0 1 0 0,0 0-1 0 0,-1 0 0 0 0,0 1 1 0 0,0-1-1 0 0,0 9 0 0 0,0 62-3740 0 0,-2-62 1102 0 0,1-12 480 0 0,4 5-234 0 0</inkml:trace>
  <inkml:trace contextRef="#ctx0" brushRef="#br0" timeOffset="1">191 151 1576 0 0,'-14'-40'3986'0'0,"4"11"-1194"0"0,-25-52 0 0 0,34 80-2834 0 0</inkml:trace>
</inkml:ink>
</file>

<file path=ppt/ink/ink3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6:09.02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94 1 1012 0 0,'3'0'274'0'0,"0"1"0"0"0,0 0 0 0 0,0 0 0 0 0,0 0 0 0 0,-1 0 0 0 0,1 0 0 0 0,0 1 0 0 0,0-1 0 0 0,-1 1 0 0 0,1 0 0 0 0,-1 0 0 0 0,0 0 0 0 0,1 0 0 0 0,-1 0 0 0 0,0 1 0 0 0,0-1 0 0 0,3 5 0 0 0,-3-2-11 0 0,1 1 0 0 0,-1-1 0 0 0,0 0-1 0 0,-1 1 1 0 0,1-1 0 0 0,-1 1 0 0 0,0-1-1 0 0,0 1 1 0 0,-1 6 0 0 0,0 4 117 0 0,0 0-1 0 0,-2 0 1 0 0,0-1 0 0 0,-1 1 0 0 0,0-1 0 0 0,-7 18-1 0 0,7-25-316 0 0,-1-1 0 0 0,0 1 0 0 0,0-1 0 0 0,-1 0 0 0 0,0 0 0 0 0,0 0 0 0 0,0 0 0 0 0,-1-1-1 0 0,0 0 1 0 0,0 0 0 0 0,-1-1 0 0 0,0 0 0 0 0,0 0 0 0 0,0 0 0 0 0,0-1 0 0 0,-1 0 0 0 0,0 0 0 0 0,0-1 0 0 0,0 0-1 0 0,0-1 1 0 0,0 1 0 0 0,0-2 0 0 0,-1 1 0 0 0,1-1 0 0 0,-15 0 0 0 0,20-1-53 0 0,1 0 0 0 0,-1 0 0 0 0,0 0 1 0 0,0 0-1 0 0,0-1 0 0 0,1 0 0 0 0,-1 1 0 0 0,0-1 1 0 0,0 0-1 0 0,1 0 0 0 0,-1 0 0 0 0,1-1 0 0 0,-4-1 1 0 0,5 2-10 0 0,0 0 1 0 0,0 0-1 0 0,0 0 1 0 0,0 0 0 0 0,0 0-1 0 0,0-1 1 0 0,0 1 0 0 0,1 0-1 0 0,-1 0 1 0 0,0-1 0 0 0,1 1-1 0 0,-1 0 1 0 0,1-1-1 0 0,-1 1 1 0 0,1-1 0 0 0,0 1-1 0 0,-1-1 1 0 0,1-1 0 0 0,0 0-5 0 0,1 0 0 0 0,-1 0 0 0 0,1 0 1 0 0,-1 0-1 0 0,1 1 0 0 0,0-1 0 0 0,0 0 0 0 0,0 1 1 0 0,1-1-1 0 0,-1 1 0 0 0,0-1 0 0 0,1 1 1 0 0,0 0-1 0 0,0-1 0 0 0,-1 1 0 0 0,1 0 0 0 0,1 0 1 0 0,-1 0-1 0 0,0 0 0 0 0,0 1 0 0 0,1-1 1 0 0,2-1-1 0 0,6-3-16 0 0,1 1 1 0 0,-1 1-1 0 0,1 0 1 0 0,-1 0-1 0 0,1 1 0 0 0,1 1 1 0 0,-1 0-1 0 0,0 0 1 0 0,0 1-1 0 0,1 1 0 0 0,-1 0 1 0 0,0 1-1 0 0,0 0 1 0 0,1 1-1 0 0,19 5 0 0 0,-26-4 12 0 0,1-1-1 0 0,-1 1 0 0 0,0 0 1 0 0,0 0-1 0 0,0 1 0 0 0,0 0 0 0 0,-1 0 1 0 0,8 7-1 0 0,-8-6-1311 0 0,-1 0 1 0 0,1 0-1 0 0,-1 1 0 0 0,6 9 1 0 0</inkml:trace>
</inkml:ink>
</file>

<file path=ppt/ink/ink3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6:16.38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72 72 804 0 0,'-3'-5'348'0'0,"0"0"1"0"0,0 0-1 0 0,0 0 0 0 0,-1 0 0 0 0,0 1 0 0 0,0 0 1 0 0,0 0-1 0 0,0 0 0 0 0,-1 0 0 0 0,0 1 1 0 0,0 0-1 0 0,0-1 0 0 0,0 2 0 0 0,0-1 1 0 0,0 1-1 0 0,-8-3 0 0 0,7 4-150 0 0,-1-1 0 0 0,1 1 0 0 0,-1 1 0 0 0,0-1 0 0 0,1 1 0 0 0,-1 0-1 0 0,0 1 1 0 0,0 0 0 0 0,1 0 0 0 0,-1 0 0 0 0,1 1 0 0 0,-1 0 0 0 0,-11 5 0 0 0,3 0 46 0 0,0 0-1 0 0,1 1 1 0 0,0 1 0 0 0,0 0 0 0 0,1 1-1 0 0,0 1 1 0 0,1 0 0 0 0,0 1 0 0 0,-14 18-1 0 0,21-24-170 0 0,1 0 0 0 0,0-1-1 0 0,0 2 1 0 0,1-1-1 0 0,-1 0 1 0 0,2 1 0 0 0,-1-1-1 0 0,1 1 1 0 0,0 0-1 0 0,0 0 1 0 0,0 0 0 0 0,1 0-1 0 0,0 0 1 0 0,1 0-1 0 0,0 0 1 0 0,0 0-1 0 0,0 0 1 0 0,1 1 0 0 0,0-1-1 0 0,0 0 1 0 0,1 0-1 0 0,0-1 1 0 0,0 1 0 0 0,5 9-1 0 0,0-4-25 0 0,1 0 0 0 0,0 0-1 0 0,1-1 1 0 0,0 0 0 0 0,0 0 0 0 0,2-1-1 0 0,-1 0 1 0 0,1-1 0 0 0,0 0 0 0 0,1-1-1 0 0,0-1 1 0 0,0 1 0 0 0,23 8 0 0 0,-25-12-28 0 0,1 0 0 0 0,0 0 0 0 0,0-2-1 0 0,0 1 1 0 0,1-1 0 0 0,-1-1 0 0 0,21 1 0 0 0,-24-3-12 0 0,0 0 0 0 0,0 0-1 0 0,0 0 1 0 0,-1-1-1 0 0,1 0 1 0 0,0 0 0 0 0,-1-1-1 0 0,0 0 1 0 0,0 0-1 0 0,0-1 1 0 0,13-9 0 0 0,-14 8-9 0 0,0-1 0 0 0,0 1 0 0 0,-1-2 0 0 0,0 1 1 0 0,0 0-1 0 0,0-1 0 0 0,-1 0 0 0 0,0 0 0 0 0,-1 0 0 0 0,1-1 1 0 0,-1 1-1 0 0,-1-1 0 0 0,0 0 0 0 0,0 0 0 0 0,0 1 0 0 0,-1-1 1 0 0,0-1-1 0 0,0 1 0 0 0,-1 0 0 0 0,0 0 0 0 0,-1 0 0 0 0,0 0 1 0 0,-2-10-1 0 0,2 10-45 0 0,-1-1 1 0 0,0 1-1 0 0,0-1 0 0 0,-1 1 1 0 0,0 0-1 0 0,-1-1 0 0 0,1 2 1 0 0,-2-1-1 0 0,1 0 1 0 0,-1 1-1 0 0,0 0 0 0 0,-1 0 1 0 0,1 0-1 0 0,-1 1 1 0 0,-1 0-1 0 0,1 0 0 0 0,-1 1 1 0 0,0-1-1 0 0,0 1 0 0 0,-1 1 1 0 0,-9-5-1 0 0,14 7-240 0 0,-1 1-1 0 0,0-1 1 0 0,0 1-1 0 0,1 0 1 0 0,-1 0-1 0 0,0 0 0 0 0,0 1 1 0 0,0 0-1 0 0,0-1 1 0 0,0 1-1 0 0,0 1 1 0 0,0-1-1 0 0,0 0 1 0 0,-8 3-1 0 0,12-3 170 0 0,-1 0 1 0 0,1 1-1 0 0,0-1 0 0 0,-1 0 0 0 0,1 0 0 0 0,0 1 1 0 0,-1-1-1 0 0,1 0 0 0 0,0 1 0 0 0,-1-1 0 0 0,1 1 1 0 0,0-1-1 0 0,0 0 0 0 0,-1 1 0 0 0,1-1 1 0 0,0 1-1 0 0,0-1 0 0 0,0 0 0 0 0,-1 1 0 0 0,1-1 1 0 0,0 1-1 0 0,0-1 0 0 0,0 1 0 0 0,0-1 0 0 0,0 1 1 0 0,0-1-1 0 0,0 1 0 0 0,0-1 0 0 0,0 1 0 0 0,0-1 1 0 0,1 0-1 0 0,-1 1 0 0 0,0-1 0 0 0,0 1 0 0 0,0-1 1 0 0,0 1-1 0 0,1-1 0 0 0,-1 0 0 0 0,0 1 0 0 0,0-1 1 0 0,1 1-1 0 0,-1-1 0 0 0,0 0 0 0 0,1 1 1 0 0,-1-1-1 0 0,1 1 26 0 0</inkml:trace>
</inkml:ink>
</file>

<file path=ppt/ink/ink3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6:16.94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22 584 0 0,'3'0'1266'0'0,"-1"0"-1075"0"0,-1 0-1 0 0,1 0 0 0 0,-1 1 1 0 0,1-1-1 0 0,0 0 0 0 0,-1 1 1 0 0,1-1-1 0 0,-1 1 0 0 0,1 0 1 0 0,-1-1-1 0 0,1 1 0 0 0,-1 0 1 0 0,0 0-1 0 0,1 0 0 0 0,-1 0 1 0 0,0 0-1 0 0,0 0 0 0 0,1 1 1 0 0,-1-1-1 0 0,0 0 1 0 0,0 1-1 0 0,-1-1 0 0 0,1 0 1 0 0,1 2-1 0 0,-1 3 198 0 0,1-1 1 0 0,-1 1-1 0 0,0 0 1 0 0,0-1-1 0 0,0 11 1 0 0,3 23 616 0 0,3-13-445 0 0,0-1 0 0 0,18 39 0 0 0,-22-56-510 0 0,1-1 0 0 0,0 0 1 0 0,0 0-1 0 0,1 0 1 0 0,0 0-1 0 0,0 0 1 0 0,0-1-1 0 0,1 0 1 0 0,0 0-1 0 0,0-1 1 0 0,1 1-1 0 0,10 6 0 0 0,-13-11-40 0 0,0 1-1 0 0,0 0 0 0 0,-1-1 0 0 0,1 0 0 0 0,0 0 0 0 0,0 0 0 0 0,1 0 0 0 0,-1-1 0 0 0,0 1 0 0 0,0-1 0 0 0,0 0 0 0 0,0-1 0 0 0,0 1 0 0 0,6-2 1 0 0,-3 0-132 0 0,0 0 0 0 0,0 0 1 0 0,0-1-1 0 0,0-1 1 0 0,0 1-1 0 0,-1-1 0 0 0,8-5 1 0 0,4-6-227 0 0,-1 1-1 0 0,-1-2 1 0 0,0 0 0 0 0,15-22 0 0 0,8-9 159 0 0,-38 45 745 0 0,-1 5-496 0 0,1 1 0 0 0,-1 0 0 0 0,1-1 0 0 0,0 1 0 0 0,0-1 0 0 0,0 1 0 0 0,0-1 1 0 0,1 0-1 0 0,-1 0 0 0 0,1 1 0 0 0,0-1 0 0 0,2 3 0 0 0,2 1 160 0 0,0 1 1 0 0,1-1-1 0 0,7 6 0 0 0,-12-11-194 0 0,0-1-1 0 0,0 1 0 0 0,0-1 0 0 0,0 0 0 0 0,0 0 0 0 0,0 0 0 0 0,1 0 0 0 0,-1 0 0 0 0,0 0 0 0 0,1 0 1 0 0,-1-1-1 0 0,0 1 0 0 0,1-1 0 0 0,-1 0 0 0 0,1 0 0 0 0,-1 0 0 0 0,1 0 0 0 0,-1 0 0 0 0,5-1 0 0 0,-2 0-6 0 0,0-1-1 0 0,-1 1 0 0 0,1-1 0 0 0,-1 0 1 0 0,1 0-1 0 0,-1 0 0 0 0,8-6 0 0 0,-5 2-11 0 0,-1 0 0 0 0,1-1 0 0 0,-1 1 0 0 0,0-1-1 0 0,-1-1 1 0 0,0 1 0 0 0,0-1 0 0 0,-1 0-1 0 0,1 0 1 0 0,-2 0 0 0 0,6-16 0 0 0,0-9-77 0 0,10-59 0 0 0,-17 81 46 0 0,7-43 415 0 0,2-90 0 0 0,-11 142-157 0 0,-1 4-42 0 0,-3 3-121 0 0,1 0 0 0 0,0 0 0 0 0,1 1 1 0 0,0-1-1 0 0,-1 0 0 0 0,2 1 0 0 0,-1 0 0 0 0,1-1 0 0 0,-2 10 0 0 0,-2 60 483 0 0,3-38-253 0 0,0 14 104 0 0,7 86 0 0 0,11-13-2658 0 0,-10-97 917 0 0,0-3-812 0 0,-5-8-2603 0 0</inkml:trace>
</inkml:ink>
</file>

<file path=ppt/ink/ink3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6:17.33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296 1296 0 0,'0'-2'159'0'0,"0"0"-1"0"0,0-1 1 0 0,0 1 0 0 0,0 0-1 0 0,0 0 1 0 0,0 0 0 0 0,1 0-1 0 0,-1 0 1 0 0,1 0-1 0 0,-1 0 1 0 0,1-1 0 0 0,0 1-1 0 0,0 1 1 0 0,0-1 0 0 0,0 0-1 0 0,0 0 1 0 0,0 0-1 0 0,1 0 1 0 0,-1 1 0 0 0,0-1-1 0 0,1 1 1 0 0,0-1 0 0 0,-1 1-1 0 0,1 0 1 0 0,0-1-1 0 0,0 1 1 0 0,3-1 0 0 0,7-5-37 0 0,0 1 0 0 0,1 0 0 0 0,17-5-1 0 0,-11 5 179 0 0,-17 5-282 0 0,145-64 554 0 0,-128 56-116 0 0,-1-2 1 0 0,-1-1 0 0 0,0 0-1 0 0,-1-1 1 0 0,26-26 0 0 0,2-5 1638 0 0,-43 43-1669 0 0,2 9-166 0 0,-2-7-254 0 0,-1-1 0 0 0,0 1 0 0 0,1-1-1 0 0,-1 1 1 0 0,0-1 0 0 0,1 1-1 0 0,-1-1 1 0 0,0 1 0 0 0,0-1-1 0 0,0 1 1 0 0,0 0 0 0 0,0-1 0 0 0,1 1-1 0 0,-1-1 1 0 0,0 1 0 0 0,0-1-1 0 0,0 1 1 0 0,-1 0 0 0 0,1-1-1 0 0,0 1 1 0 0,0 0 0 0 0,-48 219 1779 0 0,32-141-2185 0 0,9-18-2067 0 0,10-23-3425 0 0</inkml:trace>
</inkml:ink>
</file>

<file path=ppt/ink/ink3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6:17.71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99 2140 0 0,'3'-1'1804'0'0,"-2"1"-1406"0"0,1-1 0 0 0,0 0 0 0 0,0 1-1 0 0,0 0 1 0 0,0-1 0 0 0,0 1 0 0 0,0 0 0 0 0,0 0 0 0 0,0 0 0 0 0,0 0 0 0 0,-1 0 0 0 0,1 1 0 0 0,3 0 0 0 0,-4 0-296 0 0,0 0 1 0 0,0 0-1 0 0,0 0 1 0 0,0 0-1 0 0,0 0 1 0 0,0 0 0 0 0,-1 0-1 0 0,1 0 1 0 0,0 1-1 0 0,-1-1 1 0 0,1 0-1 0 0,-1 1 1 0 0,1-1-1 0 0,-1 0 1 0 0,0 1-1 0 0,1-1 1 0 0,-1 0-1 0 0,0 1 1 0 0,0-1-1 0 0,0 3 1 0 0,1 18 192 0 0,-1-1 0 0 0,0 0 0 0 0,-5 28 0 0 0,3-37-2066 0 0,-1 0-1 0 0,0-1 1 0 0,-8 22 0 0 0</inkml:trace>
  <inkml:trace contextRef="#ctx0" brushRef="#br0" timeOffset="1">32 114 1512 0 0,'-11'-89'6625'0'0,"10"88"-6707"0"0,1 1-1 0 0,0-1 1 0 0,0 0-1 0 0,-1 0 1 0 0,1 0-1 0 0,0 0 1 0 0,0 0-1 0 0,0 0 1 0 0,0 0-1 0 0,0 0 1 0 0,0 0-1 0 0,1 1 1 0 0,-1-1-1 0 0,0 0 1 0 0,0 0-1 0 0,1 0 1 0 0,-1 0-1 0 0,0 0 1 0 0,1 1-1 0 0,-1-1 1 0 0,1 0-1 0 0,-1 0 0 0 0,1 1 1 0 0,-1-1-1 0 0,1 0 1 0 0,1 0-1 0 0,-1 0-184 0 0,0 1-1 0 0,1 0 1 0 0,-1 0-1 0 0,0-1 0 0 0,1 1 1 0 0,-1 0-1 0 0,0 0 0 0 0,1 0 1 0 0,-1 0-1 0 0,1 1 1 0 0,1 0-1 0 0,4-1 262 0 0,-5 1-282 0 0</inkml:trace>
</inkml:ink>
</file>

<file path=ppt/ink/ink3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6:18.28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8 112 716 0 0,'5'-2'457'0'0,"-1"0"0"0"0,1 0 0 0 0,-1-1 0 0 0,0 1 0 0 0,1-1 0 0 0,-1 0 0 0 0,-1-1 0 0 0,1 1 0 0 0,0-1 0 0 0,3-4 0 0 0,-6 7-51 0 0,-1 0-364 0 0,0 1 0 0 0,1-1 1 0 0,-1 1-1 0 0,0 0 0 0 0,0-1 0 0 0,0 1 0 0 0,0-1 0 0 0,0 1 0 0 0,0-1 0 0 0,0 1 0 0 0,0 0 1 0 0,0-1-1 0 0,0 1 0 0 0,-1-1 0 0 0,1 1 0 0 0,0 0 0 0 0,0-1 0 0 0,0 1 0 0 0,0 0 0 0 0,-1-1 1 0 0,1 1-1 0 0,0 0 0 0 0,0-1 0 0 0,-1 1 0 0 0,1 0 0 0 0,0-1 0 0 0,0 1 0 0 0,-1 0 0 0 0,1-1 1 0 0,0 1-1 0 0,-1 0 0 0 0,1 0 0 0 0,-1 0 0 0 0,1-1 0 0 0,0 1 0 0 0,-1 0 0 0 0,0 0 0 0 0,-6 1 129 0 0,0-1 0 0 0,-1 2-1 0 0,1-1 1 0 0,0 1 0 0 0,0 0-1 0 0,0 1 1 0 0,0 0-1 0 0,0 0 1 0 0,1 0 0 0 0,-1 1-1 0 0,1 0 1 0 0,0 0 0 0 0,0 0-1 0 0,-10 11 1 0 0,12-12-108 0 0,1 1 0 0 0,-1-1 0 0 0,1 1 0 0 0,0 0 0 0 0,0 0 0 0 0,0 1 0 0 0,1-1 0 0 0,-1 0 0 0 0,1 1 0 0 0,0 0 0 0 0,1-1 0 0 0,-1 1 0 0 0,1 0 0 0 0,0 0 0 0 0,0 0 0 0 0,0 0 0 0 0,0 0 0 0 0,1 0 0 0 0,0 0 0 0 0,0 0 0 0 0,1 0 0 0 0,-1 0 0 0 0,3 7 0 0 0,0-3-17 0 0,0-1 1 0 0,0-1-1 0 0,1 1 0 0 0,0 0 0 0 0,0-1 1 0 0,1 0-1 0 0,0 0 0 0 0,0 0 1 0 0,1 0-1 0 0,0-1 0 0 0,0 0 0 0 0,1 0 1 0 0,-1-1-1 0 0,1 0 0 0 0,0 0 1 0 0,1 0-1 0 0,-1-1 0 0 0,1 0 0 0 0,0-1 1 0 0,0 1-1 0 0,16 3 0 0 0,-20-7-104 0 0,-1 1-1 0 0,1-1 1 0 0,0 0-1 0 0,-1 0 1 0 0,1 0-1 0 0,0 0 1 0 0,0 0 0 0 0,-1-1-1 0 0,1 0 1 0 0,0 0-1 0 0,-1 0 1 0 0,1 0-1 0 0,-1-1 1 0 0,1 1-1 0 0,-1-1 1 0 0,0 0 0 0 0,0 0-1 0 0,6-4 1 0 0,2-3-255 0 0,0-1 1 0 0,0-1-1 0 0,10-13 1 0 0,-16 18 266 0 0,26-33-308 0 0,-20 24 308 0 0,1 0 0 0 0,17-15 0 0 0,-28 29 53 0 0,-1 0 0 0 0,1 0 1 0 0,0 0-1 0 0,0 0 0 0 0,0 1 0 0 0,0-1 1 0 0,0 0-1 0 0,0 1 0 0 0,0-1 1 0 0,0 1-1 0 0,0-1 0 0 0,0 1 0 0 0,0 0 1 0 0,0-1-1 0 0,1 1 0 0 0,-1 0 0 0 0,0 0 1 0 0,0 0-1 0 0,0-1 0 0 0,0 1 0 0 0,1 1 1 0 0,-1-1-1 0 0,0 0 0 0 0,2 0 0 0 0,-1 1 23 0 0,-1 0-1 0 0,1 0 1 0 0,-1 0-1 0 0,0 0 1 0 0,0 1-1 0 0,1-1 1 0 0,-1 0-1 0 0,0 0 0 0 0,0 1 1 0 0,0-1-1 0 0,0 1 1 0 0,0-1-1 0 0,0 1 1 0 0,1 2-1 0 0,1 4 78 0 0,-1 1-1 0 0,1-1 1 0 0,-1 1-1 0 0,0 0 1 0 0,0 10 0 0 0,6 116 2810 0 0,-8-136-2910 0 0,-1 0 0 0 0,1 0 0 0 0,-1 0 0 0 0,1 0 0 0 0,0 0 0 0 0,-1 0-1 0 0,1 0 1 0 0,0 0 0 0 0,0 0 0 0 0,0 0 0 0 0,0 0 0 0 0,0 0 0 0 0,0 0 0 0 0,0 0-1 0 0,0 0 1 0 0,1 0 0 0 0,-1 0 0 0 0,0 0 0 0 0,0 0 0 0 0,1 0 0 0 0,-1 0 0 0 0,1 0-1 0 0,-1 0 1 0 0,1 0 0 0 0,-1 0 0 0 0,1 0 0 0 0,0 0 0 0 0,-1 0 0 0 0,2 0 0 0 0,27-32-150 0 0,-21 25 77 0 0,25-25-93 0 0,48-38-1 0 0,25-24 66 0 0,-17-12 21 0 0,-81 93-5 0 0,-8 14 77 0 0,0 0 0 0 0,0-1-1 0 0,-1 1 1 0 0,1 0-1 0 0,0 0 1 0 0,0 0 0 0 0,0 0-1 0 0,0 0 1 0 0,0-1-1 0 0,0 1 1 0 0,0 0 0 0 0,0 0-1 0 0,-1 0 1 0 0,1 0-1 0 0,0 0 1 0 0,0 0 0 0 0,0-1-1 0 0,0 1 1 0 0,0 0-1 0 0,-1 0 1 0 0,1 0-1 0 0,0 0 1 0 0,0 0 0 0 0,0 0-1 0 0,0 0 1 0 0,-1 0-1 0 0,1 0 1 0 0,0 0 0 0 0,0 0-1 0 0,0 0 1 0 0,0 0-1 0 0,-1 0 1 0 0,1 0 0 0 0,0 0-1 0 0,0 0 1 0 0,0 0-1 0 0,0 0 1 0 0,-1 0 0 0 0,1 0-1 0 0,-2 1 3 0 0,1-1-1 0 0,-1 1 0 0 0,0 0 1 0 0,1-1-1 0 0,-1 1 1 0 0,1 0-1 0 0,-1 0 1 0 0,1 0-1 0 0,-1 0 0 0 0,-1 2 1 0 0,0 2 25 0 0,0 1 0 0 0,1-1 0 0 0,-1 1 1 0 0,1 0-1 0 0,0 0 0 0 0,0 1 0 0 0,1-1 0 0 0,0 0 1 0 0,0 0-1 0 0,0 1 0 0 0,1-1 0 0 0,0 0 0 0 0,0 1 0 0 0,1-1 1 0 0,1 7-1 0 0,3 13 124 0 0,1 1 0 0 0,12 30 0 0 0,-9-28-103 0 0,-7-22-15 0 0,1 0 0 0 0,-2 1 0 0 0,1-1 0 0 0,-1 1 0 0 0,1 14 0 0 0,-2-20-16 0 0,0 1-1 0 0,-1-1 1 0 0,1 0-1 0 0,-1 0 1 0 0,1 1-1 0 0,-1-1 1 0 0,0 0-1 0 0,0 0 1 0 0,0 0-1 0 0,0 0 1 0 0,0 0-1 0 0,-1 0 1 0 0,1 0 0 0 0,0 0-1 0 0,-1 0 1 0 0,1-1-1 0 0,-1 1 1 0 0,0-1-1 0 0,0 1 1 0 0,0-1-1 0 0,1 1 1 0 0,-1-1-1 0 0,-4 2 1 0 0,-16 5 22 0 0,1 0 0 0 0,-1-1 0 0 0,0-1 0 0 0,-45 6 1 0 0,12-3-1544 0 0,7 2-1552 0 0,18-3-1764 0 0</inkml:trace>
</inkml:ink>
</file>

<file path=ppt/ink/ink3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6:18.63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54 0 1760 0 0,'-58'10'3587'0'0,"35"-6"-960"0"0,0 0-1 0 0,-27 0 1 0 0,94 3-1942 0 0,46-3-406 0 0,85 1-1137 0 0,-59-8-2909 0 0,-85 0 730 0 0,-3 0-1088 0 0</inkml:trace>
</inkml:ink>
</file>

<file path=ppt/ink/ink3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6:19.04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36 720 0 0,'0'0'2462'0'0,"3"0"-1608"0"0,9-2-110 0 0,-9 2-76 0 0,1 0-75 0 0,16-2-19 0 0,-1-1-1 0 0,1 0 1 0 0,-1-1-1 0 0,0-2 1 0 0,35-13-1 0 0,-48 16-495 0 0,1-1 0 0 0,0 0 0 0 0,-1 0 0 0 0,1 0 0 0 0,-1-1 1 0 0,0 0-1 0 0,-1 0 0 0 0,7-8 0 0 0,-9 9-43 0 0,0 1 0 0 0,-1-1 0 0 0,0 0 0 0 0,0 0 0 0 0,0 0 0 0 0,0 0 0 0 0,0 0 0 0 0,-1 0 0 0 0,0 0 0 0 0,0-1 0 0 0,0 1 0 0 0,0 0 1 0 0,-1-1-1 0 0,0 1 0 0 0,0-7 0 0 0,0 7-30 0 0,-1 1 1 0 0,1 0 0 0 0,-1-1-1 0 0,1 1 1 0 0,-1 0-1 0 0,0 0 1 0 0,-1 0 0 0 0,1 0-1 0 0,0 0 1 0 0,-1 0 0 0 0,0 0-1 0 0,1 0 1 0 0,-1 0 0 0 0,0 1-1 0 0,0-1 1 0 0,-1 1-1 0 0,1 0 1 0 0,-1-1 0 0 0,-3-1-1 0 0,2 1 7 0 0,0 1 0 0 0,0 0 0 0 0,0 0 0 0 0,-1 0 0 0 0,1 1 0 0 0,-1-1 0 0 0,1 1 0 0 0,-1 0 0 0 0,0 0 0 0 0,1 1 0 0 0,-1 0-1 0 0,-7 0 1 0 0,5 0-13 0 0,1 1 0 0 0,0 0-1 0 0,-1 0 1 0 0,1 0-1 0 0,0 1 1 0 0,0 0 0 0 0,0 0-1 0 0,0 1 1 0 0,-8 4-1 0 0,10-5-24 0 0,1 1 0 0 0,0-1 0 0 0,-1 1-1 0 0,1-1 1 0 0,0 1 0 0 0,0 0-1 0 0,0 0 1 0 0,1 1 0 0 0,-1-1-1 0 0,1 1 1 0 0,0-1 0 0 0,0 1 0 0 0,0 0-1 0 0,-3 6 1 0 0,4-6-258 0 0,0 0 0 0 0,1 1-1 0 0,-1-1 1 0 0,1 0 0 0 0,0 1 0 0 0,0-1-1 0 0,0 1 1 0 0,0-1 0 0 0,1 0 0 0 0,0 1-1 0 0,0-1 1 0 0,0 0 0 0 0,0 0 0 0 0,1 0 0 0 0,-1 0-1 0 0,1 0 1 0 0,0 0 0 0 0,0 0 0 0 0,4 4-1 0 0,7 8-2231 0 0</inkml:trace>
</inkml:ink>
</file>

<file path=ppt/ink/ink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2:37.84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0 222 436 0 0,'0'0'3723'0'0,"-1"0"-3649"0"0,1 0 0 0 0,-1 0 0 0 0,0 0-1 0 0,1 1 1 0 0,-1-1 0 0 0,0 0 0 0 0,0 1 0 0 0,1-1 0 0 0,-1 0 0 0 0,1 1-1 0 0,-1-1 1 0 0,0 1 0 0 0,1-1 0 0 0,-1 1 0 0 0,1-1 0 0 0,-1 1 0 0 0,0 0 0 0 0,1 0-42 0 0,6 166 3248 0 0,16-4-1930 0 0,-22-161-1169 0 0,1 0-1 0 0,-1 0 1 0 0,1 0-1 0 0,-1 0 1 0 0,0 0 0 0 0,0 0-1 0 0,0 0 1 0 0,0 0-1 0 0,0 0 1 0 0,0 0 0 0 0,0 0-1 0 0,-1 0 1 0 0,1 0-1 0 0,-1 0 1 0 0,0 0 0 0 0,-1 3-1 0 0,2-5-156 0 0,-1 0-1 0 0,0 0 0 0 0,1 0 1 0 0,-1 0-1 0 0,1 0 0 0 0,-1 0 1 0 0,1 0-1 0 0,-1-1 0 0 0,1 1 1 0 0,-1 0-1 0 0,0 0 0 0 0,1 0 1 0 0,-1-1-1 0 0,1 1 0 0 0,-1 0 1 0 0,1 0-1 0 0,-1-1 1 0 0,1 1-1 0 0,0 0 0 0 0,-1-1 1 0 0,1 1-1 0 0,-1-1 0 0 0,1 1 1 0 0,0 0-1 0 0,-1-1 0 0 0,1 0 1 0 0,-11-12 141 0 0,2-2-195 0 0,2-1 0 0 0,0 0 0 0 0,2-1 0 0 0,-1 0 0 0 0,2 1 0 0 0,0-2 0 0 0,1 1 0 0 0,1 0 0 0 0,0 0 0 0 0,2-31 0 0 0,2 19-26 0 0,0 1 1 0 0,2-1-1 0 0,2 1 0 0 0,0 0 0 0 0,18-48 1 0 0,-17 58-10 0 0,1 0 1 0 0,18-30-1 0 0,-22 43 49 0 0,-1 0 0 0 0,1 0 0 0 0,0 0 0 0 0,1 0 0 0 0,-1 1 0 0 0,1-1 0 0 0,0 1 0 0 0,0 0 0 0 0,0 1 0 0 0,0-1 0 0 0,1 1 0 0 0,6-3 0 0 0,-9 5 11 0 0,0 1 1 0 0,0-1 0 0 0,0 1-1 0 0,1 0 1 0 0,-1-1 0 0 0,0 1 0 0 0,0 1-1 0 0,0-1 1 0 0,1 0 0 0 0,-1 1 0 0 0,0 0-1 0 0,0 0 1 0 0,0 0 0 0 0,0 0-1 0 0,0 0 1 0 0,0 1 0 0 0,0-1 0 0 0,-1 1-1 0 0,5 2 1 0 0,3 4 1 0 0,0-1 0 0 0,0 2 0 0 0,11 12 0 0 0,-1 1 50 0 0,-1 1 0 0 0,-1 1 1 0 0,-2 0-1 0 0,0 2 1 0 0,-1-1-1 0 0,-2 2 1 0 0,-1 0-1 0 0,-1 1 1 0 0,-1 0-1 0 0,11 55 0 0 0,-16-58-1221 0 0,-2 1 0 0 0,-1 0-1 0 0,-1 0 1 0 0,-3 32 0 0 0,1-48-1159 0 0,-2-1-433 0 0</inkml:trace>
</inkml:ink>
</file>

<file path=ppt/ink/ink3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6:29.62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95 0 1044 0 0,'-63'7'8306'0'0,"60"-7"-7299"0"0,0 1-161 0 0,2-1-665 0 0,-20 6 1516 0 0,18-1-717 0 0,14-2-286 0 0,148 11 1326 0 0,166-7 1 0 0,-310-7-1951 0 0,9 0-65 0 0,-5 1-213 0 0,-1-1-1 0 0,0-1 1 0 0,0 0-1 0 0,23-6 0 0 0,-25-3-4597 0 0</inkml:trace>
</inkml:ink>
</file>

<file path=ppt/ink/ink3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6:30.16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0 92 0 0,'1'-3'2152'0'0,"4"-24"5960"0"0,-6 45-7096 0 0,-2 19-350 0 0,3 1 0 0 0,1-1 1 0 0,1 1-1 0 0,2-1 0 0 0,18 69 1 0 0,-18-88-559 0 0,2-1 1 0 0,0 0-1 0 0,1 0 1 0 0,1-1-1 0 0,0 0 1 0 0,1 0-1 0 0,1-1 1 0 0,0 0-1 0 0,1 0 1 0 0,1-1-1 0 0,0-1 1 0 0,0 0-1 0 0,2-1 1 0 0,19 14 0 0 0,-26-21-53 0 0,1 0 0 0 0,0 0 0 0 0,1-1 1 0 0,-1-1-1 0 0,1 1 0 0 0,0-1 0 0 0,-1-1 1 0 0,1 1-1 0 0,0-2 0 0 0,1 1 1 0 0,-1-1-1 0 0,0-1 0 0 0,0 1 0 0 0,12-3 1 0 0,-13 1-36 0 0,1 0 1 0 0,-1-1 0 0 0,0-1 0 0 0,0 0 0 0 0,0 0 0 0 0,-1 0-1 0 0,1-1 1 0 0,-1 0 0 0 0,0 0 0 0 0,0-1 0 0 0,0 0 0 0 0,0 0-1 0 0,-1-1 1 0 0,0 1 0 0 0,10-14 0 0 0,-6 6 1 0 0,-1-1-1 0 0,0 0 1 0 0,-1-1 0 0 0,-1 0-1 0 0,0 0 1 0 0,-1-1 0 0 0,-1 0 0 0 0,0 0-1 0 0,-1 0 1 0 0,2-22 0 0 0,0-19 410 0 0,-3-93 0 0 0,-4 101-246 0 0,1 46-193 0 0,0 5-18 0 0,-3 15 29 0 0,1 0-1 0 0,1 1 1 0 0,0-1-1 0 0,4 27 0 0 0,-2-19-2 0 0,3 42 144 0 0,18 92 0 0 0,27 63-2196 0 0,-45-209 1356 0 0,1 2-1772 0 0</inkml:trace>
</inkml:ink>
</file>

<file path=ppt/ink/ink3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6:30.63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97 93 1432 0 0,'1'-13'1685'0'0,"-1"7"-805"0"0,0-1 0 0 0,0 1 1 0 0,0-1-1 0 0,-3-11 0 0 0,2 16-758 0 0,1 0-1 0 0,-1 0 1 0 0,1 0 0 0 0,-1 1-1 0 0,0-1 1 0 0,0 0 0 0 0,0 1 0 0 0,0-1-1 0 0,0 1 1 0 0,0-1 0 0 0,0 1 0 0 0,-1 0-1 0 0,1-1 1 0 0,0 1 0 0 0,-1 0-1 0 0,1 0 1 0 0,-1 0 0 0 0,0 0 0 0 0,1 0-1 0 0,-1 0 1 0 0,0 0 0 0 0,-3 0 0 0 0,4 0-102 0 0,-1 0 0 0 0,0 1 0 0 0,0-1 0 0 0,0 1 1 0 0,0 0-1 0 0,0 0 0 0 0,0-1 0 0 0,0 1 0 0 0,0 1 1 0 0,0-1-1 0 0,0 0 0 0 0,0 0 0 0 0,0 1 0 0 0,0-1 1 0 0,1 1-1 0 0,-1-1 0 0 0,0 1 0 0 0,0 0 0 0 0,0 0 1 0 0,1 0-1 0 0,-1 0 0 0 0,0 0 0 0 0,1 0 0 0 0,-1 1 1 0 0,1-1-1 0 0,-1 0 0 0 0,1 1 0 0 0,0-1 0 0 0,0 1 1 0 0,-1-1-1 0 0,1 1 0 0 0,0 0 0 0 0,0-1 0 0 0,1 1 0 0 0,-1 0 1 0 0,0 0-1 0 0,1 0 0 0 0,-1 0 0 0 0,1 0 0 0 0,-1 0 1 0 0,1 0-1 0 0,0-1 0 0 0,0 1 0 0 0,0 0 0 0 0,0 0 1 0 0,0 0-1 0 0,1 3 0 0 0,0 4 2 0 0,0 0 1 0 0,1 0-1 0 0,1-1 0 0 0,0 1 0 0 0,0-1 1 0 0,0 1-1 0 0,6 9 0 0 0,35 53 67 0 0,-17-34 49 0 0,-2-2 99 0 0,22 39 0 0 0,-42-64-94 0 0,0 0 0 0 0,0 0 0 0 0,-1 1 0 0 0,0-1 1 0 0,-1 1-1 0 0,0 0 0 0 0,-1 0 0 0 0,0 0 0 0 0,0 13 0 0 0,-3-18-80 0 0,1 0 0 0 0,-1 0 0 0 0,0-1 0 0 0,0 1 0 0 0,0-1 0 0 0,-1 1 0 0 0,0-1 0 0 0,0 1-1 0 0,-1-1 1 0 0,1 0 0 0 0,-1 0 0 0 0,0 0 0 0 0,-1-1 0 0 0,1 1 0 0 0,-1-1 0 0 0,0 1 0 0 0,0-1 0 0 0,0 0 0 0 0,0-1-1 0 0,-1 1 1 0 0,0-1 0 0 0,1 0 0 0 0,-1 0 0 0 0,-1 0 0 0 0,1-1 0 0 0,0 0 0 0 0,-7 2 0 0 0,10-3-85 0 0,0 0 0 0 0,0-1 0 0 0,0 1 0 0 0,0-1 0 0 0,0 0 0 0 0,0 0 0 0 0,0 1 0 0 0,0-1 0 0 0,-1-1 0 0 0,1 1 0 0 0,0 0 0 0 0,0 0 0 0 0,0-1 0 0 0,0 1 0 0 0,0-1 0 0 0,0 0 0 0 0,0 0 0 0 0,0 0 0 0 0,0 0 0 0 0,0 0 0 0 0,0 0 0 0 0,1 0 0 0 0,-1 0 0 0 0,0-1 0 0 0,1 1 0 0 0,-1-1 0 0 0,1 1 0 0 0,-1-1 0 0 0,1 0 0 0 0,-2-2 0 0 0,0-1-135 0 0,1 1 0 0 0,0-1 0 0 0,0 0 0 0 0,1 0 0 0 0,-1 1 0 0 0,1-1 0 0 0,0 0 0 0 0,0 0 0 0 0,1 0 0 0 0,0 0 0 0 0,0-7 0 0 0,2-6-170 0 0,1 1 0 0 0,1 0 0 0 0,10-29 0 0 0,4-19 428 0 0,-18 63 128 0 0,-16 10 213 0 0,-4 16-298 0 0,1 1-1 0 0,2 1 0 0 0,0 0 1 0 0,-13 30-1 0 0,-11 17-1571 0 0,25-48-4690 0 0</inkml:trace>
</inkml:ink>
</file>

<file path=ppt/ink/ink3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6:31.22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 246 188 0 0,'41'-21'5676'0'0,"26"-2"-2663"0"0,-11 5-1826 0 0,-23 6-732 0 0,-6 2 31 0 0,46-23 0 0 0,-65 29-394 0 0,-1 0 0 0 0,0-1 1 0 0,0 0-1 0 0,-1 0 0 0 0,1 0 0 0 0,-1-1 0 0 0,0 0 1 0 0,-1-1-1 0 0,1 1 0 0 0,7-13 0 0 0,-12 17-75 0 0,0 1 0 0 0,-1-1 0 0 0,1 1-1 0 0,0-1 1 0 0,0 1 0 0 0,-1-1 0 0 0,1 0-1 0 0,-1 1 1 0 0,0-1 0 0 0,1 0 0 0 0,-1 1 0 0 0,0-1-1 0 0,0 0 1 0 0,0 0 0 0 0,0 1 0 0 0,0-1-1 0 0,0 0 1 0 0,-1-2 0 0 0,0 3 2 0 0,0 0 1 0 0,1-1-1 0 0,-1 1 0 0 0,0 0 1 0 0,0 0-1 0 0,0 0 0 0 0,0 0 0 0 0,0 0 1 0 0,0 0-1 0 0,0 0 0 0 0,0 0 1 0 0,-1 1-1 0 0,1-1 0 0 0,0 0 0 0 0,0 1 1 0 0,-1-1-1 0 0,-1 0 0 0 0,-4-1 59 0 0,1 1 0 0 0,-1 0-1 0 0,0 0 1 0 0,1 1-1 0 0,-1-1 1 0 0,0 2 0 0 0,1-1-1 0 0,-9 2 1 0 0,-4 2 143 0 0,1 0 1 0 0,0 2 0 0 0,0 0-1 0 0,0 1 1 0 0,1 0-1 0 0,0 2 1 0 0,1 0-1 0 0,-1 1 1 0 0,2 0-1 0 0,0 1 1 0 0,0 1-1 0 0,1 1 1 0 0,0 0-1 0 0,-22 27 1 0 0,33-35-170 0 0,0 0-1 0 0,0 0 1 0 0,0 0-1 0 0,0 0 1 0 0,1 0 0 0 0,0 1-1 0 0,0-1 1 0 0,0 1-1 0 0,0 0 1 0 0,1-1 0 0 0,0 1-1 0 0,1 0 1 0 0,-1 0 0 0 0,1 0-1 0 0,1 11 1 0 0,1-10-4 0 0,-1 1-1 0 0,1-1 1 0 0,1 1 0 0 0,0-1-1 0 0,0 0 1 0 0,0 0 0 0 0,1 0 0 0 0,0-1-1 0 0,0 1 1 0 0,10 11 0 0 0,-4-7-320 0 0,1 0 0 0 0,0-1 1 0 0,1 0-1 0 0,0-1 0 0 0,1 0 0 0 0,0-1 1 0 0,0 0-1 0 0,1-1 0 0 0,0-1 0 0 0,0 0 0 0 0,23 6 1 0 0,-29-10-114 0 0,0 0 1 0 0,0-1 0 0 0,0-1-1 0 0,0 1 1 0 0,0-1-1 0 0,1 0 1 0 0,-1-1 0 0 0,0 0-1 0 0,0 0 1 0 0,0-1-1 0 0,-1 0 1 0 0,1-1-1 0 0,0 1 1 0 0,-1-1 0 0 0,1-1-1 0 0,-1 1 1 0 0,11-9-1 0 0,3-4-154 0 0,-1-1 0 0 0,-1-1 0 0 0,0 0-1 0 0,17-24 1 0 0,36-35 3846 0 0,-71 75-3247 0 0,1 1 0 0 0,-1 0 1 0 0,0 0-1 0 0,0 0 0 0 0,1-1 0 0 0,-1 1 0 0 0,0 0 0 0 0,1 1 1 0 0,-1-1-1 0 0,1 0 0 0 0,0 0 0 0 0,-1 1 0 0 0,1-1 0 0 0,-1 1 1 0 0,1-1-1 0 0,0 1 0 0 0,-1 0 0 0 0,1 0 0 0 0,0-1 0 0 0,0 1 1 0 0,-1 0-1 0 0,1 1 0 0 0,0-1 0 0 0,-1 0 0 0 0,1 0 1 0 0,0 1-1 0 0,-1-1 0 0 0,1 1 0 0 0,0-1 0 0 0,-1 1 0 0 0,1 0 1 0 0,-1 0-1 0 0,1 0 0 0 0,-1 0 0 0 0,0 0 0 0 0,1 0 0 0 0,-1 0 1 0 0,2 1-1 0 0,0 3 45 0 0,1-1 1 0 0,-1 1 0 0 0,0 0-1 0 0,-1-1 1 0 0,1 1-1 0 0,-1 0 1 0 0,0 1 0 0 0,0-1-1 0 0,0 0 1 0 0,1 9-1 0 0,-1 2 344 0 0,-2 0 0 0 0,1 0 0 0 0,-2 0-1 0 0,0 1 1 0 0,-1-1 0 0 0,-6 25 0 0 0,3-19 3203 0 0,5-22-3632 0 0,0 0-1 0 0,-1 0 0 0 0,1-1 0 0 0,0 1 0 0 0,0 0 0 0 0,-1-1 1 0 0,1 1-1 0 0,0 0 0 0 0,0-1 0 0 0,0 1 0 0 0,0-1 0 0 0,-1 1 1 0 0,1 0-1 0 0,0-1 0 0 0,0 1 0 0 0,0-1 0 0 0,0 1 0 0 0,0-1 1 0 0,0 1-1 0 0,0 0 0 0 0,0-1 0 0 0,0 1 0 0 0,0-1 0 0 0,0 1 0 0 0,0 0 1 0 0,0-1-1 0 0,1 1 0 0 0,-1-1 0 0 0,0 1 0 0 0,0 0 0 0 0,0-1 1 0 0,1 0-1 0 0,4-16 104 0 0,-4 17-96 0 0,3-11-11 0 0,2 0 0 0 0,-1 0 1 0 0,1 1-1 0 0,1 0 0 0 0,0 0 1 0 0,13-14-1 0 0,56-48-994 0 0,-54 53 479 0 0,-4 3-345 0 0,1 1 0 0 0,1 1 0 0 0,0 1 0 0 0,26-12 0 0 0,-18 12-3231 0 0,35-11 0 0 0,-49 19 153 0 0</inkml:trace>
</inkml:ink>
</file>

<file path=ppt/ink/ink3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6:32.03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3 7 872 0 0,'0'0'138'0'0,"0"-1"0"0"0,0 1 0 0 0,-1 0 0 0 0,1-1 0 0 0,0 1 0 0 0,0-1 0 0 0,-1 1 0 0 0,1 0 0 0 0,0-1 0 0 0,-1 1 0 0 0,1 0 0 0 0,-1-1 0 0 0,1 1 0 0 0,0 0 0 0 0,-1 0 0 0 0,1-1 0 0 0,-1 1 0 0 0,1 0 0 0 0,-1 0 0 0 0,1 0 0 0 0,-1 0 0 0 0,1-1 0 0 0,-1 1 0 0 0,1 0 0 0 0,-1 0 0 0 0,1 0 0 0 0,-1 0 0 0 0,1 0 0 0 0,0 0 0 0 0,-1 0 0 0 0,1 1 0 0 0,-2-1 0 0 0,1 1 25 0 0,0-1 0 0 0,0 1 0 0 0,0 0 0 0 0,0 0 0 0 0,1 0-1 0 0,-1 0 1 0 0,0 0 0 0 0,0 0 0 0 0,1 0 0 0 0,-1 1 0 0 0,0-1 0 0 0,0 2 0 0 0,-12 44 1338 0 0,11-41-1091 0 0,-5 33 681 0 0,1 1 1 0 0,-2 58-1 0 0,10 80 1011 0 0,1-50-704 0 0,5 32 1567 0 0,-8-157-1902 0 0,-2-5-919 0 0,0-2-151 0 0,1 1 0 0 0,-1-1 0 0 0,0 1 0 0 0,1-1 0 0 0,0 0 0 0 0,0 1 0 0 0,0-1 0 0 0,0 0 0 0 0,1 0 0 0 0,-1 0 0 0 0,1 1 0 0 0,0-1 0 0 0,0 0 0 0 0,1 0 0 0 0,-1 0 0 0 0,2-6 0 0 0,1-7-158 0 0,1 0 0 0 0,8-25 1 0 0,-6 27 87 0 0,1 0 0 0 0,0 0 0 0 0,1 1 1 0 0,0 0-1 0 0,1 0 0 0 0,1 1 0 0 0,0 0 0 0 0,1 1 1 0 0,0 0-1 0 0,22-17 0 0 0,-27 24 59 0 0,0 0-1 0 0,0 1 1 0 0,0 0 0 0 0,1 1-1 0 0,-1-1 1 0 0,1 1 0 0 0,0 0 0 0 0,0 1-1 0 0,0 0 1 0 0,0 0 0 0 0,1 0-1 0 0,-1 1 1 0 0,1 0 0 0 0,-1 1-1 0 0,0 0 1 0 0,1 0 0 0 0,-1 0-1 0 0,1 1 1 0 0,-1 0 0 0 0,0 0 0 0 0,1 1-1 0 0,-1 0 1 0 0,0 0 0 0 0,0 1-1 0 0,11 5 1 0 0,-12-4 14 0 0,-1-1 0 0 0,1 1 0 0 0,0 0-1 0 0,-1 0 1 0 0,0 0 0 0 0,0 1 0 0 0,0 0 0 0 0,0 0 0 0 0,-1 0 0 0 0,0 1-1 0 0,0-1 1 0 0,-1 1 0 0 0,1 0 0 0 0,-1 0 0 0 0,0 0 0 0 0,-1 0 0 0 0,0 1-1 0 0,3 10 1 0 0,-4-11 17 0 0,0 1-1 0 0,-1-1 1 0 0,0 0-1 0 0,0 0 1 0 0,-1 0 0 0 0,1 1-1 0 0,-1-1 1 0 0,-1 0-1 0 0,1 0 1 0 0,-1 0-1 0 0,0 0 1 0 0,0 0-1 0 0,-1-1 1 0 0,0 1-1 0 0,0-1 1 0 0,0 1 0 0 0,0-1-1 0 0,-1 0 1 0 0,0 0-1 0 0,-6 5 1 0 0,-1 0-68 0 0,-1 0 0 0 0,0-1 0 0 0,-1-1 0 0 0,1 0 0 0 0,-2-1 0 0 0,1 0 0 0 0,-1-1 0 0 0,0 0 0 0 0,0-1 0 0 0,-28 5 0 0 0,33-9-1017 0 0,1 0 1 0 0,-1-1-1 0 0,0 0 1 0 0,-15-2-1 0 0,21 2 519 0 0,2-1 367 0 0,1 1-1 0 0,0 0 1 0 0,-1 0 0 0 0,1 0 0 0 0,-1 0 0 0 0,1 0 0 0 0,-1-1 0 0 0</inkml:trace>
</inkml:ink>
</file>

<file path=ppt/ink/ink3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6:33.37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49 302 1500 0 0,'1'-2'166'0'0,"0"1"1"0"0,-1-1-1 0 0,1 1 0 0 0,-1-1 1 0 0,1 1-1 0 0,-1-1 0 0 0,1 1 0 0 0,-1-1 1 0 0,0 0-1 0 0,0 1 0 0 0,0-1 1 0 0,0 1-1 0 0,0-1 0 0 0,0 0 1 0 0,-1 1-1 0 0,1-1 0 0 0,0 1 0 0 0,-1-1 1 0 0,1 1-1 0 0,-1-1 0 0 0,1 1 1 0 0,-1-1-1 0 0,0 1 0 0 0,0 0 0 0 0,0-1 1 0 0,0 1-1 0 0,0 0 0 0 0,0 0 1 0 0,0-1-1 0 0,0 1 0 0 0,0 0 1 0 0,-1 0-1 0 0,1 0 0 0 0,0 0 0 0 0,-1 1 1 0 0,1-1-1 0 0,0 0 0 0 0,-1 1 1 0 0,1-1-1 0 0,-1 0 0 0 0,1 1 0 0 0,-1 0 1 0 0,0-1-1 0 0,1 1 0 0 0,-1 0 1 0 0,1 0-1 0 0,-3 0 0 0 0,-3 0 56 0 0,0 0 0 0 0,0 0 0 0 0,0 0-1 0 0,0 1 1 0 0,0 1 0 0 0,0-1 0 0 0,0 1 0 0 0,0 0 0 0 0,-10 5-1 0 0,7-2-27 0 0,0 1 0 0 0,1 0 0 0 0,-1 0 0 0 0,1 1 0 0 0,0 1 0 0 0,1 0 0 0 0,0 0 0 0 0,0 0-1 0 0,1 1 1 0 0,0 0 0 0 0,-8 14 0 0 0,11-17-143 0 0,1 1 1 0 0,-1 0-1 0 0,2-1 0 0 0,-1 1 1 0 0,1 0-1 0 0,0 0 0 0 0,1 0 0 0 0,-1 0 1 0 0,1 1-1 0 0,1-1 0 0 0,-1 0 0 0 0,2 1 1 0 0,-1-1-1 0 0,0 0 0 0 0,1 0 1 0 0,1 1-1 0 0,-1-1 0 0 0,6 13 0 0 0,-7-18-37 0 0,1 1-1 0 0,0-1 0 0 0,0 1 1 0 0,0-1-1 0 0,1 0 0 0 0,-1 1 1 0 0,1-1-1 0 0,-1 0 0 0 0,1 0 1 0 0,0 0-1 0 0,-1 0 0 0 0,1 0 1 0 0,0-1-1 0 0,0 1 0 0 0,0 0 1 0 0,1-1-1 0 0,-1 0 0 0 0,0 1 1 0 0,1-1-1 0 0,-1 0 1 0 0,1 0-1 0 0,-1 0 0 0 0,1 0 1 0 0,-1-1-1 0 0,1 1 0 0 0,-1-1 1 0 0,1 0-1 0 0,0 1 0 0 0,-1-1 1 0 0,1 0-1 0 0,0-1 0 0 0,-1 1 1 0 0,1 0-1 0 0,-1-1 0 0 0,1 0 1 0 0,0 1-1 0 0,-1-1 0 0 0,3-1 1 0 0,4-2-6 0 0,0 0 0 0 0,-1-1 0 0 0,0 1 0 0 0,0-2 0 0 0,0 1 0 0 0,-1-1 0 0 0,0 0 1 0 0,0-1-1 0 0,9-10 0 0 0,-5 3-28 0 0,-1 0 1 0 0,0-1-1 0 0,-1 0 1 0 0,-1-1-1 0 0,0 0 1 0 0,6-18-1 0 0,-14 32 12 0 0,-1 2 7 0 0,0 1 13 0 0,0-1 0 0 0,0 1-1 0 0,1-1 1 0 0,-1 1 0 0 0,0-1-1 0 0,0 1 1 0 0,0 0 0 0 0,0-1-1 0 0,1 1 1 0 0,-1 0 0 0 0,0 0-1 0 0,1-1 1 0 0,-1 1 0 0 0,1 0 0 0 0,-1 0-1 0 0,1 0 1 0 0,-1 0 0 0 0,1 0-1 0 0,-1 0 1 0 0,1 0 0 0 0,0 0-1 0 0,-1 0 1 0 0,1 0 0 0 0,0 0 0 0 0,0 1-1 0 0,-4 29 459 0 0,5-19-320 0 0,1 1-1 0 0,0-1 1 0 0,1 0 0 0 0,0 0 0 0 0,1 0-1 0 0,0-1 1 0 0,1 1 0 0 0,0-1-1 0 0,0 0 1 0 0,2 0 0 0 0,-1-1 0 0 0,1 0-1 0 0,1 0 1 0 0,0 0 0 0 0,0-1 0 0 0,1 0-1 0 0,0-1 1 0 0,0 0 0 0 0,1 0 0 0 0,0-1-1 0 0,1-1 1 0 0,0 1 0 0 0,14 5-1 0 0,-18-9-90 0 0,0-1 0 0 0,-1-1-1 0 0,1 1 1 0 0,0-1-1 0 0,0 0 1 0 0,0 0-1 0 0,0-1 1 0 0,0 0-1 0 0,0 0 1 0 0,0-1-1 0 0,0 0 1 0 0,0 0 0 0 0,0-1-1 0 0,0 0 1 0 0,7-2-1 0 0,-6 0-31 0 0,1-1 1 0 0,-1 0-1 0 0,0 0 0 0 0,-1 0 0 0 0,1-1 0 0 0,-1 0 1 0 0,0 0-1 0 0,0-1 0 0 0,-1 0 0 0 0,6-9 0 0 0,2-4-29 0 0,-2 0 0 0 0,0-1-1 0 0,-2-1 1 0 0,0 0-1 0 0,-2 0 1 0 0,0-1-1 0 0,-1 1 1 0 0,3-26 0 0 0,-2 7-47 0 0,-2 0 1 0 0,0-50 0 0 0,-6 89 24 0 0,2-33-113 0 0,-5 37 133 0 0,0 0 0 0 0,0 1 0 0 0,0-1 0 0 0,0 1-1 0 0,1-1 1 0 0,-1 1 0 0 0,1 0 0 0 0,0 0 0 0 0,0 0 0 0 0,0 0-1 0 0,0 0 1 0 0,0 0 0 0 0,1 1 0 0 0,-1-1 0 0 0,1 1 0 0 0,0-1-1 0 0,0 1 1 0 0,0-1 0 0 0,1 1 0 0 0,-1 0 0 0 0,1-1 0 0 0,0 1-1 0 0,0 5 1 0 0,1 0 5 0 0,0 0 0 0 0,0 0 0 0 0,0-1-1 0 0,1 1 1 0 0,1 0 0 0 0,0-1 0 0 0,0 1-1 0 0,0-1 1 0 0,1 0 0 0 0,5 9 0 0 0,9 9 31 0 0,31 39 0 0 0,-12-18-15 0 0,-17-20-12 0 0,22 32-41 0 0,-39-53 37 0 0,1 0 0 0 0,-1 0 0 0 0,-1 1 0 0 0,1-1 1 0 0,-1 1-1 0 0,0-1 0 0 0,0 1 0 0 0,0 7 0 0 0,-2-12 3 0 0,1 0 0 0 0,-1 0 1 0 0,0 0-1 0 0,0 0 0 0 0,0 0 1 0 0,0 0-1 0 0,0 1 0 0 0,-1-1 1 0 0,1 0-1 0 0,-1 0 0 0 0,1 0 1 0 0,-1 0-1 0 0,0 0 0 0 0,0 0 0 0 0,0-1 1 0 0,0 1-1 0 0,0 0 0 0 0,0 0 1 0 0,0 0-1 0 0,-3 2 0 0 0,-2 3 29 0 0,3-4-8 0 0,-31 11 37 0 0,16-16-204 0 0,17 2 128 0 0,-2-1-149 0 0,2-3-94 0 0,1 4 248 0 0,0 0 0 0 0,0 0 0 0 0,-1 0 0 0 0,1-1 1 0 0,0 1-1 0 0,0 0 0 0 0,0 0 0 0 0,-1-1 1 0 0,1 1-1 0 0,0 0 0 0 0,0 0 0 0 0,0-1 1 0 0,0 1-1 0 0,0 0 0 0 0,0 0 0 0 0,0-1 0 0 0,0 1 1 0 0,0 0-1 0 0,0-1 0 0 0,0 1 0 0 0,0 0 1 0 0,0 0-1 0 0,0-1 0 0 0,0 1 0 0 0,0 0 0 0 0,0-1 1 0 0,0 1-1 0 0,0 0 0 0 0,0 0 0 0 0,0-1 1 0 0,0 1-1 0 0,0 0 0 0 0,1 0 0 0 0,-1-1 0 0 0,5-5-88 0 0,-1 1 0 0 0,1 0-1 0 0,1 0 1 0 0,-1 0 0 0 0,1 1-1 0 0,0 0 1 0 0,7-4 0 0 0,52-27-285 0 0,-40 23 266 0 0,25-14-97 0 0,110-61-151 0 0,-142 76 344 0 0,-1-1 0 0 0,0-1-1 0 0,-1-1 1 0 0,-1 0 0 0 0,0-1 0 0 0,19-25 0 0 0,-30 35 9 0 0,-1 0 1 0 0,0 0 0 0 0,0 0 0 0 0,0-1-1 0 0,-1 1 1 0 0,4-11 0 0 0,-6 15 7 0 0,0 0 1 0 0,0 0 0 0 0,0 1 0 0 0,0-1 0 0 0,0 0-1 0 0,0 1 1 0 0,-1-1 0 0 0,1 0 0 0 0,0 0 0 0 0,0 1-1 0 0,-1-1 1 0 0,1 0 0 0 0,0 1 0 0 0,-1-1-1 0 0,1 0 1 0 0,0 1 0 0 0,-1-1 0 0 0,1 1 0 0 0,-1-1-1 0 0,1 1 1 0 0,-1-1 0 0 0,0 1 0 0 0,1-1 0 0 0,-1 1-1 0 0,1 0 1 0 0,-1-1 0 0 0,0 1 0 0 0,1 0 0 0 0,-1-1-1 0 0,0 1 1 0 0,1 0 0 0 0,-1 0 0 0 0,0 0-1 0 0,0-1 1 0 0,1 1 0 0 0,-1 0 0 0 0,0 0 0 0 0,0 0-1 0 0,0 0 1 0 0,-28 1-46 0 0,22 1 46 0 0,1 0 1 0 0,0 0-1 0 0,0 0 0 0 0,1 1 1 0 0,-1 0-1 0 0,0 0 0 0 0,1 0 1 0 0,0 1-1 0 0,0 0 1 0 0,0 0-1 0 0,0 0 0 0 0,-6 7 1 0 0,3-2 9 0 0,1 0 0 0 0,1 0 0 0 0,-1 0 0 0 0,1 0 1 0 0,1 1-1 0 0,-5 12 0 0 0,7-15 9 0 0,1 0 0 0 0,0 0 0 0 0,0 0 0 0 0,1 0 0 0 0,0 0 0 0 0,0 0-1 0 0,1 0 1 0 0,0 1 0 0 0,0-1 0 0 0,0 0 0 0 0,1 0 0 0 0,0 1 0 0 0,1-1 0 0 0,0 0 0 0 0,0 0 0 0 0,0 0 0 0 0,1-1 0 0 0,0 1 0 0 0,0-1 0 0 0,0 1-1 0 0,1-1 1 0 0,0 0 0 0 0,1 0 0 0 0,-1-1 0 0 0,1 1 0 0 0,0-1 0 0 0,0 0 0 0 0,1 0 0 0 0,0-1 0 0 0,0 1 0 0 0,0-1 0 0 0,0-1 0 0 0,0 1 0 0 0,1-1-1 0 0,-1 0 1 0 0,1-1 0 0 0,0 1 0 0 0,0-1 0 0 0,0-1 0 0 0,10 2 0 0 0,-6-2-62 0 0,1 0 0 0 0,-1-1 0 0 0,1-1-1 0 0,0 1 1 0 0,-1-2 0 0 0,1 0 0 0 0,-1 0 0 0 0,0-1 0 0 0,14-6 0 0 0,-9 3-178 0 0,-1-1-1 0 0,-1-1 1 0 0,0-1 0 0 0,0 0 0 0 0,24-20 0 0 0,-12 4-99 0 0,-1-2 0 0 0,-1 0 1 0 0,-2-1-1 0 0,0-2 0 0 0,21-39 1 0 0,-6-1 210 0 0,34-89 0 0 0,-29 59 1383 0 0,-27 77-997 0 0,-15 23-272 0 0,0 0 0 0 0,0 0 0 0 0,0-1 0 0 0,0 1 0 0 0,0 0 0 0 0,1 0 0 0 0,-1 0-1 0 0,0 0 1 0 0,0 0 0 0 0,0 0 0 0 0,0 0 0 0 0,0 0 0 0 0,0 0 0 0 0,1 0 0 0 0,-1-1 0 0 0,0 1-1 0 0,0 0 1 0 0,0 0 0 0 0,0 0 0 0 0,0 0 0 0 0,1 0 0 0 0,-1 0 0 0 0,0 0 0 0 0,0 0 0 0 0,0 0-1 0 0,0 0 1 0 0,0 0 0 0 0,1 0 0 0 0,-1 0 0 0 0,0 1 0 0 0,0-1 0 0 0,0 0 0 0 0,0 0 0 0 0,0 0-1 0 0,1 0 1 0 0,-1 0 0 0 0,0 0 0 0 0,0 0 0 0 0,0 0 0 0 0,0 0 0 0 0,0 0 0 0 0,0 0-1 0 0,0 1 1 0 0,0-1 0 0 0,1 0 0 0 0,0 16 70 0 0,-9 66 409 0 0,-4 0 0 0 0,-44 158 0 0 0,48-215-397 0 0,-1-1-1 0 0,-1 0 0 0 0,-1-1 1 0 0,-17 27-1 0 0,20-38-26 0 0,0-1-1 0 0,0 0 1 0 0,-1 0 0 0 0,0-1-1 0 0,-1 0 1 0 0,0-1-1 0 0,0 0 1 0 0,-1-1 0 0 0,-19 12-1 0 0,25-18-8 0 0,0 0-1 0 0,-1 0 0 0 0,1-1 1 0 0,0 1-1 0 0,0-1 0 0 0,-1-1 1 0 0,1 1-1 0 0,-7-1 0 0 0,11 0-46 0 0,0 0 0 0 0,0 0 0 0 0,0 0 0 0 0,0 0 0 0 0,0 0 0 0 0,0 0 0 0 0,0-1 0 0 0,0 1 0 0 0,0 0 0 0 0,0-1 0 0 0,1 1 0 0 0,-1-1 0 0 0,0 1 0 0 0,0-1 0 0 0,0 1 0 0 0,1-1 0 0 0,-1 0 0 0 0,0 1 0 0 0,1-1-1 0 0,-1 0 1 0 0,0 0 0 0 0,1 1 0 0 0,-1-1 0 0 0,1 0 0 0 0,-1 0 0 0 0,1 0 0 0 0,0 0 0 0 0,-1 0 0 0 0,1-1 0 0 0,-1 0-3 0 0,1 1-1 0 0,-1-1 1 0 0,1 0-1 0 0,0 0 1 0 0,0 0-1 0 0,0 0 1 0 0,0 0-1 0 0,0 1 1 0 0,0-1-1 0 0,1 0 1 0 0,-1 0 0 0 0,1-2-1 0 0,2-2-11 0 0,1 0 1 0 0,-1 0-1 0 0,1 0 0 0 0,0 1 0 0 0,1 0 1 0 0,-1-1-1 0 0,1 2 0 0 0,0-1 0 0 0,1 0 1 0 0,-1 1-1 0 0,1 0 0 0 0,-1 0 0 0 0,1 1 1 0 0,0 0-1 0 0,1 0 0 0 0,11-4 0 0 0,-8 3-3 0 0,0 2-1 0 0,0-1 0 0 0,0 1 0 0 0,1 1 0 0 0,-1 0 1 0 0,0 0-1 0 0,1 1 0 0 0,-1 0 0 0 0,0 1 1 0 0,18 3-1 0 0,-16-1-322 0 0,1 1 1 0 0,-1 1 0 0 0,0 0 0 0 0,0 0 0 0 0,0 1-1 0 0,0 0 1 0 0,-1 1 0 0 0,-1 1 0 0 0,16 12-1 0 0,-14-9-1536 0 0,-1 1-1 0 0,-1 0 0 0 0,1 0 0 0 0,10 19 0 0 0,-13-18-1842 0 0</inkml:trace>
</inkml:ink>
</file>

<file path=ppt/ink/ink3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6:34.37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73 25 1340 0 0,'0'-1'230'0'0,"0"0"-1"0"0,-1 0 0 0 0,1 0 1 0 0,0-1-1 0 0,-1 1 1 0 0,1 0-1 0 0,-1 0 0 0 0,1 0 1 0 0,-1 0-1 0 0,0 0 1 0 0,1 0-1 0 0,-1 0 0 0 0,0 0 1 0 0,0 0-1 0 0,0 0 1 0 0,0 0-1 0 0,0 1 0 0 0,0-1 1 0 0,0 0-1 0 0,0 1 1 0 0,0-1-1 0 0,0 0 1 0 0,0 1-1 0 0,0-1 0 0 0,-2 1 1 0 0,0-1 7 0 0,0 1 1 0 0,1 0-1 0 0,-1 0 1 0 0,0 0-1 0 0,0 0 1 0 0,0 0-1 0 0,0 1 1 0 0,0-1-1 0 0,0 1 1 0 0,-4 1-1 0 0,-7 4 269 0 0,0 0 0 0 0,0 1-1 0 0,-15 10 1 0 0,27-16-382 0 0,-22 14 440 0 0,1 0 0 0 0,0 2 0 0 0,2 1 1 0 0,0 0-1 0 0,0 2 0 0 0,2 0 0 0 0,-27 37 1 0 0,40-48-403 0 0,0 1 1 0 0,1 0-1 0 0,0 0 1 0 0,0 0-1 0 0,1 1 1 0 0,1-1-1 0 0,0 1 1 0 0,0 0-1 0 0,-1 15 1 0 0,3-16-68 0 0,1-1 1 0 0,1 1 0 0 0,-1-1 0 0 0,2 0-1 0 0,-1 1 1 0 0,1-1 0 0 0,0 0-1 0 0,1 0 1 0 0,0 0 0 0 0,1-1 0 0 0,0 1-1 0 0,8 13 1 0 0,-2-7-7 0 0,2 1 0 0 0,0-1-1 0 0,0-1 1 0 0,2 0 0 0 0,-1-1-1 0 0,2 0 1 0 0,0-1 0 0 0,0-1 0 0 0,22 13-1 0 0,-16-13-393 0 0,0 0 0 0 0,0-1 0 0 0,1-2 0 0 0,0 0 0 0 0,1-1 0 0 0,-1-1 0 0 0,30 3 0 0 0,-40-8-419 0 0,-1-1-1 0 0,1 0 1 0 0,-1 0-1 0 0,1-2 1 0 0,-1 1-1 0 0,1-1 1 0 0,-1-1-1 0 0,0 0 1 0 0,0-1-1 0 0,0 0 1 0 0,0 0-1 0 0,-1-1 1 0 0,0-1-1 0 0,18-11 1 0 0,4-8-3899 0 0</inkml:trace>
</inkml:ink>
</file>

<file path=ppt/ink/ink3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6:34.75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57 1848 0 0,'9'-14'1492'0'0,"-7"10"-922"0"0,0 0 0 0 0,1 0 0 0 0,0 0 0 0 0,0 0 1 0 0,0 0-1 0 0,0 1 0 0 0,0-1 0 0 0,1 1 0 0 0,7-6 0 0 0,-11 9-518 0 0,1 0-1 0 0,-1 0 0 0 0,1 0 0 0 0,-1 0 0 0 0,1 0 1 0 0,-1 0-1 0 0,1 0 0 0 0,-1 0 0 0 0,1 0 0 0 0,-1 0 1 0 0,1 0-1 0 0,-1 1 0 0 0,1-1 0 0 0,-1 0 0 0 0,1 0 0 0 0,-1 0 1 0 0,0 1-1 0 0,1-1 0 0 0,-1 0 0 0 0,1 0 0 0 0,-1 1 1 0 0,0-1-1 0 0,1 0 0 0 0,-1 1 0 0 0,0-1 0 0 0,1 0 0 0 0,-1 1 1 0 0,1 0-1 0 0,7 11 777 0 0,2 11-65 0 0,-1 0 1 0 0,-1 1 0 0 0,-1 0 0 0 0,8 49 0 0 0,-8-33-424 0 0,17 101 737 0 0,-12-65-1689 0 0,3-2-3943 0 0</inkml:trace>
</inkml:ink>
</file>

<file path=ppt/ink/ink3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6:35.10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0 179 1340 0 0,'-6'-15'1916'0'0,"-30"-82"10598"0"0,36 96-12398 0 0,-1 0-1 0 0,1-1 1 0 0,-1 1 0 0 0,1-1-1 0 0,0 1 1 0 0,0 0 0 0 0,0-1-1 0 0,0 1 1 0 0,0-1 0 0 0,0 1 0 0 0,0-1-1 0 0,0 1 1 0 0,0 0 0 0 0,1-1-1 0 0,-1 1 1 0 0,1 0 0 0 0,-1-1-1 0 0,1 1 1 0 0,-1 0 0 0 0,1-1-1 0 0,0 1 1 0 0,1-2 0 0 0,0 1-69 0 0,1 0 0 0 0,-1 0 0 0 0,0 0 1 0 0,1 1-1 0 0,0-1 0 0 0,-1 1 0 0 0,1 0 1 0 0,0 0-1 0 0,0 0 0 0 0,3-1 0 0 0,23-4-162 0 0,0 1-1 0 0,0 1 0 0 0,0 2 1 0 0,54 2-1 0 0,-40 1-1267 0 0,-36-1 818 0 0,35 2-1638 0 0,-11 4-4865 0 0,-16-2 2319 0 0</inkml:trace>
  <inkml:trace contextRef="#ctx0" brushRef="#br0" timeOffset="1">68 300 1216 0 0,'-68'54'14006'0'0,"68"-54"-13915"0"0,0 1 0 0 0,1-1 0 0 0,-1 1 0 0 0,0-1 1 0 0,0 1-1 0 0,1-1 0 0 0,-1 1 0 0 0,0-1 0 0 0,1 1 0 0 0,-1-1 0 0 0,1 1 0 0 0,-1-1 0 0 0,0 0 0 0 0,1 1 1 0 0,-1-1-1 0 0,1 0 0 0 0,-1 1 0 0 0,1-1 0 0 0,-1 0 0 0 0,1 1 0 0 0,-1-1 0 0 0,1 0 0 0 0,-1 0 0 0 0,1 0 1 0 0,0 0-1 0 0,-1 1 0 0 0,1-1 0 0 0,-1 0 0 0 0,1 0 0 0 0,-1 0 0 0 0,2-1 0 0 0,19 1 751 0 0,-19 0-786 0 0,168-18 3254 0 0,-71 5-3493 0 0,-96 13-555 0 0</inkml:trace>
</inkml:ink>
</file>

<file path=ppt/ink/ink319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767" units="cm"/>
          <inkml:channel name="Y" type="integer" max="32767" units="cm"/>
          <inkml:channel name="F" type="integer" max="8191" units="dev"/>
          <inkml:channel name="T" type="integer" max="2.14748E9" units="dev"/>
        </inkml:traceFormat>
        <inkml:channelProperties>
          <inkml:channelProperty channel="X" name="resolution" value="1290.03943" units="1/cm"/>
          <inkml:channelProperty channel="Y" name="resolution" value="2064.71338" units="1/cm"/>
          <inkml:channelProperty channel="F" name="resolution" value="0" units="1/dev"/>
          <inkml:channelProperty channel="T" name="resolution" value="1" units="1/dev"/>
        </inkml:channelProperties>
      </inkml:inkSource>
      <inkml:timestamp xml:id="ts0" timeString="2021-12-11T11:55:58.931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19011 4990 139 0,'-13'-2'417'0,"13"2"-92"0,-19-2-25 16,19 2-41-16,-15-2-36 0,15 2-35 0,-13 0-34 15,13 0-23-15,-10-2-26 0,10 2-28 0,0 0-12 16,0 0-11-16,0 0-4 0,0 0 1 16,0 0 12-16,6 4-1 0,12-3 2 0,5 0-1 0,4 2-11 15,11 1-12-15,1-1-10 0,7 2-1 0,0-1-1 16,-2 2-6-16,2-1 4 0,-1 1-14 0,-5-2 10 15,-3 1-16-15,0-2 13 0,-1 2-14 16,-2-1 13-16,-6-3-20 0,-2 2-2 0,-6-1-34 0,-1-1-6 16,-1 0-18-16,-5 0-39 0,1 1-32 0,-14-2-47 15,16 0-40-15,-16 0-60 0,0 0-32 0,0 0-226 16,0 0-46-16</inkml:trace>
  <inkml:trace contextRef="#ctx0" brushRef="#br0" timeOffset="1259.1">9053 5228 152 0,'0'0'272'0,"-13"-1"-51"0,13 1-40 0,0 0-28 15,-14 0-23-15,14 0-19 0,0 0-27 0,0 0-17 16,0 0-11-16,0 0 3 0,0 0-3 0,0 0 1 16,17 2-2-16,-2 0 4 0,4-1-1 0,7 1-27 15,1 0 25-15,11 0-35 0,2 2 19 0,8 2-31 16,2-2 23-16,6 1-28 0,-1 0 23 0,4 3-25 15,2-4 18-15,7 2-23 0,1 2 24 0,-9-4-29 16,0 1 29-16,0 0-26 0,-5 0 32 0,0-2-29 16,-5 1 23-16,-2 0-3 0,-9 0-2 0,-6-1-1 15,-5-1-15-15,-6-1-44 0,-3 2-44 0,0-2-37 0,-5 0-33 16,-1 1-60-16,-13-2-254 0,14 3 44 16</inkml:trace>
  <inkml:trace contextRef="#ctx0" brushRef="#br0" timeOffset="8601.64">15706 6354 274 0,'23'3'224'0,"-1"-2"-47"0,4-1-33 15,0 1-28-15,1 0-20 0,1-1-15 0,-5 1-13 16,0-1-11-16,-1 0-15 0,1 0-8 0,-5-1-2 15,1 1-8-15,-4 0-3 0,-2-1-8 0,0 0-55 16,-13 1-81-16,18 0-82 0,-18 0-119 0,8-2 216 16</inkml:trace>
  <inkml:trace contextRef="#ctx0" brushRef="#br0" timeOffset="9513.95">9247 6335 389 0,'0'0'338'0,"-10"1"-48"0,10-1-33 16,0 0-41-16,-12 4-27 0,12-4-32 0,0 0-28 15,0 0-9-15,0 0-21 0,7 4 8 0,-7-4-12 16,19 2-9-16,-1-1 6 0,2 2-8 0,3-2 14 16,6 1-30-16,1-1 7 0,6 2-21 0,2-2 14 15,-1 0-31-15,0 0 10 0,-3 0-24 0,-5 1 17 16,2-1-27-16,-6 1 10 0,-2-1-18 0,-5 0 17 15,1-1-20-15,-5 1 18 0,2-1-19 0,-6 1 37 16,-10-1-3-16,22 0 24 0,-22 0-41 0,15-1 22 16,-15 1-27-16,10-1 14 0,-10 1-23 0,0 0 10 15,0 0-52-15,0 0-13 0,0 0-55 0,0 0-35 16,0 0-38-16,0 0-65 0,-10-4-95 0,10 4-421 0,-9 3-273 16</inkml:trace>
  <inkml:trace contextRef="#ctx0" brushRef="#br0" timeOffset="10135.07">9403 6381 27 0,'0'0'427'0,"10"-2"-124"0,-10 2-70 0,0 0-15 16,0 0-28-16,3 7-28 0,-3-7-18 0,-10 8-21 15,2-5-1-15,0 4-34 0,-2 0 20 0,-4-1-32 16,-1 1 10-16,-6 1-31 0,0 0 7 0,-9 2-21 0,1-1 13 16,-6 0-16-16,-6 1 7 0,-3 1-12 15,-5-1 0-15,-2-1-6 0,-4 0 2 0,-11 1-6 16,-2-1-1-16,-3 0-11 0,-4 0 3 0,-2-1 5 16,-4 1-13-16,-5-1 1 0,0-1-2 0,-3 2-3 15,-3-2 3-15,0 0-3 0,-3 0 3 0,2-1 1 0,-3 0-6 16,0 0 0-16,3 0 2 0,1-1-4 15,4 0-1-15,1-1-2 0,3 0 2 0,3 0-4 0,3-1 5 16,4 1-5-16,14-1 4 0,1 1 0 0,3-1 3 16,0-1-5-16,2-1 5 0,4 2-6 0,2-1 9 15,8-1-5-15,2 1 3 0,7 0 0 0,3-1-1 16,1-1 1-16,5 0 1 0,1 0 0 0,2 0 0 16,3 0 4-16,3 0-4 0,-1-1 1 0,3-1 1 15,-2 0-4-15,13 2 4 0,-18-2-4 0,18 2 1 16,-17-4 6-16,17 4-7 0,-11-4 1 0,11 4 1 15,-13-4 0-15,13 4-1 0,-9-5 1 0,9 5 9 16,-9-5-13-16,9 5-3 0,-8-4 3 0,8 4-1 16,-6-4 6-16,6 4-32 0,-6-6-2 0,6 6-16 15,-7-4-35-15,7 4-30 0,0 0-50 0,-6-6-44 16,6 6-45-16,-4-5-47 0,4 5-214 0,-4-7-11 16</inkml:trace>
  <inkml:trace contextRef="#ctx0" brushRef="#br0" timeOffset="10351.85">6259 6481 61 0,'-17'-2'316'15,"6"5"-41"-15,1 0-63 0,-3 3 13 0,-2 2-35 0,1 2-20 16,-3 1-8-16,4 3-26 0,-2-2 6 0,2 4-2 16,2-1-40-16,2 0-1 0,1-1 17 0,4 1-2 15,0-1-12-15,3-2-15 0,4 2 8 0,-1 0-39 16,5-2 10-16,2 1-25 0,2 2 10 0,4-3-19 15,3-1 5-15,3-1-14 0,-1 0 5 0,3-2-53 16,1-2-74-16,0-1-66 0,1-1-137 0,-1-1-99 16,-1-2-257-16,-1-1-167 0</inkml:trace>
  <inkml:trace contextRef="#ctx0" brushRef="#br0" timeOffset="12446.79">26583 4907 175 0,'-9'-4'399'0,"9"4"-140"0,0 0-33 16,0 0-61-16,0 0-8 0,11-4-45 0,1 4 12 15,8 0-35-15,6 2 8 0,8 0-40 0,3 2 15 16,11 2 7-16,3-1-4 0,-1 2-2 0,1 0-12 16,0 0-12-16,-1 0-9 0,1 1-8 0,-1-1-9 15,-4 1-2-15,-2-2 1 0,-9-1-1 0,-3 0-26 16,-7-2-34-16,-5 0-42 0,-1-1-52 0,-5 0-69 15,-14-2-75-15,17 0-252 0,-17 0-32 0</inkml:trace>
  <inkml:trace contextRef="#ctx0" brushRef="#br0" timeOffset="47395.1">12032 11509 242 0,'0'0'241'0,"0"0"-19"0,0 0-29 0,0 0-14 16,0 0-6-16,0 0-18 0,-5-5-9 0,5 5-2 16,0 0-5-16,0 0-26 0,0 0-17 0,0 0 4 15,-5-5 7-15,5 5-6 0,0 0-19 0,0 0-11 16,0 0-19-16,0 0-12 0,0 0-6 0,0 0-11 0,0 0-3 16,0 0-4-16,0 0-5 0,-3-5-7 0,3 5 1 15,0 0-5-15,0 0 3 0,0 0 1 16,0 0-1-16,0 0 0 0,0 0-2 0,13-1 2 15,-13 1 0-15,14-1 4 0,-14 1-1 0,22-2-3 0,-11 2 2 16,3-1 0-16,-2-1 2 0,1 1-2 0,-1 0 1 16,1 0 0-16,-13 1 1 0,21-3-3 15,-21 3-4-15,15-1-43 0,-15 1-37 0,15-1-46 0,-15 1-59 16,12 0-51-16,-12 0-2 0,0 0-49 16,15 0-214-16,-15 0 8 0</inkml:trace>
  <inkml:trace contextRef="#ctx0" brushRef="#br0" timeOffset="48123.47">12502 11516 233 0,'-8'4'234'0,"8"-4"-22"0,0 0-76 15,0 0 6-15,0 0-39 0,0 0 14 0,3 7-35 16,-3-7-8-16,10 2-11 0,-10-2-9 0,17 3-10 15,-17-3-7-15,19 1-4 0,-7 0-8 0,-1-1-3 16,-1 1-2-16,3-1-1 0,-1 0-6 0,-12 0 1 16,20 1-1-16,-20-1-8 0,17 2-45 0,-17-2-59 15,14 1-49-15,-14-1-36 0,0 0-205 0,13 0 155 16</inkml:trace>
  <inkml:trace contextRef="#ctx0" brushRef="#br0" timeOffset="59756.96">13852 11355 67 0,'0'0'263'16,"-10"-4"-63"-16,10 4-43 0,-9-3-23 0,9 3-33 16,-9-4 10-16,9 4-31 0,-9-3 31 0,9 3-37 15,-8-4 3-15,8 4 4 0,-9-3-2 0,9 3 12 16,0 0 12-16,-9-4-2 0,9 4-6 0,0 0-19 15,0 0-14-15,-9-4-7 0,9 4-11 0,0 0-8 16,0 0-10-16,0 0-6 0,0 0-10 0,0 0-4 16,0 0 0-16,0 0-1 0,0 0-7 0,22 2-1 15,-7 0-1-15,3-1-3 0,3 3-4 0,4 0-1 16,3-2-1-16,2 1-1 0,4 0-2 0,3-1 1 0,-1 2 5 16,1 0-4-16,3-2 3 0,-3 1 3 0,0 0-1 15,-1-1 3-15,0 2 1 0,-6-2 3 16,0 2-2-16,-2-3-1 0,-3 1-4 0,-2 0 7 0,-2-1 10 15,-1 1-12-15,-2-2 8 0,-4 1-8 0,0-1 4 16,-2 1 0-16,-1-1 0 0,-11 0 5 0,19 2-5 16,-19-2 2-16,13 1-9 0,-13-1-27 0,14 0-31 15,-14 0-36-15,0 0-49 0,9 3-28 0,-9-3-38 16,0 0-211-16,0 0 106 0</inkml:trace>
  <inkml:trace contextRef="#ctx0" brushRef="#br0" timeOffset="67562.61">17125 11619 9 0,'0'0'380'0,"-8"3"-94"0,8-3-29 0,0 0-78 16,0 0-17-16,-11 1-60 0,11-1 0 0,0 0-44 16,0 0 9-16,7-5-33 0,-7 5 13 0,16-6-33 15,-4 4 20-15,0 0-31 0,-1 0 8 0,3 1-8 16,1-1 23-16,0 0-31 0,-1 1 27 0,1 0-24 16,-2 0 22-16,2 1-25 0,-3 0 21 0,-1 1-32 0,2 0 3 15,-1-1-55-15,0 1 0 0,-1 1-59 0,-2-1 0 16,-9-1-63-16,16 3-195 0,-16-3 160 0</inkml:trace>
  <inkml:trace contextRef="#ctx0" brushRef="#br0" timeOffset="68825.88">17336 10683 8 0,'-21'35'53'15,"1"1"-5"-15,2 0 18 0,0-1-7 0,5 1-10 16,0 0-3-16,3-6-6 0,4 0-7 0,1 1 17 16,2-5 18-16,3 3-15 0,5 0-30 0,2 2 21 15,2-1-36-15,7 2 28 0,3 1-22 0,2-1-3 16,3 0 3-16,4-1-3 0,2 0-3 15,2-1 33-15,6 5-28 0,3-2 29 0,0 1-28 0,2-4 24 16,-7-4-35-16,5-2 32 0,-3 0-35 0,4-2 26 16,2 0-4-16,-1-3-5 0,1-1-3 0,-1-1-4 15,1-3 4-15,0 1-7 0,1-4-2 0,0-1 3 16,0 0-7-16,-1-3 4 0,-5-2 1 0,0-2 4 16,1-1-7-16,-3-2 2 0,1-3 15 0,-2 0-28 15,0-4 32-15,-2 0-29 0,6-5 40 0,-3-2-41 16,-3-4 28-16,2-1-28 0,-4-3 28 0,-1-3-29 15,-2-2 0-15,-2-3 10 0,1-1 23 0,-5-1-34 16,-1 1 37-16,0-3-18 0,-6-1 25 0,0 1 4 16,-2 1-6-16,-5 3-8 0,-3-1-7 0,-1 1 0 15,-1 0-10-15,-3 2 3 0,2 1-28 0,-6-1 32 0,2-1-32 16,0 2 30-16,-2-1-28 0,-2-2 27 16,1 0-27-16,0 0 26 0,-2 1-25 0,-3 0 3 0,3 2 5 15,-3-1-1-15,-2 3 0 0,-1 1 1 0,-1 0 21 16,-1 2-55-16,-2 2 0 0,1 1-53 0,-2 3-8 15,2 1-103-15,-2 2-83 0,0 0 259 0</inkml:trace>
  <inkml:trace contextRef="#ctx0" brushRef="#br0" timeOffset="107543.08">16207 13446 17 0,'0'0'63'0,"0"0"-19"16,0 0-4-16,0 0-4 0,0 0-14 0,0 0-2 15,0 0-3-15,0 0-5 0,0 0 3 0,0 0-11 16,10 3 2-16,-10-3 1 0,0 0-3 0,0 0-2 16,0 0 4-16,5 3-5 0,-5-3 10 0,0 0 6 15,0 0 18-15,0 0 16 0,6 5 11 0,-6-5 12 16,0 0 4-16,0 0-13 0,0 0-8 0,0 0-13 16,0 0-9-16,0 0-5 0,0 0-14 0,0 0-4 15,2 5-4-15,-2-5-5 0,0 0 3 0,0 0 6 16,0 7 0-16,0-7-3 0,0 7 22 0,0-7-9 15,0 7 20-15,0-7-4 0,0 10-8 0,0-10-7 0,0 11 0 16,0-11-7-16,0 11 0 0,0-11 17 0,0 12 5 16,0-5 26-16,0 0-40 0,0-7 22 15,3 12-40-15,-3-12 28 0,1 11-31 0,-1-11 49 16,3 11-31-16,-3-11 27 0,2 9-25 0,-2-9 39 0,4 9-31 16,-4-9 33-16,9 6-19 0,-9-6 22 0,10 7-40 15,-10-7 26-15,19 5-38 0,-10-3 20 16,0 1-29-16,4-2 26 0,-2 0-31 0,2 2 24 0,3-2-30 15,-2 1 26-15,2-1-32 0,2 0 31 0,-1 0-26 16,2 1 23-16,-1-1-27 0,2 0 31 0,-3 0-35 16,2 1 30-16,0-2-32 0,-2 1 34 0,-2 0-29 15,1-1 26-15,0 0-27 0,-2 0 30 0,3 0-19 16,-2 0 17-16,-1 0-32 0,0-1 28 0,0 1-27 16,0-1 34-16,2 1-35 0,-2-2 31 0,0 1-30 15,-1 0 28-15,-1 0-26 0,4-1 25 0,-3 2-26 16,-1-1 31-16,0 0-32 0,-1 1 30 0,-11 0-29 15,22-1 29-15,-22 1-26 0,22-2 26 0,-22 2-29 16,15 0 26-16,-15 0-29 0,17-1 32 0,-17 1-30 16,14 0 27-16,-14 0-26 0,12 0 28 0,-12 0-27 15,0 0 27-15,16-2-28 0,-16 2 31 0,0 0-14 16,14 0 13-16,-14 0-30 0,0 0 31 0,10-1-4 16,-10 1 33-16,0 0-22 0,12-1 19 0,-12 1-26 0,0 0 17 15,11-3 12-15,-11 3 32 0,0 0 0 16,9-2 7-16,-9 2 4 0,0 0-27 0,8-5-14 15,-8 5-5-15,0 0 14 0,7-6 24 0,-7 6-26 16,0 0-1-16,4-7-26 0,-4 7 9 0,3-7-22 0,-3 7 11 16,2-7-19-16,-2 7 14 0,4-7-16 0,-4 7 45 15,0-8-21-15,0 8 10 0,3-7-26 0,-3 7 13 16,1-7-22-16,-1 7 16 0,1-7-18 0,-1 7 3 16,0 0-79-16,2-8-65 0,-2 8-35 0,0 0-47 15,0 0-37-15,0 0-85 0,0 0-361 0,-4 7-210 16</inkml:trace>
  <inkml:trace contextRef="#ctx0" brushRef="#br0" timeOffset="108996.42">16948 15679 176 0,'0'0'226'16,"-11"0"-38"-16,11 0-18 0,0 0-29 0,0 0-13 0,0 0-18 15,0 0-4-15,0 0-23 0,0 0-2 0,-8-2-18 16,8 2 3-16,0 0-28 0,0 0 6 0,0 0-11 16,0 0-31-16,0 0 19 0,0 0-1 0,0 0-14 15,9-2 7-15,-9 2 0 0,0 0-4 0,13-2-6 16,-13 2 5-16,15 0-5 0,-15 0 14 0,21 2-16 16,-21-2 11-16,24 0-9 0,-10 1 9 0,1 0-14 15,5-1 10-15,-1 1-11 0,1 0 12 16,1 0-12-16,0 0 12 0,4 1-15 0,0 0 10 0,2-1-7 15,1 1 13-15,-1 1-18 0,1-2 15 0,0 2-15 16,2-1 19-16,0-1-16 0,0 1 13 0,0-1-12 16,1 1 12-16,0-1-14 0,-1 0 12 0,2 0 2 15,-2 1-10-15,0-1 7 0,2-1-9 0,0 0 12 16,-2 1-13-16,2-1 13 0,-2 2-17 0,0-2 16 16,0 1-14-16,1-1 17 0,-3 0-13 0,2 0 11 15,-1 0-12-15,-1 0 13 0,0 0-13 0,-1 0 11 16,1 0-11-16,0-1 4 0,-2 1-7 0,1 0 18 15,-2 0-15-15,0 0 4 0,-1 0-30 0,-1-2 15 16,1 2-7-16,-2 0 13 0,0 0-7 0,0 0 3 16,-1-1-4-16,2 1 17 0,-1-1-15 0,-1 1 11 0,1-2-9 15,-1 2 13-15,-1-1-8 0,-1 0 8 16,-1 1-6-16,0-1 9 0,1 0-11 0,0 0 8 0,-1 0-7 16,0-1 10-16,-1 1-12 0,1 0 10 0,-2 0-7 15,2-2 11-15,-1 2-13 0,-2 0 10 16,4-2-4-16,-3 2 7 0,1 0-9 0,0-1 7 15,0 0-6-15,-2 1 7 0,4 0-9 0,-3-1 9 0,1 1-11 16,1 0 12-16,0-1-5 0,-1-1 2 0,0 2-17 16,0 0-2-16,0-1-11 0,2 1 5 0,0-1 2 15,-3 1 8-15,3 0 1 0,-2 0 4 0,2-1-1 16,-4-1 4-16,4 2-5 0,-1-1 8 0,-1 1-4 16,-1-1 6-16,2 1-4 0,0-2 5 0,-1 1-4 15,-1 1 6-15,1 0-7 0,-2-2 4 16,4 2-5-16,-5-2 7 0,3 1-3 0,-2 0 2 0,3 1-7 15,-4-3 10-15,3 2-5 0,0-1 3 0,-1 1-2 16,1-1-5-16,2 1 3 0,-2-2 6 0,0 1-6 16,3 1 4-16,-4-1-4 0,3-1 2 0,-2 2-5 15,2-2 6-15,0 2-3 0,-3 0 5 0,1-1-2 16,0 1 3-16,1-1-3 0,-1 1 1 0,-1 0-5 16,-3-1 6-16,1 1-18 0,0 0 20 0,0-1-9 15,-2 1 10-15,1-1 7 0,-1 2 18 0,-3-1-5 16,3-1 5-16,-3 1-15 0,0 0 14 0,-9 2 9 15,16-3 15-15,-16 3 3 0,12-5-12 0,-12 5-6 16,10-4-10-16,-10 4-1 0,11-3 0 0,-11 3-11 16,8-3 2-16,-8 3-8 0,8-3-25 0,-8 3-42 15,0 0-44-15,0 0-52 0,0 0-72 0,0 0-232 0,0 0 68 16</inkml:trace>
  <inkml:trace contextRef="#ctx0" brushRef="#br0" timeOffset="111627.32">14382 13691 235 0,'0'0'261'0,"0"0"-42"0,0 0-36 0,0 0-24 16,-13 0-22-16,13 0-20 0,0 0-17 0,0 0-9 15,0 0-26-15,0 0-13 0,0 0-10 16,0 0-10-16,0 0-10 0,0 0-1 0,0 0-3 0,8-2-11 15,-8 2 22-15,0 0-44 0,15 0 28 0,-15 0-46 16,16 0 28-16,-16 0-46 0,15 1 21 16,-15-1-48-16,17 1 22 0,-17-1-28 0,20 2 18 0,-20-2-34 15,21 2 30-15,-9-2-93 0,-3 1 26 0,4 0-150 16,-13-1 260-16</inkml:trace>
  <inkml:trace contextRef="#ctx0" brushRef="#br0" timeOffset="122906.08">17210 14007 286 0,'0'0'345'16,"-5"4"-69"-16,5-4-20 0,0 0-66 0,0 0-17 15,0 0-45-15,0 0-4 0,0 0-50 0,0 0 10 16,16-3-39-16,-7 1 25 0,2-1-31 0,1 1 28 16,4-1-25-16,2 0 18 0,1 1-31 0,5-2 12 15,3 2-25-15,-1-1 19 0,2 1-17 0,2-1 13 16,0 1-9-16,6 0 1 0,2 0-15 0,-1 0 14 15,0 1-14-15,2 0 13 0,0 0-23 0,0-1 21 16,-2 0-16-16,-1 0 12 0,-4 1-15 0,-2 0 14 16,1-1-12-16,-4 1 12 0,-2-1-15 0,-3 2 10 0,-3-1-7 15,-2 0 17-15,-3 0-16 0,-2 0 13 16,0 1-14-16,0-1 11 0,-12 1-13 0,16-2-21 16,-16 2-58-16,12-1-25 0,-12 1-107 0,0 0-61 0,0 0-349 15,0 0-131-15</inkml:trace>
  <inkml:trace contextRef="#ctx0" brushRef="#br0" timeOffset="126108.26">18991 13705 152 0,'0'0'360'0,"0"0"-97"0,-9-4-45 0,9 4-48 15,-5-6 12-15,5 6-9 0,-4-5-27 0,4 5-24 16,0 0-24-16,-3-7 15 0,3 7-28 0,1-7-18 16,-1 7-9-16,7-7-15 0,-7 7-5 0,11-4-8 15,-11 4-8-15,13-5-6 0,-3 4-3 0,3 0-1 16,1 1-5-16,0 0 3 0,4 1-2 0,1 1-1 15,3-1-3-15,1 2 3 0,3 0-3 0,-1 1-45 16,3-1 37-16,0 1-34 0,6 0 34 0,0 0-30 16,5 0 37-16,8 0-33 0,0-1 40 0,7 2-37 15,-1 0 46-15,4 1-41 0,-1-1 38 0,3 1-3 16,12 0-3-16,1 0-33 0,-2 1 38 0,4-1-33 16,2 0 27-16,0 2-13 0,1-4-27 0,2 3-2 15,1-1 2-15,1-1 4 0,2 1 4 0,-1 0-12 16,1-1 3-16,0 0 1 0,-1 1-3 0,0 0 3 0,-2-1 4 15,-2 0 5-15,0 3 27 0,-6-3-36 0,-2 0 28 16,-10 0-30-16,-1 0 36 0,-3-1-29 16,-2-2 35-16,-3 2-37 0,0-2 38 0,-10-2-33 0,0 1 6 15,-3-2 3-15,-6 1 2 0,5-2 8 0,-7-2-1 16,-1 2 13-16,-1-1 27 0,-2 1 0 16,-1-3 3-16,-2 1 2 0,-2 0 33 0,-2 1 26 0,-2 0-5 15,-1-1-15-15,-2-1 4 0,0 1-21 0,-2 1-13 16,-2-1-3-16,0 0 2 0,-1 0-36 0,0 1 34 15,-1 0-45-15,-8 3 41 0,11-5-52 16,-11 5 37-16,11-3-9 0,-11 3-48 0,10-4-30 16,-10 4-24-16,0 0-38 0,0 0-69 0,0 0-87 0,0 0-321 15,-5 6-113-15</inkml:trace>
  <inkml:trace contextRef="#ctx0" brushRef="#br0" timeOffset="171434.13">11843 13690 153 0,'0'0'254'0,"0"0"-30"15,0 0-52-15,0 0-16 0,0 0-17 0,0 0-5 16,0 0-16-16,0 0-7 0,0 0-2 0,-7 4-10 16,7-4-17-16,0 0-8 0,0 0-11 0,0 0-13 15,0 0-9-15,0 0-11 0,0 0-7 0,0 0-5 16,0 0 14-16,0 0 11 0,9 2-8 0,-9-2-6 16,11 1-12-16,-11-1 2 0,11 3-4 0,-11-3-5 15,19 1 14-15,-8 0-3 0,2 0-3 0,3 0-5 16,2 0 9-16,1 1-2 0,3-1 2 0,1 2 1 15,2-2-8-15,3-1 0 0,-2 1 0 0,3 0 0 16,1 0-4-16,-2 0-3 0,1 1 1 0,-3-1-2 16,1 0-3-16,-6 0-3 0,0 0 2 0,-1-1 4 0,-1 0-2 15,-6 1 27-15,0-1 9 0,2 0 5 16,-15 0 13-16,21 2 5 0,-21-2-2 0,16 0-6 16,-16 0-14-16,14-2-7 0,-14 2-10 0,0 0-7 15,11-2 7-15,-11 2-44 0,0 0-35 0,0 0-63 0,0 0-54 16,0 0-75-16,-3-6-109 0,3 6-298 15,0 0-164-15</inkml:trace>
  <inkml:trace contextRef="#ctx0" brushRef="#br0" timeOffset="173047.55">12502 12637 137 0,'-5'-6'127'0,"1"0"-27"0,4 6-22 0,-11-9 6 15,6 2-18-15,0 2-14 0,-2-1-17 0,1 1-5 16,-2-2 1-16,3 2 0 0,-1-1 25 0,-1 0 1 0,3 1-9 16,-3-1-14-16,0 0-6 0,2 1-6 0,-1 1-7 15,-1 0 4-15,1-2-10 0,0 2-2 16,-1 1-2-16,7 3-1 0,-10-5-3 0,10 5-1 0,-14-6-1 16,14 6 0-16,-13-3 3 0,13 3-3 0,-14 2-5 15,14-2 2-15,-15 0-6 0,15 0 0 16,-17 4-1-16,17-4-18 0,-15 5 1 0,5-2 1 15,1 0 9-15,1 1-3 0,0-1 6 0,-2 2-1 0,1-1 6 16,0-1 1-16,-1 3 3 0,1 0 0 0,0-2 0 16,-1 1 4-16,1 1 2 0,0 1-5 0,0-2 0 15,-1 2 3-15,0-1 4 0,-1 0-4 0,0 4-5 16,-1-3 17-16,1 1-14 0,-1 1 0 0,2-2 3 16,-3 4 1-16,3-4-5 0,-1 3 4 0,-1-2 1 15,3 2-3-15,-2 0 1 0,-1 0 3 0,1 0 4 16,-2 1-37-16,0 2 40 0,2-2-34 0,-3 3 36 15,2-1-27-15,-2 0 31 0,5-1-31 0,-4 3 41 16,3-3-46-16,-1 1 5 0,0 2 2 0,1 1 4 16,1-3 34-16,0 2-32 0,0 2 26 0,2 0-30 0,0 1 37 15,-1 0-39-15,1 1 33 0,1 1-2 16,-1 0-3-16,3 1-6 0,-1 0 3 0,1 1-3 16,-3-1-4-16,4 1 3 0,-2-1-4 0,1 3 1 15,2-2-6-15,-2 0 3 0,1 1 5 0,1-1-1 0,0-3-1 16,1 2 3-16,0-1 3 0,1 0 11 15,0-1 1-15,0 1 1 0,2 0-11 0,0-1-28 16,-1-1 36-16,3 1-31 0,-2-1 38 0,2-1-37 0,0 0 54 16,2 2-43-16,2-2-2 0,-3-2 2 0,3 3 4 15,1-2-3-15,0-2 0 0,-2 0 4 0,2 0-5 16,0-1 36-16,3-1-42 0,-2 0 37 0,0 0-40 16,3-2 38-16,-1 1-40 0,3-1 37 0,-2 1-39 15,2-3 36-15,-2 1-35 0,3-1 32 0,-2-1-37 16,4 1 45-16,-4-2-42 0,4 0 39 0,-2-1-39 15,3-1 37-15,-4 0-40 0,4 1 40 0,-2-3-37 16,-1 0 39-16,2 1-37 0,-1-2 39 0,-1 0-35 16,0-1 32-16,-1 2-33 0,2-2 56 15,-2-2-35-15,3 2 32 0,0-1-28 0,-1-1 30 0,1-1-30 16,-1 0 33-16,0-1-29 0,0-1 24 0,-2 2-30 16,0-3 25-16,1-1 2 0,0 1 3 0,-3-3-8 15,2 0 7-15,-3-1 9 0,1-1-38 0,1-2 25 16,-1-2-40-16,-1 1 32 0,-2-3-41 0,1 0 31 0,0-1-28 15,-2 0 29-15,0-2-37 0,0-1 34 0,-3 0-35 16,1-3 33-16,-2 1-15 0,0-2 13 16,-1-5-36-16,1 3 38 0,-4-4-37 0,2-1 36 0,-2 0-34 15,-2-3 27-15,-1 0-29 0,1-2 5 0,-6-4 9 16,-1 0 2-16,0-1 26 0,-3 0-36 0,-5 1 26 16,1-1-28-16,-3 2 32 0,-5-2-26 0,-5-3-19 15,-1 2-69-15,-3 1-41 0,-4 2-97 0,-1 0-179 16,-3 3 123-16</inkml:trace>
</inkml:ink>
</file>

<file path=ppt/ink/ink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2:38.20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2 118 804 0 0,'-3'-2'442'0'0,"-1"-1"-1"0"0,1 1 1 0 0,-1-1-1 0 0,1 1 0 0 0,0-1 1 0 0,0 0-1 0 0,0 0 1 0 0,0-1-1 0 0,1 1 1 0 0,-1-1-1 0 0,1 1 1 0 0,-3-7-1 0 0,5 9-412 0 0,0 0-1 0 0,0 1 1 0 0,0-1-1 0 0,0 0 0 0 0,0 0 1 0 0,0 0-1 0 0,0 0 1 0 0,0 0-1 0 0,0 1 1 0 0,1-1-1 0 0,-1 0 0 0 0,0 0 1 0 0,1 0-1 0 0,-1 1 1 0 0,0-1-1 0 0,1 0 1 0 0,-1 0-1 0 0,1 1 0 0 0,-1-1 1 0 0,1 0-1 0 0,-1 1 1 0 0,1-1-1 0 0,0 0 1 0 0,-1 1-1 0 0,1-1 0 0 0,0 1 1 0 0,-1-1-1 0 0,2 0 1 0 0,21-11 136 0 0,5 3-887 0 0,0 2 0 0 0,30-4 0 0 0,-23 5-1023 0 0,-11 1 527 0 0</inkml:trace>
</inkml:ink>
</file>

<file path=ppt/ink/ink3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8:01.95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51 62 348 0 0,'-4'-4'1989'0'0,"4"3"-1705"0"0,-1 1 0 0 0,1-1 0 0 0,-1 0 0 0 0,1 0 0 0 0,0 1 1 0 0,-1-1-1 0 0,1-1 0 0 0,16-32 3616 0 0,-15 32-3505 0 0,7-13 1054 0 0,-7 23-1324 0 0,-2 0 0 0 0,1 1 0 0 0,-1-1-1 0 0,0-1 1 0 0,-1 1 0 0 0,0 0 0 0 0,-5 13-1 0 0,2-5 8 0 0,-97 414 1609 0 0,67-267-3748 0 0,21-118-4359 0 0</inkml:trace>
</inkml:ink>
</file>

<file path=ppt/ink/ink3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8:02.31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3 1 1324 0 0,'-2'0'216'0'0,"1"1"0"0"0,-1-1 0 0 0,1 0 0 0 0,-1 1 1 0 0,0-1-1 0 0,1 1 0 0 0,-1 0 0 0 0,1 0 0 0 0,-1-1 0 0 0,1 1 0 0 0,0 0 0 0 0,-1 0 0 0 0,1 0 0 0 0,0 0 0 0 0,0 1 0 0 0,-1-1 1 0 0,1 0-1 0 0,0 1 0 0 0,0-1 0 0 0,-1 2 0 0 0,0 1 51 0 0,0 0 1 0 0,1 1-1 0 0,-1-1 0 0 0,1 0 1 0 0,0 1-1 0 0,0-1 1 0 0,-1 8-1 0 0,1-3-13 0 0,1-1 0 0 0,0 0 1 0 0,1 1-1 0 0,-1-1 0 0 0,1 0 0 0 0,1 0 1 0 0,0 0-1 0 0,4 13 0 0 0,0-10-42 0 0,-1-1 0 0 0,2 1 0 0 0,-1-1 0 0 0,2-1-1 0 0,-1 1 1 0 0,1-1 0 0 0,1-1 0 0 0,-1 0 0 0 0,1 0 0 0 0,1 0 0 0 0,0-1 0 0 0,0-1 0 0 0,0 1-1 0 0,1-2 1 0 0,-1 1 0 0 0,1-2 0 0 0,1 1 0 0 0,-1-2 0 0 0,1 1 0 0 0,18 2 0 0 0,-21-6-84 0 0,-1 1 0 0 0,1-2 0 0 0,-1 1 0 0 0,0-1 1 0 0,1-1-1 0 0,-1 1 0 0 0,0-1 0 0 0,0-1 0 0 0,0 0 0 0 0,0 0 1 0 0,0 0-1 0 0,0-1 0 0 0,-1 0 0 0 0,12-9 0 0 0,-8 5-149 0 0,-1-1 0 0 0,1 0 0 0 0,-2-1 0 0 0,1 0-1 0 0,-2-1 1 0 0,1 0 0 0 0,-1 0 0 0 0,6-12 0 0 0,-5 11-692 0 0,1-1-2010 0 0</inkml:trace>
</inkml:ink>
</file>

<file path=ppt/ink/ink3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8:04.20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9 52 828 0 0,'-6'-7'3811'0'0,"6"6"-3611"0"0,-1 1 1 0 0,1 0 0 0 0,-1 0-1 0 0,-2 1-42 0 0,1 0 0 0 0,0 0 0 0 0,-1 1 0 0 0,1-1 0 0 0,0 1 0 0 0,0 0 0 0 0,0 0 0 0 0,0 0 0 0 0,0 0 0 0 0,0 0-1 0 0,0 0 1 0 0,1 0 0 0 0,-1 0 0 0 0,1 1 0 0 0,0-1 0 0 0,0 1 0 0 0,-1-1 0 0 0,2 1 0 0 0,-1-1 0 0 0,0 1 0 0 0,0 0 0 0 0,1-1 0 0 0,-1 1 0 0 0,1 4 0 0 0,-2 8 323 0 0,1 1-1 0 0,2 30 1 0 0,-1-35-382 0 0,1 0 0 0 0,1 0 0 0 0,-1 0 1 0 0,2 0-1 0 0,0-1 0 0 0,0 1 0 0 0,1-1 0 0 0,0 0 0 0 0,0 0 0 0 0,1 0 0 0 0,1 0 0 0 0,0-1 0 0 0,0 0 0 0 0,1 0 0 0 0,0-1 0 0 0,0 0 0 0 0,1 0 0 0 0,0 0 0 0 0,0-1 0 0 0,1-1 0 0 0,0 1 0 0 0,0-1 0 0 0,1-1 0 0 0,14 7 1 0 0,-21-11-84 0 0,1 0 1 0 0,-1 0 0 0 0,1 0-1 0 0,-1-1 1 0 0,1 1 0 0 0,0-1 0 0 0,-1 0-1 0 0,1 0 1 0 0,-1 0 0 0 0,1-1-1 0 0,0 1 1 0 0,-1-1 0 0 0,1 0 0 0 0,-1 0-1 0 0,1 0 1 0 0,-1 0 0 0 0,0-1 0 0 0,1 0-1 0 0,-1 1 1 0 0,0-1 0 0 0,0 0-1 0 0,5-4 1 0 0,-1-1-7 0 0,1 0-1 0 0,-1 0 1 0 0,0-1-1 0 0,-1 0 1 0 0,0 0-1 0 0,8-13 1 0 0,-5 0-14 0 0,0 0 1 0 0,-1 0-1 0 0,-1 0 0 0 0,-1-1 1 0 0,4-28-1 0 0,6-18-235 0 0,-16 65 210 0 0,-3 30 276 0 0,5-10-185 0 0,0-1 1 0 0,2 1 0 0 0,0-1 0 0 0,1 0-1 0 0,1 0 1 0 0,11 24 0 0 0,-13-33-30 0 0,0 0-1 0 0,0 0 1 0 0,0 0 0 0 0,1-1 0 0 0,0 0-1 0 0,0 0 1 0 0,1 0 0 0 0,0 0 0 0 0,0-1-1 0 0,0 0 1 0 0,0 0 0 0 0,1-1 0 0 0,0 0-1 0 0,0 0 1 0 0,0 0 0 0 0,9 2 0 0 0,-13-4-22 0 0,0-1 1 0 0,1-1 0 0 0,-1 1-1 0 0,0 0 1 0 0,1-1 0 0 0,-1 0 0 0 0,0 0-1 0 0,1 0 1 0 0,-1 0 0 0 0,0 0-1 0 0,0-1 1 0 0,1 1 0 0 0,-1-1-1 0 0,0 0 1 0 0,0 0 0 0 0,0 0-1 0 0,1-1 1 0 0,3-2 0 0 0,-3 1-9 0 0,0 1-1 0 0,-1-2 1 0 0,0 1-1 0 0,0 0 1 0 0,0-1 0 0 0,0 1-1 0 0,0-1 1 0 0,-1 0-1 0 0,1 0 1 0 0,-1 0 0 0 0,0 0-1 0 0,1-5 1 0 0,2-5-4 0 0,-1 0-1 0 0,-1 0 1 0 0,-1-1 0 0 0,0 1-1 0 0,0-1 1 0 0,-1 1-1 0 0,-2-20 1 0 0,-7-31-10 0 0,1 20 21 0 0,4 2-179 0 0,3 41 153 0 0,1-1-32 0 0,-1 3 47 0 0,0-1-1 0 0,0 1 0 0 0,0 0 1 0 0,0 0-1 0 0,0-1 0 0 0,0 1 0 0 0,0 0 1 0 0,0-1-1 0 0,0 1 0 0 0,0 0 1 0 0,0 0-1 0 0,0-1 0 0 0,0 1 1 0 0,0 0-1 0 0,0 0 0 0 0,0-1 1 0 0,0 1-1 0 0,0 0 0 0 0,1 0 1 0 0,-1-1-1 0 0,0 1 0 0 0,0 0 1 0 0,0 0-1 0 0,1 0 0 0 0,-1-1 0 0 0,0 1 1 0 0,0 0-1 0 0,0 0 0 0 0,1 0 1 0 0,-1 0-1 0 0,4 1-3 0 0,0 2 0 0 0,0-1 0 0 0,0 0 1 0 0,-1 1-1 0 0,1 0 0 0 0,-1 0 0 0 0,0 0 0 0 0,1 0 0 0 0,-2 1 1 0 0,1-1-1 0 0,0 1 0 0 0,-1-1 0 0 0,5 8 0 0 0,5 12-22 0 0,10 26 1 0 0,-18-39 14 0 0,4 9 17 0 0,-1-1 0 0 0,-1 1 0 0 0,6 33 0 0 0,-11-41 34 0 0,1 1 0 0 0,-2-1 0 0 0,1 0 0 0 0,-1 1 0 0 0,-1-1 0 0 0,0 0 0 0 0,-5 19 0 0 0,6-29-46 0 0,0-1 1 0 0,-1 0 0 0 0,1 0 0 0 0,0 1 0 0 0,0-1-1 0 0,0 0 1 0 0,0 0 0 0 0,0 1 0 0 0,0-1 0 0 0,0 0-1 0 0,0 0 1 0 0,0 1 0 0 0,0-1 0 0 0,0 0 0 0 0,0 0-1 0 0,0 1 1 0 0,0-1 0 0 0,0 0 0 0 0,0 0-1 0 0,0 1 1 0 0,0-1 0 0 0,0 0 0 0 0,1 0 0 0 0,-1 1-1 0 0,0-1 1 0 0,0 0 0 0 0,0 0 0 0 0,0 0 0 0 0,0 1-1 0 0,1-1 1 0 0,-1 0 0 0 0,0 0 0 0 0,0 0 0 0 0,0 0-1 0 0,1 1 1 0 0,-1-1 0 0 0,0 0 0 0 0,1 0-1 0 0,11-2-162 0 0,22-13-75 0 0,-28 12 156 0 0,41-20-139 0 0,50-33 0 0 0,-82 46 212 0 0,-1 0 1 0 0,0-1 0 0 0,-1 0-1 0 0,0-1 1 0 0,-1-1 0 0 0,0 0-1 0 0,12-18 1 0 0,-21 25-5 0 0,1 0 1 0 0,-1 1-1 0 0,0-1 0 0 0,-1 0 1 0 0,4-12-1 0 0,-6 18 18 0 0,0-1 0 0 0,0 0-1 0 0,0 0 1 0 0,0 1 0 0 0,1-1 0 0 0,-1 0 0 0 0,-1 0 0 0 0,1 1-1 0 0,0-1 1 0 0,0 0 0 0 0,0 1 0 0 0,0-1 0 0 0,0 0-1 0 0,-1 0 1 0 0,1 1 0 0 0,0-1 0 0 0,-1 0 0 0 0,1 1 0 0 0,0-1-1 0 0,-1 0 1 0 0,1 1 0 0 0,-1-1 0 0 0,1 1 0 0 0,-1-1 0 0 0,1 1-1 0 0,-1-1 1 0 0,1 1 0 0 0,-1-1 0 0 0,0 1 0 0 0,1 0 0 0 0,-1-1-1 0 0,0 1 1 0 0,1 0 0 0 0,-2-1 0 0 0,0 0 14 0 0,-1 1 1 0 0,1-1-1 0 0,0 1 1 0 0,-1-1-1 0 0,1 1 1 0 0,-1 0-1 0 0,1 0 0 0 0,-3 0 1 0 0,0 1 22 0 0,1 0-1 0 0,-1 0 1 0 0,1 1 0 0 0,-1 0-1 0 0,1 0 1 0 0,0 0 0 0 0,-1 0-1 0 0,1 0 1 0 0,0 1 0 0 0,1 0-1 0 0,-1 0 1 0 0,0 0 0 0 0,1 0 0 0 0,0 0-1 0 0,-1 1 1 0 0,1 0 0 0 0,1-1-1 0 0,-1 1 1 0 0,1 0 0 0 0,-1 1-1 0 0,1-1 1 0 0,0 0 0 0 0,0 1-1 0 0,1-1 1 0 0,0 1 0 0 0,-1-1-1 0 0,2 1 1 0 0,-1-1 0 0 0,0 1-1 0 0,1 0 1 0 0,0 0 0 0 0,0-1 0 0 0,0 1-1 0 0,1 0 1 0 0,-1-1 0 0 0,1 1-1 0 0,0 0 1 0 0,1-1 0 0 0,1 7-1 0 0,2-2-133 0 0,-1 1-1 0 0,2-1 1 0 0,-1 1-1 0 0,1-1 1 0 0,0-1-1 0 0,1 1 1 0 0,0-1-1 0 0,0-1 1 0 0,1 1-1 0 0,0-1 1 0 0,15 10-1 0 0,-20-16-51 0 0,-1 0-1 0 0,0 0 1 0 0,0 0-1 0 0,0 0 1 0 0,1-1-1 0 0,-1 1 1 0 0,0-1-1 0 0,1 0 1 0 0,-1 0-1 0 0,0 0 1 0 0,1 0-1 0 0,-1 0 1 0 0,0 0-1 0 0,0 0 1 0 0,1-1-1 0 0,-1 1 1 0 0,0-1-1 0 0,1 0 1 0 0,-1 0-1 0 0,0 0 1 0 0,0 0-1 0 0,0 0 1 0 0,0 0-1 0 0,0 0 1 0 0,0-1-1 0 0,0 1 1 0 0,-1-1-1 0 0,1 1 1 0 0,0-1-1 0 0,-1 0 1 0 0,3-2-1 0 0,4-7-240 0 0,-1 1 0 0 0,1-1 0 0 0,-2-1-1 0 0,7-14 1 0 0,-11 23 433 0 0,2-7 135 0 0,1 1 1 0 0,0 0-1 0 0,0 0 1 0 0,1 0 0 0 0,11-12-1 0 0,-15 19 74 0 0,0 2-178 0 0,0 0-1 0 0,-1 0 1 0 0,1 1 0 0 0,0-1 0 0 0,0 0-1 0 0,-1 1 1 0 0,1-1 0 0 0,-1 1 0 0 0,1 0-1 0 0,0-1 1 0 0,-1 1 0 0 0,1 0 0 0 0,-1 0 0 0 0,1 0-1 0 0,-1 0 1 0 0,0 0 0 0 0,1 1 0 0 0,-1-1-1 0 0,0 0 1 0 0,1 2 0 0 0,1 1 34 0 0,-1-1 1 0 0,0 1-1 0 0,0 0 1 0 0,0 0-1 0 0,-1 1 0 0 0,1-1 1 0 0,1 8-1 0 0,-1 2 86 0 0,0 0 0 0 0,-1 1 0 0 0,-1-1 0 0 0,-1 16-1 0 0,0-2 9 0 0,-4 30 5421 0 0,20-68-4963 0 0,72-75-8 0 0,-61 64-723 0 0,59-44-1122 0 0,-74 58 346 0 0,1 0 1 0 0,0 1-1 0 0,0 0 0 0 0,1 1 0 0 0,24-7 0 0 0,-3 5-5343 0 0</inkml:trace>
</inkml:ink>
</file>

<file path=ppt/ink/ink3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8:04.83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73 4 1608 0 0,'2'-1'702'0'0,"-2"0"-527"0"0,0 1 0 0 0,1 0 1 0 0,-1-1-1 0 0,1 1 0 0 0,-1 0 1 0 0,1 0-1 0 0,-1 0 0 0 0,1 0 1 0 0,-1-1-1 0 0,1 1 0 0 0,-1 0 1 0 0,1 0-1 0 0,-1 0 0 0 0,1 0 1 0 0,-1 0-1 0 0,1 0 1 0 0,-1 0-1 0 0,1 0 0 0 0,-1 1 1 0 0,1-1-1 0 0,-1 0 0 0 0,1 0 1 0 0,-1 0-1 0 0,1 0 0 0 0,-1 1 1 0 0,0-1-1 0 0,1 0 0 0 0,-1 0 1 0 0,1 1-1 0 0,0 0 0 0 0,-1 0 0 0 0,0 0 0 0 0,0 0-1 0 0,0 1 1 0 0,0-1-1 0 0,0 0 1 0 0,-1 0-1 0 0,1 0 1 0 0,0 1-1 0 0,0-1 1 0 0,-1 0-1 0 0,1 0 1 0 0,-1 0-1 0 0,0 2 1 0 0,-24 39 1392 0 0,25-42-1551 0 0,-24 37 750 0 0,2 1-1 0 0,-32 75 0 0 0,53-111-762 0 0,-32 74-903 0 0,7-33-3660 0 0</inkml:trace>
</inkml:ink>
</file>

<file path=ppt/ink/ink3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8:05.20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0 40 0 0,'0'-9'7820'0'0,"9"17"-7083"0"0,0 0 0 0 0,-1 1-1 0 0,0 0 1 0 0,11 18 0 0 0,16 19 418 0 0,6-4-428 0 0,-14-14-1029 0 0,-1 0-1 0 0,45 65 0 0 0,-66-84-454 0 0</inkml:trace>
</inkml:ink>
</file>

<file path=ppt/ink/ink3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8:08.64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9 67 2168 0 0,'-8'-10'1680'0'0,"0"1"-248"0"0,4 0-283 0 0,-2 1 539 0 0,-2-4-628 0 0,0 3-784 0 0,2 0-816 0 0</inkml:trace>
</inkml:ink>
</file>

<file path=ppt/ink/ink3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8:13.85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15 72 940 0 0,'0'-3'176'0'0,"0"0"-1"0"0,0 1 1 0 0,0-1-1 0 0,0 0 1 0 0,-1 0 0 0 0,1 1-1 0 0,-1-1 1 0 0,0 0-1 0 0,1 1 1 0 0,-1-1 0 0 0,-1 0-1 0 0,1 1 1 0 0,0-1-1 0 0,-1 1 1 0 0,1 0 0 0 0,-1-1-1 0 0,0 1 1 0 0,1 0-1 0 0,-1 0 1 0 0,0 0 0 0 0,0 0-1 0 0,-1 1 1 0 0,1-1-1 0 0,0 0 1 0 0,-1 1 0 0 0,1 0-1 0 0,-4-2 1 0 0,1 1 15 0 0,0 1 1 0 0,0 0 0 0 0,0 0-1 0 0,0 0 1 0 0,0 1 0 0 0,-1 0-1 0 0,1 0 1 0 0,0 0 0 0 0,0 0-1 0 0,-1 1 1 0 0,1 0 0 0 0,0 0-1 0 0,-8 3 1 0 0,0 1-7 0 0,1 0-1 0 0,-1 1 1 0 0,1 0-1 0 0,0 1 1 0 0,1 0-1 0 0,-1 1 1 0 0,1 1 0 0 0,1 0-1 0 0,0 0 1 0 0,0 1-1 0 0,1 0 1 0 0,0 0-1 0 0,-12 20 1 0 0,17-24-140 0 0,0 1-1 0 0,1 0 1 0 0,-1-1-1 0 0,1 1 1 0 0,1 0-1 0 0,-1 1 1 0 0,1-1-1 0 0,1 0 1 0 0,-1 1 0 0 0,1-1-1 0 0,1 1 1 0 0,-1-1-1 0 0,1 1 1 0 0,0-1-1 0 0,1 1 1 0 0,0-1 0 0 0,0 1-1 0 0,1-1 1 0 0,0 0-1 0 0,0 1 1 0 0,0-1-1 0 0,1 0 1 0 0,0 0-1 0 0,1-1 1 0 0,0 1 0 0 0,5 6-1 0 0,-3-5-15 0 0,0-1 1 0 0,0 0-1 0 0,1 0 0 0 0,1-1 1 0 0,-1 0-1 0 0,1 0 0 0 0,0-1 1 0 0,0 0-1 0 0,0-1 0 0 0,1 1 1 0 0,-1-2-1 0 0,1 1 0 0 0,0-1 1 0 0,19 4-1 0 0,-25-6-36 0 0,0-1 0 0 0,0 1 0 0 0,0-1 0 0 0,0 1 1 0 0,1-1-1 0 0,-1 0 0 0 0,0 0 0 0 0,0-1 0 0 0,0 1 0 0 0,1 0 0 0 0,-1-1 0 0 0,0 0 0 0 0,0 0 0 0 0,0 0 0 0 0,0 0 0 0 0,0 0 1 0 0,0-1-1 0 0,-1 0 0 0 0,1 1 0 0 0,0-1 0 0 0,-1 0 0 0 0,1 0 0 0 0,-1 0 0 0 0,1 0 0 0 0,-1-1 0 0 0,0 1 0 0 0,0-1 0 0 0,0 1 1 0 0,1-4-1 0 0,4-6-46 0 0,-1-1 1 0 0,-1 0 0 0 0,0-1 0 0 0,-1 1 0 0 0,3-19-1 0 0,6-12 101 0 0,-10 32-117 0 0,-3 12 76 0 0,0 0 0 0 0,0 0 1 0 0,0 1-1 0 0,0-1 0 0 0,0 0 1 0 0,0 0-1 0 0,0 0 0 0 0,0 0 0 0 0,0 0 1 0 0,1 0-1 0 0,-1 0 0 0 0,0 0 1 0 0,0 0-1 0 0,0 0 0 0 0,0 0 1 0 0,0 0-1 0 0,0 0 0 0 0,0 0 1 0 0,0 0-1 0 0,0 0 0 0 0,0 0 1 0 0,0 0-1 0 0,0 0 0 0 0,0 0 0 0 0,1 0 1 0 0,-1 0-1 0 0,0 0 0 0 0,0 0 1 0 0,0 0-1 0 0,0 0 0 0 0,0 0 1 0 0,0 0-1 0 0,0 0 0 0 0,2 5 24 0 0,3 23 121 0 0,-3-12-105 0 0,2 7-242 0 0,1 0-1 0 0,2 0 0 0 0,0-1 1 0 0,1 0-1 0 0,22 41 1 0 0,-29-61 53 0 0,-1-1 0 0 0,1 0 0 0 0,0 0 1 0 0,-1 0-1 0 0,1 0 0 0 0,0 0 1 0 0,0 0-1 0 0,0 0 0 0 0,0 0 0 0 0,-1 0 1 0 0,1-1-1 0 0,1 1 0 0 0,-1 0 0 0 0,0-1 1 0 0,0 1-1 0 0,0 0 0 0 0,0-1 0 0 0,0 1 1 0 0,1-1-1 0 0,-1 0 0 0 0,0 1 0 0 0,0-1 1 0 0,1 0-1 0 0,-1 0 0 0 0,0 0 0 0 0,3 0 1 0 0,-3 0-92 0 0,1-1-1 0 0,-1 0 1 0 0,1 0 0 0 0,0 0 0 0 0,-1 1 0 0 0,0-1 0 0 0,1-1 0 0 0,-1 1 0 0 0,0 0 0 0 0,1 0 0 0 0,-1 0-1 0 0,0-1 1 0 0,0 1 0 0 0,0 0 0 0 0,1-3 0 0 0,5-9-1336 0 0</inkml:trace>
</inkml:ink>
</file>

<file path=ppt/ink/ink3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8:14.23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1 1176 0 0,'21'-28'1739'0'0,"-20"26"-1326"0"0,2 2 97 0 0,-2-1-406 0 0,0 1 1 0 0,1 0-1 0 0,-1 0 0 0 0,0 0 0 0 0,0 0 0 0 0,1 0 0 0 0,-1 1 0 0 0,0-1 0 0 0,1 0 0 0 0,-1 0 0 0 0,0 1 0 0 0,0-1 1 0 0,0 1-1 0 0,0-1 0 0 0,1 1 0 0 0,-1 0 0 0 0,0-1 0 0 0,0 1 0 0 0,0 0 0 0 0,0 0 0 0 0,0 0 0 0 0,-1 0 1 0 0,1 0-1 0 0,0 0 0 0 0,0 0 0 0 0,0 0 0 0 0,-1 0 0 0 0,1 0 0 0 0,-1 0 0 0 0,2 2 0 0 0,38 102 2651 0 0,-40-103-2263 0 0,0-2-467 0 0,0 0 0 0 0,0 0 0 0 0,0 0 0 0 0,0 0 0 0 0,0 0 0 0 0,0 1 0 0 0,0-1 0 0 0,0 0 0 0 0,0 0 0 0 0,0 0 0 0 0,0 0 0 0 0,0 0 0 0 0,0 0 0 0 0,0 0 0 0 0,0 0 0 0 0,0 1 0 0 0,0-1 0 0 0,0 0 0 0 0,0 0 0 0 0,0 0 0 0 0,0 0 0 0 0,0 0 0 0 0,0 0 0 0 0,0 0 0 0 0,0 0 0 0 0,0 1 0 0 0,1-1 0 0 0,-1 0 0 0 0,0 0 0 0 0,0 0 0 0 0,0 0 0 0 0,0 0 0 0 0,0 0 0 0 0,0 0 0 0 0,0 0 0 0 0,0 0 0 0 0,0 0 0 0 0,0 0 0 0 0,1 0 0 0 0,-1 0 0 0 0,0 0 0 0 0,0 0 0 0 0,0 0 0 0 0,0 0 0 0 0,0 0 0 0 0,0 0 0 0 0,0 0 0 0 0,0 0 0 0 0,1 0 0 0 0,-1 0 0 0 0,0 0 0 0 0,0 0 0 0 0,0 0 0 0 0,0 0 0 0 0,0 0 0 0 0,0 0 0 0 0,1 0 0 0 0,7-7 556 0 0,11-17-501 0 0,-15 18 94 0 0,2-2-169 0 0,1 1 0 0 0,1 0 0 0 0,-1 1 0 0 0,1 0 0 0 0,0 0 1 0 0,0 0-1 0 0,1 1 0 0 0,-1 0 0 0 0,15-5 0 0 0,-19 10-13 0 0,0-1 1 0 0,0 1 0 0 0,0 0-1 0 0,0 0 1 0 0,0 0 0 0 0,0 0-1 0 0,0 1 1 0 0,0-1 0 0 0,0 1-1 0 0,0 0 1 0 0,-1 1-1 0 0,1-1 1 0 0,0 0 0 0 0,0 1-1 0 0,-1 0 1 0 0,1 0 0 0 0,-1 0-1 0 0,0 1 1 0 0,5 3-1 0 0,-1 0-89 0 0,0 0 0 0 0,-1 1 0 0 0,1 0 0 0 0,-1 1 0 0 0,8 13 0 0 0,11 22-4087 0 0,-19-32 2067 0 0</inkml:trace>
</inkml:ink>
</file>

<file path=ppt/ink/ink3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8:14.61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37 0 252 0 0,'3'1'1201'0'0,"1"0"-922"0"0,-1 1-1 0 0,1 0 1 0 0,-1-1 0 0 0,1 2 0 0 0,-1-1 0 0 0,0 0-1 0 0,0 1 1 0 0,0-1 0 0 0,0 1 0 0 0,0 0 0 0 0,-1 0-1 0 0,1 0 1 0 0,-1 0 0 0 0,0 1 0 0 0,0-1 0 0 0,0 1-1 0 0,0-1 1 0 0,-1 1 0 0 0,1-1 0 0 0,-1 1-1 0 0,1 6 1 0 0,1-1-89 0 0,-1 0 1 0 0,0 1-1 0 0,0-1 0 0 0,-1 0 0 0 0,-1 1 1 0 0,0-1-1 0 0,0 1 0 0 0,-2 13 0 0 0,0-16-108 0 0,1-1-1 0 0,-1 0 0 0 0,-1 0 1 0 0,1 0-1 0 0,-1 0 1 0 0,0 0-1 0 0,0-1 0 0 0,-1 1 1 0 0,1-1-1 0 0,-1 0 0 0 0,-1 0 1 0 0,1 0-1 0 0,-1 0 1 0 0,0-1-1 0 0,0 0 0 0 0,0 0 1 0 0,0 0-1 0 0,-1-1 1 0 0,1 1-1 0 0,-1-1 0 0 0,0-1 1 0 0,0 1-1 0 0,0-1 1 0 0,0 0-1 0 0,-1 0 0 0 0,-10 1 1 0 0,13-3-72 0 0,1 0 0 0 0,-1 0 0 0 0,1-1 0 0 0,0 1 0 0 0,-1-1 1 0 0,1 1-1 0 0,0-1 0 0 0,0 0 0 0 0,-1 0 0 0 0,1-1 0 0 0,0 1 0 0 0,0-1 0 0 0,0 1 1 0 0,0-1-1 0 0,1 0 0 0 0,-1 0 0 0 0,0 0 0 0 0,1-1 0 0 0,-1 1 0 0 0,1-1 1 0 0,0 1-1 0 0,0-1 0 0 0,0 0 0 0 0,-2-3 0 0 0,3 4-12 0 0,1 1 0 0 0,0-1-1 0 0,0 1 1 0 0,0-1 0 0 0,0 1 0 0 0,0-1-1 0 0,0 1 1 0 0,0-1 0 0 0,0 0 0 0 0,0 1-1 0 0,1 0 1 0 0,-1-1 0 0 0,1 1 0 0 0,-1-1-1 0 0,1 1 1 0 0,0-1 0 0 0,-1 1 0 0 0,1 0-1 0 0,0 0 1 0 0,0-1 0 0 0,0 1 0 0 0,0 0-1 0 0,0 0 1 0 0,2-2 0 0 0,-1 1-4 0 0,0 0 0 0 0,0 0 0 0 0,1 0-1 0 0,-1 0 1 0 0,1 0 0 0 0,0 1 0 0 0,-1-1 0 0 0,1 1 0 0 0,0-1-1 0 0,0 1 1 0 0,0 0 0 0 0,3 0 0 0 0,2 0 3 0 0,0 0 0 0 0,0 1 0 0 0,0 0 0 0 0,0 0 0 0 0,0 1 0 0 0,0 0 0 0 0,0 0 0 0 0,0 1 0 0 0,0 0 0 0 0,0 1 0 0 0,-1 0 0 0 0,9 3 0 0 0,-6 0 1 0 0,1 1-1 0 0,-1 0 1 0 0,0 0-1 0 0,0 0 0 0 0,-1 2 1 0 0,0-1-1 0 0,13 16 1 0 0,9 24-454 0 0,-11-14-1601 0 0,7-3-3562 0 0,-19-23 4601 0 0</inkml:trace>
</inkml:ink>
</file>

<file path=ppt/ink/ink3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8:15.15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 18 140 0 0,'1'-2'1750'0'0,"6"-14"910"0"0,-7 16-2600 0 0,0 0 0 0 0,0 0 0 0 0,0 0 0 0 0,1 0 0 0 0,-1 0 1 0 0,0 0-1 0 0,0 0 0 0 0,0 0 0 0 0,1 1 0 0 0,-1-1 0 0 0,0 0 0 0 0,0 0 1 0 0,0 0-1 0 0,0 0 0 0 0,1 0 0 0 0,-1 0 60 0 0,0 1-60 0 0,0-1 1 0 0,0 0-1 0 0,0 0 0 0 0,0 0 0 0 0,1 0 0 0 0,-1 1 0 0 0,0-1 0 0 0,0 0 1 0 0,0 0-1 0 0,0 0 0 0 0,0 0 0 0 0,0 1 0 0 0,0-1 0 0 0,0 0 1 0 0,0 0-1 0 0,0 0 0 0 0,0 1 0 0 0,0-1 0 0 0,0 0 0 0 0,0 0 0 0 0,0 0 1 0 0,0 1-1 0 0,0 37 2445 0 0,-8 22-1596 0 0,2 0 1 0 0,4 0 0 0 0,6 91-1 0 0,-4-150-935 0 0,0 0 0 0 0,0-1 0 0 0,-1 1-1 0 0,1 0 1 0 0,1-1 0 0 0,-1 1 0 0 0,0 0 0 0 0,0-1 0 0 0,0 1-1 0 0,0 0 1 0 0,0-1 0 0 0,0 1 0 0 0,1 0 0 0 0,-1-1 0 0 0,0 1-1 0 0,1-1 1 0 0,-1 1 0 0 0,0 0 0 0 0,1-1 0 0 0,-1 1-1 0 0,1-1 1 0 0,-1 1 0 0 0,1-1 0 0 0,-1 0 0 0 0,1 1 0 0 0,-1-1-1 0 0,1 1 1 0 0,-1-1 0 0 0,1 0 0 0 0,0 1 0 0 0,-1-1 0 0 0,1 0-1 0 0,-1 0 1 0 0,1 0 0 0 0,0 1 0 0 0,-1-1 0 0 0,1 0-1 0 0,0 0 1 0 0,-1 0 0 0 0,1 0 0 0 0,0 0 0 0 0,-1 0 0 0 0,1 0-1 0 0,0 0 1 0 0,-1-1 0 0 0,1 1 0 0 0,0 0 0 0 0,-1 0 0 0 0,2-1-1 0 0,0 0-254 0 0,0 0 1 0 0,1 0-1 0 0,-1-1 0 0 0,0 1 0 0 0,0-1 0 0 0,0 1 0 0 0,0-1 0 0 0,0 0 0 0 0,0 0 0 0 0,1-3 0 0 0,11-22-3529 0 0,-8 8 1264 0 0</inkml:trace>
</inkml:ink>
</file>

<file path=ppt/ink/ink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2:38.56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10 1552 0 0,'0'0'3634'0'0,"2"1"-3070"0"0,10 2 2299 0 0,-8-3-2522 0 0,11-2-153 0 0,-1 0-1 0 0,1-1 0 0 0,0 0 1 0 0,-1-1-1 0 0,0-1 0 0 0,0 0 1 0 0,0-1-1 0 0,-1-1 0 0 0,1 0 1 0 0,18-14-1 0 0,-27 17-184 0 0,0 0 0 0 0,0 0 0 0 0,0 0 0 0 0,0-1 1 0 0,0 0-1 0 0,-1 0 0 0 0,0-1 0 0 0,0 1 0 0 0,-1-1 0 0 0,0 0 0 0 0,1 0 0 0 0,-2 0 0 0 0,1 0 0 0 0,-1 0 0 0 0,0 0 0 0 0,0-1 1 0 0,-1 1-1 0 0,0-1 0 0 0,0 0 0 0 0,0 1 0 0 0,-1-1 0 0 0,0 0 0 0 0,0 1 0 0 0,-1-1 0 0 0,0 0 0 0 0,-2-7 0 0 0,2 10-10 0 0,0 0 0 0 0,0-1 0 0 0,0 1-1 0 0,-1 0 1 0 0,0 0 0 0 0,0 0-1 0 0,0 0 1 0 0,0 0 0 0 0,-1 0 0 0 0,1 1-1 0 0,-1-1 1 0 0,0 1 0 0 0,0 0-1 0 0,0-1 1 0 0,0 1 0 0 0,-1 1 0 0 0,1-1-1 0 0,-1 0 1 0 0,0 1 0 0 0,0 0 0 0 0,0 0-1 0 0,-4-2 1 0 0,-17-1-45 0 0,19 7 48 0 0,3 0-2 0 0,2-2 5 0 0,0 1 0 0 0,0-1 1 0 0,0 1-1 0 0,0-1 0 0 0,0 1 0 0 0,-1-1 0 0 0,1 1 1 0 0,0 0-1 0 0,0 0 0 0 0,0 0 0 0 0,1-1 0 0 0,-1 1 1 0 0,0 0-1 0 0,0 0 0 0 0,0 0 0 0 0,1 0 0 0 0,-1 0 1 0 0,0 0-1 0 0,1 1 0 0 0,-1-1 0 0 0,1 0 0 0 0,0 0 0 0 0,-1 0 1 0 0,1 1-1 0 0,0-1 0 0 0,-1 0 0 0 0,1 0 0 0 0,0 3 1 0 0,0 1-2 0 0,0 0-1 0 0,0 0 1 0 0,0 0 0 0 0,1 0 0 0 0,1 7 0 0 0,9 25 1 0 0,1 0 0 0 0,21 40 0 0 0,-15-36 53 0 0,17 57 1 0 0,-31-85 101 0 0,-1 1 0 0 0,0-1 0 0 0,-1 1-1 0 0,-1 0 1 0 0,0 0 0 0 0,-1 0 0 0 0,0 0 0 0 0,-4 20 0 0 0,3-31-94 0 0,1 0 0 0 0,-1 1 0 0 0,0-1 0 0 0,0-1 0 0 0,-1 1-1 0 0,1 0 1 0 0,0 0 0 0 0,-1 0 0 0 0,0-1 0 0 0,1 1 0 0 0,-1-1 0 0 0,0 1 0 0 0,-1-1 0 0 0,1 0 0 0 0,0 1 0 0 0,-1-1 0 0 0,1-1 0 0 0,-1 1 0 0 0,1 0 0 0 0,-1 0 0 0 0,0-1 0 0 0,0 0 0 0 0,0 0 0 0 0,0 1 0 0 0,0-2-1 0 0,0 1 1 0 0,0 0 0 0 0,0-1 0 0 0,0 1 0 0 0,0-1 0 0 0,0 0 0 0 0,-1 0 0 0 0,1 0 0 0 0,0 0 0 0 0,0-1 0 0 0,0 1 0 0 0,0-1 0 0 0,0 0 0 0 0,0 0 0 0 0,0 0 0 0 0,0 0 0 0 0,0 0 0 0 0,0-1 0 0 0,1 1 0 0 0,-1-1-1 0 0,0 0 1 0 0,1 0 0 0 0,-1 0 0 0 0,1 0 0 0 0,0 0 0 0 0,0-1 0 0 0,0 1 0 0 0,0-1 0 0 0,0 1 0 0 0,0-1 0 0 0,1 0 0 0 0,-1 1 0 0 0,0-4 0 0 0,0 1-165 0 0,0 0 1 0 0,1 1 0 0 0,0-1-1 0 0,0 0 1 0 0,0 0-1 0 0,1 0 1 0 0,-1 0-1 0 0,1 1 1 0 0,0-1 0 0 0,0 0-1 0 0,1 0 1 0 0,0 0-1 0 0,0 0 1 0 0,0 0 0 0 0,0 1-1 0 0,1-1 1 0 0,-1 0-1 0 0,1 1 1 0 0,1-1-1 0 0,-1 1 1 0 0,0 0 0 0 0,5-6-1 0 0,5-6-1379 0 0,1 1 0 0 0,0 1 0 0 0,0-1 0 0 0,20-14 0 0 0,-11 11-2147 0 0</inkml:trace>
</inkml:ink>
</file>

<file path=ppt/ink/ink3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8:15.51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4 64 528 0 0,'-6'-9'1236'0'0,"4"0"-300"0"0,-4 0 304 0 0,-2-6-452 0 0,0 4-316 0 0,-2 4-115 0 0,-4 4-950 0 0</inkml:trace>
  <inkml:trace contextRef="#ctx0" brushRef="#br0" timeOffset="1">376 62 820 0 0,'2'1'1246'0'0,"2"2"-884"0"0,-1 0-1 0 0,0 0 1 0 0,0 0-1 0 0,-1 0 1 0 0,1 0-1 0 0,-1 1 1 0 0,0-1-1 0 0,0 1 1 0 0,0 0-1 0 0,0-1 1 0 0,0 1-1 0 0,-1 0 1 0 0,0 0-1 0 0,1 0 1 0 0,-2 0-1 0 0,1 1 1 0 0,0 6-1 0 0,1 11 301 0 0,-2 0-1 0 0,-1 26 0 0 0,0-35-509 0 0,-2 24 228 0 0,-13 64 0 0 0,10-73-2084 0 0,-13 33 0 0 0,7-38-1791 0 0,6-16 1333 0 0</inkml:trace>
</inkml:ink>
</file>

<file path=ppt/ink/ink3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8:16.37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73 672 0 0,'1'-2'1180'0'0,"4"-3"-881"0"0,-1 0 0 0 0,1 0 0 0 0,-1 0 1 0 0,1 0-1 0 0,1 1 0 0 0,-1 0 0 0 0,1 0 0 0 0,-1 0 0 0 0,1 1 0 0 0,0 0 0 0 0,12-4 0 0 0,11-4-54 0 0,39-8-1 0 0,-38 12 68 0 0,102-22 473 0 0,-46 11 86 0 0,-83 18-726 0 0,29-7 1501 0 0,-14-2-1080 0 0,-12 6-508 0 0,-1-1 1 0 0,-1 1-1 0 0,1-1 1 0 0,-1-1-1 0 0,1 1 0 0 0,-1 0 1 0 0,0-1-1 0 0,-1 0 1 0 0,1 0-1 0 0,-1 0 1 0 0,0-1-1 0 0,4-9 0 0 0,-7 14-59 0 0,1 0-1 0 0,-1 0 0 0 0,0 0 1 0 0,1 0-1 0 0,-1 0 0 0 0,0 0 1 0 0,0 0-1 0 0,0-1 0 0 0,0 1 1 0 0,0 0-1 0 0,0 0 0 0 0,0 0 1 0 0,0 0-1 0 0,0-1 0 0 0,-1 1 1 0 0,1 0-1 0 0,0 0 0 0 0,-1 0 1 0 0,1 0-1 0 0,-1 0 0 0 0,1 0 1 0 0,-1 0-1 0 0,0 0 0 0 0,1 0 1 0 0,-2-1-1 0 0,0 0-6 0 0,0 0-1 0 0,0 0 1 0 0,0 0 0 0 0,0 1-1 0 0,0-1 1 0 0,-1 1 0 0 0,-3-3-1 0 0,-12 0-33 0 0,9 4 22 0 0,0 1-1 0 0,0 0 0 0 0,-1 0 0 0 0,1 1 0 0 0,0 0 0 0 0,0 1 1 0 0,0-1-1 0 0,1 2 0 0 0,-1-1 0 0 0,1 1 0 0 0,0 1 1 0 0,0 0-1 0 0,0 0 0 0 0,0 0 0 0 0,-12 12 0 0 0,16-13 44 0 0,0 1-1 0 0,0-1 0 0 0,0 1 1 0 0,1-1-1 0 0,-1 1 1 0 0,1 0-1 0 0,0 1 0 0 0,1-1 1 0 0,-1 0-1 0 0,1 1 0 0 0,-3 8 1 0 0,5-9 5 0 0,-1-1 1 0 0,1 0-1 0 0,-1 1 0 0 0,1-1 1 0 0,1 1-1 0 0,-1-1 1 0 0,0 0-1 0 0,1 1 0 0 0,0-1 1 0 0,0 0-1 0 0,1 0 1 0 0,-1 0-1 0 0,1 1 0 0 0,0-1 1 0 0,0-1-1 0 0,0 1 1 0 0,3 4-1 0 0,-2-4-11 0 0,-1 0-1 0 0,1-1 1 0 0,0 0 0 0 0,0 1-1 0 0,1-1 1 0 0,-1 0 0 0 0,0 0-1 0 0,1-1 1 0 0,0 1 0 0 0,0-1-1 0 0,0 0 1 0 0,0 0 0 0 0,0 0-1 0 0,0 0 1 0 0,0-1 0 0 0,1 0-1 0 0,-1 0 1 0 0,1 0 0 0 0,6 1-1 0 0,-5-2-3 0 0,-1-1 0 0 0,0 1 0 0 0,0-1 0 0 0,1 0 0 0 0,-1 0 0 0 0,0 0-1 0 0,0-1 1 0 0,0 0 0 0 0,0 0 0 0 0,-1 0 0 0 0,1 0 0 0 0,0-1 0 0 0,-1 0 0 0 0,0 0-1 0 0,1 0 1 0 0,6-7 0 0 0,86-103 62 0 0,-95 111-135 0 0,8 2 22 0 0,-10 0 34 0 0,1-1 0 0 0,0 1 1 0 0,0 0-1 0 0,-1 0 0 0 0,1 0 0 0 0,0 0 1 0 0,0 0-1 0 0,-1 0 0 0 0,1 0 0 0 0,0 0 1 0 0,0 1-1 0 0,-1-1 0 0 0,1 0 0 0 0,0 0 1 0 0,0 1-1 0 0,-1-1 0 0 0,1 0 0 0 0,0 1 1 0 0,-1-1-1 0 0,1 0 0 0 0,0 1 0 0 0,-1-1 1 0 0,1 1-1 0 0,-1-1 0 0 0,1 1 0 0 0,-1 0 1 0 0,1-1-1 0 0,0 2 0 0 0,3 5 47 0 0,1 1-1 0 0,-2-1 1 0 0,1 1-1 0 0,-1 1 1 0 0,0-1-1 0 0,-1 0 1 0 0,3 16 0 0 0,7 20 770 0 0,-11-42-201 0 0,-1-1-524 0 0,0-1-1 0 0,0 0 0 0 0,0 0 1 0 0,0 1-1 0 0,0-1 1 0 0,0 0-1 0 0,0 0 1 0 0,-1 1-1 0 0,1-1 0 0 0,0 0 1 0 0,0 1-1 0 0,1-1 1 0 0,-1 0-1 0 0,0 0 1 0 0,0 1-1 0 0,0-1 0 0 0,0 0 1 0 0,0 1-1 0 0,0-1 1 0 0,0 0-1 0 0,0 0 0 0 0,0 1 1 0 0,1-1-1 0 0,-1 0 1 0 0,0 0-1 0 0,0 0 1 0 0,0 1-1 0 0,1-1 0 0 0,-1 0 1 0 0,0 0-1 0 0,0 0 1 0 0,0 1-1 0 0,1-1 0 0 0,-1 0 1 0 0,1 0-1 0 0,7-8 883 0 0,10-23-1219 0 0,-16 27 518 0 0,1 1-283 0 0,-1-1 1 0 0,0 1 0 0 0,1 0 0 0 0,-1-1-1 0 0,1 1 1 0 0,0 1 0 0 0,0-1 0 0 0,0 0 0 0 0,0 1-1 0 0,1-1 1 0 0,-1 1 0 0 0,5-2 0 0 0,-5 3-5 0 0,-1 0 0 0 0,1 0 1 0 0,-1 0-1 0 0,1 1 0 0 0,-1-1 1 0 0,1 1-1 0 0,0-1 0 0 0,-1 1 1 0 0,1 0-1 0 0,0 0 0 0 0,-1 0 1 0 0,1 1-1 0 0,0-1 0 0 0,-1 0 1 0 0,1 1-1 0 0,-1 0 0 0 0,1 0 1 0 0,-1 0-1 0 0,1 0 0 0 0,-1 0 1 0 0,4 3-1 0 0,-1-2 9 0 0,-1 1 0 0 0,0 0 1 0 0,0 0-1 0 0,-1 0 0 0 0,1 1 1 0 0,0-1-1 0 0,-1 1 0 0 0,0 0 1 0 0,0 0-1 0 0,0 0 0 0 0,-1 0 0 0 0,1 0 1 0 0,-1 1-1 0 0,0-1 0 0 0,0 1 1 0 0,1 5-1 0 0,-3-9 40 0 0,-1 2 24 0 0,1-3-52 0 0,0 1 1 0 0,0-1 0 0 0,0 0 0 0 0,0 0 0 0 0,0 0 0 0 0,0 1-1 0 0,-1-1 1 0 0,1 0 0 0 0,0 0 0 0 0,0 0 0 0 0,0 1-1 0 0,0-1 1 0 0,0 0 0 0 0,0 0 0 0 0,0 0 0 0 0,0 0 0 0 0,0 1-1 0 0,0-1 1 0 0,-1 0 0 0 0,1 0 0 0 0,0 0 0 0 0,0 0 0 0 0,0 0-1 0 0,0 1 1 0 0,0-1 0 0 0,-1 0 0 0 0,1 0 0 0 0,0 0-1 0 0,0 0 1 0 0,0 0 0 0 0,0 0 0 0 0,-1 0 0 0 0,1 0 0 0 0,0 0-1 0 0,-1 0 1 0 0,1 0-1 0 0,-1-1-1 0 0,0 1 0 0 0,0-1 1 0 0,1 1-1 0 0,-1-1 0 0 0,0 1 1 0 0,1-1-1 0 0,-1 0 0 0 0,0 0 1 0 0,1 1-1 0 0,-1-1 0 0 0,1 0 1 0 0,0 0-1 0 0,-1 0 0 0 0,1 1 1 0 0,-1-1-1 0 0,1 0 0 0 0,0 0 1 0 0,0 0-1 0 0,0 0 0 0 0,-1 0 1 0 0,1 0-1 0 0,0 0 0 0 0,0 0 1 0 0,0 0-1 0 0,0 1 0 0 0,0-1 1 0 0,1 0-1 0 0,-1 0 0 0 0,0 0 1 0 0,0 0-1 0 0,1 0 0 0 0,-1 0 1 0 0,0 0-1 0 0,1 1 0 0 0,0-3 1 0 0,0 1-12 0 0,0 0 1 0 0,0 0-1 0 0,0 0 1 0 0,1 0-1 0 0,-1 1 1 0 0,0-1 0 0 0,1 0-1 0 0,-1 1 1 0 0,1-1-1 0 0,0 0 1 0 0,-1 1-1 0 0,1 0 1 0 0,0-1-1 0 0,0 1 1 0 0,0 0 0 0 0,0 0-1 0 0,0 0 1 0 0,4-1-1 0 0,2 0-34 0 0,-3 1 26 0 0,0 0 1 0 0,-1 0-1 0 0,1 0 1 0 0,0 0-1 0 0,0 1 1 0 0,0 0-1 0 0,8 1 1 0 0,-10-1 4 0 0,0 1 0 0 0,0 0 0 0 0,0 0 0 0 0,0 1 0 0 0,0-1 0 0 0,0 1 0 0 0,0-1 0 0 0,-1 1 0 0 0,1 0 0 0 0,0 0 0 0 0,-1 0 0 0 0,0 0 0 0 0,1 1 0 0 0,-1-1 0 0 0,0 1 0 0 0,0-1 1 0 0,2 5-1 0 0,-1-2-529 0 0,0 0 1 0 0,-1 1-1 0 0,1-1 1 0 0,-1 0 0 0 0,1 7-1 0 0,9 18-3474 0 0,-1-28 2190 0 0,-9-2 1640 0 0,0 0-1 0 0,-1 1 1 0 0,1-1 0 0 0,0-1-1 0 0,0 1 1 0 0,0 0 0 0 0,0 0-1 0 0,-1-1 1 0 0,1 1 0 0 0,0-1-1 0 0,0 0 1 0 0,-1 1 0 0 0,1-1-1 0 0,0 0 1 0 0,2-2 0 0 0,7-4-1111 0 0,1-3 362 0 0</inkml:trace>
</inkml:ink>
</file>

<file path=ppt/ink/ink3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8:16.73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83 1796 0 0,'4'-4'25'0'0,"26"-26"2728"0"0,54-44 1136 0 0,-82 76-3217 0 0,-1-1-601 0 0,-1-1 0 0 0,1 1 0 0 0,0-1 1 0 0,-1 1-1 0 0,1 0 0 0 0,-1 0 0 0 0,1-1 0 0 0,-1 1 0 0 0,0 0 1 0 0,1 0-1 0 0,-1-1 0 0 0,0 1 0 0 0,1 0 0 0 0,-1 0 1 0 0,0 0-1 0 0,0 0 0 0 0,0 0 0 0 0,0-1 0 0 0,0 3 0 0 0,-5 20 864 0 0,-6 16 85 0 0,2 1-1 0 0,2 0 1 0 0,-4 51-1 0 0,11-85-954 0 0,0-1-1 0 0,0 1 0 0 0,0-1 1 0 0,0 1-1 0 0,1-1 0 0 0,0 1 1 0 0,0-1-1 0 0,1 1 0 0 0,0-1 0 0 0,3 8 1 0 0,-4-11-144 0 0,0 0 1 0 0,1 0 0 0 0,-1 0-1 0 0,1 0 1 0 0,-1 0 0 0 0,1 0-1 0 0,0 0 1 0 0,0-1 0 0 0,0 1-1 0 0,0-1 1 0 0,0 1 0 0 0,0-1-1 0 0,1 0 1 0 0,-1 0-1 0 0,0 0 1 0 0,0 0 0 0 0,1 0-1 0 0,-1-1 1 0 0,1 1 0 0 0,-1-1-1 0 0,1 1 1 0 0,-1-1 0 0 0,1 0-1 0 0,2 0 1 0 0,1-1-446 0 0,-1 0 1 0 0,0 0-1 0 0,0 0 0 0 0,0 0 1 0 0,0-1-1 0 0,-1 0 1 0 0,1 0-1 0 0,0-1 0 0 0,-1 1 1 0 0,1-1-1 0 0,-1 0 0 0 0,0 0 1 0 0,0-1-1 0 0,0 1 1 0 0,4-5-1 0 0,6-8-3014 0 0</inkml:trace>
  <inkml:trace contextRef="#ctx0" brushRef="#br0" timeOffset="1">248 116 496 0 0,'-5'-14'1718'0'0,"-1"0"137"0"0,0-1 1 0 0,-1 1-1 0 0,-16-25 1 0 0,15 20-1071 0 0</inkml:trace>
</inkml:ink>
</file>

<file path=ppt/ink/ink3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8:33.35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5 64 1428 0 0,'-10'-11'1292'0'0,"2"0"-312"0"0,0 4 508 0 0,-2-7-519 0 0,0 3-393 0 0,2 2-200 0 0</inkml:trace>
</inkml:ink>
</file>

<file path=ppt/ink/ink3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8:19.80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04 1165 340 0 0,'39'13'790'0'0,"1"-2"0"0"0,0-2 0 0 0,63 5 0 0 0,125-2-337 0 0,-220-11-420 0 0,55-1 108 0 0,-1-3-1 0 0,1-2 0 0 0,117-27 1 0 0,-120 18-4 0 0,36-7 125 0 0,182-66-1 0 0,-233 67 368 0 0,-1-1 0 0 0,70-47 0 0 0,-96 55-420 0 0,0 0-1 0 0,-1-1 1 0 0,-1-1-1 0 0,0-1 1 0 0,-1 0-1 0 0,-1-1 1 0 0,-1 0 0 0 0,17-28-1 0 0,-25 35-159 0 0,-1 0-1 0 0,1 0 0 0 0,-2-1 1 0 0,1 0-1 0 0,-1 1 0 0 0,-1-1 1 0 0,0 0-1 0 0,-1 0 0 0 0,0-1 1 0 0,0 1-1 0 0,-2-19 1 0 0,-1 16-44 0 0,0 0 0 0 0,-1 0 1 0 0,-1 0-1 0 0,0 0 1 0 0,0 1-1 0 0,-2 0 1 0 0,0 0-1 0 0,-13-22 1 0 0,3 11-19 0 0,-2 2 1 0 0,0 0-1 0 0,-1 0 1 0 0,-2 2-1 0 0,0 1 1 0 0,-31-23-1 0 0,-149-86-21 0 0,162 106 19 0 0,0 2 1 0 0,-2 1 0 0 0,0 2-1 0 0,-1 2 1 0 0,-51-11 0 0 0,-18 1-20 0 0,-1 4 1 0 0,-116-5 0 0 0,181 24 11 0 0,2-1 44 0 0,1 2 0 0 0,-1 3 0 0 0,-62 9 0 0 0,98-10-18 0 0,-21 1-1 0 0,-43 8 1 0 0,49-6-5 0 0,-68 14 10 0 0,65-15-8 0 0,11 0-13 0 0,1 0 1 0 0,-1 0-1 0 0,1 1 1 0 0,-27 12-1 0 0,34-12-1 0 0,0-1-1 0 0,0 1 1 0 0,0 1-1 0 0,0 0 1 0 0,1 0 0 0 0,0 0-1 0 0,0 1 1 0 0,1 0-1 0 0,-1 0 1 0 0,1 1-1 0 0,0 0 1 0 0,-8 14 0 0 0,9-15-1 0 0,1 1 1 0 0,1 0 0 0 0,-1 0 0 0 0,-3 12 0 0 0,0-1 11 0 0,1 14-45 0 0,4-15 13 0 0,-1 8-5 0 0,1 0 1 0 0,1 0-1 0 0,1 1 1 0 0,7 46-1 0 0,-4-42 145 0 0,2 0-1 0 0,1-1 1 0 0,1 1-1 0 0,2-1 1 0 0,1 0-1 0 0,1-1 1 0 0,24 44-1 0 0,5-6-902 0 0,-12-24-3188 0 0,-18-28 1521 0 0</inkml:trace>
</inkml:ink>
</file>

<file path=ppt/ink/ink3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8:20.86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 504 0 0,'0'0'592'0'0,"0"15"786"0"0,60 661 1988 0 0,-24-180-2229 0 0,-6-162-536 0 0,-14-125-310 0 0,8 199 43 0 0,-26-350 238 0 0,1-29-1155 0 0,0-3-3289 0 0</inkml:trace>
</inkml:ink>
</file>

<file path=ppt/ink/ink3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8:21.19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 37 92 0 0,'0'0'1386'0'0,"-6"10"2022"0"0,5-6-3161 0 0,1 0-1 0 0,0 1 0 0 0,0-1 0 0 0,0 0 0 0 0,1 1 1 0 0,-1-1-1 0 0,1 0 0 0 0,0 0 0 0 0,1 1 0 0 0,-1-1 1 0 0,1 0-1 0 0,-1 0 0 0 0,5 6 0 0 0,-1-3-56 0 0,-1 0-1 0 0,1-1 1 0 0,1 0-1 0 0,-1 0 1 0 0,1 0-1 0 0,0-1 1 0 0,8 6-1 0 0,-4-4-46 0 0,1 0-1 0 0,1 0 0 0 0,-1-1 0 0 0,1-1 1 0 0,0 0-1 0 0,0 0 0 0 0,1-2 0 0 0,-1 1 0 0 0,18 2 1 0 0,-22-6-81 0 0,1 1-1 0 0,0-1 1 0 0,-1-1 0 0 0,1 0 0 0 0,-1 0 0 0 0,1 0-1 0 0,-1-1 1 0 0,1 0 0 0 0,-1-1 0 0 0,0 0 0 0 0,0 0-1 0 0,0-1 1 0 0,0 0 0 0 0,-1 0 0 0 0,0-1 0 0 0,0 0-1 0 0,0 0 1 0 0,0-1 0 0 0,-1 0 0 0 0,0 0 0 0 0,0 0 0 0 0,0-1-1 0 0,-1 0 1 0 0,0 0 0 0 0,0 0 0 0 0,-1-1 0 0 0,0 1-1 0 0,-1-1 1 0 0,1 0 0 0 0,2-11 0 0 0,12-42-1308 0 0,-20 47-605 0 0</inkml:trace>
</inkml:ink>
</file>

<file path=ppt/ink/ink3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8:22.83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1 158 52 0 0,'-2'-2'325'0'0,"-3"-2"-28"0"0,-1-1-1 0 0,1 0 0 0 0,1 0 0 0 0,-1 0 1 0 0,1-1-1 0 0,0 1 0 0 0,-6-12 1 0 0,9 13-98 0 0,0 0 1 0 0,0 0-1 0 0,0 0 1 0 0,0-1 0 0 0,1 1-1 0 0,-1 0 1 0 0,1-1-1 0 0,1-6 1 0 0,-1 1 228 0 0,0 6-352 0 0,0 1 28 0 0,-1 0-1 0 0,1 0 0 0 0,0 0 0 0 0,0 0 0 0 0,1 0 1 0 0,-1 0-1 0 0,1 0 0 0 0,-1 1 0 0 0,1-1 0 0 0,0 0 1 0 0,0 0-1 0 0,0 0 0 0 0,3-4 0 0 0,-3 8-82 0 0,-1-1-1 0 0,1 1 0 0 0,0-1 0 0 0,0 1 1 0 0,0 0-1 0 0,0-1 0 0 0,0 1 0 0 0,-1 0 1 0 0,1-1-1 0 0,0 1 0 0 0,-1 0 1 0 0,1 0-1 0 0,-1 0 0 0 0,1-1 0 0 0,-1 1 1 0 0,2 2-1 0 0,9 21 352 0 0,-1 1 1 0 0,-2 0-1 0 0,8 31 1 0 0,10 81-92 0 0,-13-25 7 0 0,3 11-1074 0 0,-16-106-115 0 0,0-14-19 0 0</inkml:trace>
</inkml:ink>
</file>

<file path=ppt/ink/ink3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8:23.17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 2 468 0 0,'-4'2'2443'0'0,"4"-2"-2401"0"0,4 16 1013 0 0,11 19-76 0 0,-5-17-581 0 0,2 0-1 0 0,0 0 0 0 0,1-1 1 0 0,25 25-1 0 0,-5-11 191 0 0,42 31 0 0 0,-71-59-533 0 0,10 9 241 0 0,0-1 0 0 0,1-1 1 0 0,0-1-1 0 0,0 0 1 0 0,28 11-1 0 0,-40-20-238 0 0,0 1 0 0 0,0-1 0 0 0,1 0 1 0 0,-1 0-1 0 0,0-1 0 0 0,0 1 0 0 0,0-1 0 0 0,0 1 0 0 0,0-1 0 0 0,0 0 1 0 0,0 0-1 0 0,0 0 0 0 0,0-1 0 0 0,0 1 0 0 0,-1-1 0 0 0,1 0 0 0 0,0 1 1 0 0,-1-1-1 0 0,1 0 0 0 0,-1 0 0 0 0,0-1 0 0 0,3-2 0 0 0,-2 0-11 0 0,0 0 0 0 0,-1 0-1 0 0,1-1 1 0 0,-1 1 0 0 0,0-1-1 0 0,0 1 1 0 0,-1-1-1 0 0,1 0 1 0 0,-1 1 0 0 0,-1-1-1 0 0,1 0 1 0 0,-1-10 0 0 0,-1-8 82 0 0,-7-41 0 0 0,7 59-103 0 0,-4-19-574 0 0,0 0-1 0 0,-16-46 1 0 0,20 69-116 0 0,-2-5-619 0 0</inkml:trace>
</inkml:ink>
</file>

<file path=ppt/ink/ink3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8:23.62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22 94 328 0 0,'3'0'1024'0'0,"0"-1"-808"0"0,1 0-1 0 0,-1 0 1 0 0,0 0-1 0 0,0 0 1 0 0,0 0-1 0 0,0-1 1 0 0,0 1-1 0 0,0-1 1 0 0,-1 0-1 0 0,1 0 1 0 0,-1 0-1 0 0,1 0 1 0 0,-1-1-1 0 0,1 1 1 0 0,-1-1-1 0 0,3-4 1 0 0,-4 5-188 0 0,0 0 1 0 0,0 0 0 0 0,0 0 0 0 0,0 0-1 0 0,-1 1 1 0 0,1-1 0 0 0,-1 0-1 0 0,1 0 1 0 0,-1 0 0 0 0,0 0-1 0 0,0 0 1 0 0,0-1 0 0 0,0 1 0 0 0,0 0-1 0 0,0 0 1 0 0,-1 0 0 0 0,1 0-1 0 0,-1 0 1 0 0,1 0 0 0 0,-1 1-1 0 0,0-1 1 0 0,0 0 0 0 0,0 0-1 0 0,-2-3 1 0 0,3 4-15 0 0,-1 1-1 0 0,0-1 1 0 0,1 1-1 0 0,-1-1 0 0 0,0 1 1 0 0,0-1-1 0 0,0 1 1 0 0,1-1-1 0 0,-1 1 1 0 0,0 0-1 0 0,0-1 1 0 0,0 1-1 0 0,0 0 0 0 0,0 0 1 0 0,0 0-1 0 0,0 0 1 0 0,1 0-1 0 0,-3 0 1 0 0,2 0 30 0 0,-2-1 2 0 0,0 1 0 0 0,0 0 1 0 0,0 0-1 0 0,0 0 1 0 0,0 0-1 0 0,-1 0 0 0 0,1 1 1 0 0,0-1-1 0 0,0 1 1 0 0,0 0-1 0 0,0 0 0 0 0,0 0 1 0 0,0 0-1 0 0,1 1 1 0 0,-5 2-1 0 0,0 0 5 0 0,0 1 1 0 0,0 0-1 0 0,1 0 1 0 0,-8 7-1 0 0,8-5 46 0 0,0 0-1 0 0,0 0 1 0 0,1 0-1 0 0,0 1 1 0 0,0 0-1 0 0,0 0 1 0 0,1 0-1 0 0,1 1 1 0 0,-1-1 0 0 0,1 1-1 0 0,1 0 1 0 0,-1 0-1 0 0,2 0 1 0 0,-1 0-1 0 0,1 0 1 0 0,1 0-1 0 0,-1 0 1 0 0,2 0 0 0 0,-1 1-1 0 0,1-1 1 0 0,1 0-1 0 0,-1 0 1 0 0,7 16-1 0 0,-4-14-38 0 0,0 0-1 0 0,1 0 0 0 0,1 0 0 0 0,0-1 0 0 0,0 0 0 0 0,1-1 0 0 0,0 1 0 0 0,1-1 0 0 0,-1 0 0 0 0,2-1 1 0 0,0 0-1 0 0,0-1 0 0 0,0 1 0 0 0,1-2 0 0 0,0 1 0 0 0,0-1 0 0 0,0-1 0 0 0,15 6 0 0 0,-18-8-41 0 0,-1-1-1 0 0,1 0 0 0 0,0 0 0 0 0,0 0 1 0 0,0-1-1 0 0,0 0 0 0 0,0 0 0 0 0,0-1 1 0 0,1 0-1 0 0,-1 0 0 0 0,0-1 1 0 0,0 0-1 0 0,0 0 0 0 0,0 0 0 0 0,0-1 1 0 0,0 0-1 0 0,0-1 0 0 0,-1 1 0 0 0,1-1 1 0 0,-1-1-1 0 0,0 1 0 0 0,0-1 0 0 0,0 0 1 0 0,0-1-1 0 0,-1 1 0 0 0,1-1 1 0 0,-1 0-1 0 0,0 0 0 0 0,5-8 0 0 0,3-6-28 0 0,-1-1 0 0 0,-1 0-1 0 0,-1-1 1 0 0,0-1-1 0 0,-2 1 1 0 0,0-1-1 0 0,-2 0 1 0 0,6-32 0 0 0,-12 52-33 0 0,-6 27-218 0 0,6-3 254 0 0,0 0-1 0 0,2 0 1 0 0,4 28-1 0 0,0-9 93 0 0,-5-35-106 0 0,7 53-492 0 0,0-22-2811 0 0</inkml:trace>
</inkml:ink>
</file>

<file path=ppt/ink/ink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2:39.01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 106 48 0 0,'16'3'3386'0'0,"-12"0"-3099"0"0,-1 0-1 0 0,0 0 1 0 0,0 0 0 0 0,0 0 0 0 0,0 1 0 0 0,0-1 0 0 0,-1 1 0 0 0,1 0 0 0 0,-1 0 0 0 0,0 0 0 0 0,0 0 0 0 0,0 0 0 0 0,-1 0-1 0 0,0 0 1 0 0,1 5 0 0 0,3 14 629 0 0,4 38-1 0 0,-8-47-673 0 0,2 19 502 0 0,-1 0 0 0 0,-2 0 0 0 0,-5 38 0 0 0,5-70-715 0 0,-1 0 0 0 0,1 0 1 0 0,-1 0-1 0 0,1 0 0 0 0,-1-1 0 0 0,0 1 0 0 0,1 0 0 0 0,-1 0 1 0 0,0 0-1 0 0,0-1 0 0 0,0 1 0 0 0,0 0 0 0 0,1-1 0 0 0,-1 1 0 0 0,0-1 1 0 0,0 1-1 0 0,0-1 0 0 0,0 0 0 0 0,0 1 0 0 0,-1-1 0 0 0,1 0 1 0 0,0 0-1 0 0,0 1 0 0 0,0-1 0 0 0,0 0 0 0 0,0 0 0 0 0,0 0 0 0 0,0 0 1 0 0,0-1-1 0 0,0 1 0 0 0,0 0 0 0 0,0 0 0 0 0,-1-1 0 0 0,1 1 0 0 0,0 0 1 0 0,0-1-1 0 0,0 1 0 0 0,1-1 0 0 0,-1 0 0 0 0,0 1 0 0 0,0-1 1 0 0,-2-1-1 0 0,0-2-18 0 0,0 0 0 0 0,-1 0 0 0 0,1 0 0 0 0,0 0 0 0 0,1-1 0 0 0,-1 0 0 0 0,1 1 0 0 0,0-1 0 0 0,0 0 0 0 0,1 0 0 0 0,-1 0 0 0 0,0-8 0 0 0,1 4-34 0 0,0 0 1 0 0,1 0-1 0 0,0 0 1 0 0,1 0-1 0 0,0 0 1 0 0,3-16-1 0 0,1 9-14 0 0,0-1 0 0 0,2 1 0 0 0,-1 0 0 0 0,2 1 0 0 0,0 0 1 0 0,1 0-1 0 0,15-20 0 0 0,-8 15 4 0 0,1 2 0 0 0,0-1 1 0 0,31-22-1 0 0,-40 34 16 0 0,1 0 1 0 0,0 1-1 0 0,1 0 0 0 0,-1 1 0 0 0,1 0 1 0 0,0 1-1 0 0,0 0 0 0 0,1 0 0 0 0,-1 1 1 0 0,16-2-1 0 0,-23 4 13 0 0,0 1 1 0 0,1 0-1 0 0,-1 0 1 0 0,0 0-1 0 0,0 0 1 0 0,0 0-1 0 0,0 1 1 0 0,0-1-1 0 0,0 1 1 0 0,0 0-1 0 0,0 0 1 0 0,0 0-1 0 0,0 0 1 0 0,0 1-1 0 0,0-1 1 0 0,3 3-1 0 0,-4-3 1 0 0,-1 1 0 0 0,1 0-1 0 0,0 0 1 0 0,0 1 0 0 0,-1-1-1 0 0,1 0 1 0 0,-1 1 0 0 0,0-1 0 0 0,0 0-1 0 0,0 1 1 0 0,0-1 0 0 0,0 1 0 0 0,0 0-1 0 0,-1-1 1 0 0,1 4 0 0 0,0 7-7 0 0,-1 1 0 0 0,0 0 1 0 0,-1-1-1 0 0,-1 1 1 0 0,-6 23-1 0 0,6-29 9 0 0,1-2 5 0 0,0 0 1 0 0,0 0-1 0 0,1-1 0 0 0,0 1 0 0 0,0 0 1 0 0,0 0-1 0 0,1 0 0 0 0,-1 0 0 0 0,2 0 1 0 0,-1 0-1 0 0,0-1 0 0 0,5 11 0 0 0,1-3 10 0 0,0 0 0 0 0,1-1 1 0 0,18 22-1 0 0,-20-26 0 0 0,0-2 63 0 0,-1 1 1 0 0,0 0-1 0 0,0 0 1 0 0,-1 0-1 0 0,6 12 1 0 0,-9-17-63 0 0,-1 0 0 0 0,1 0 0 0 0,-1 0 0 0 0,1 0 0 0 0,-1 0 0 0 0,0-1 0 0 0,0 1 0 0 0,0 0 1 0 0,0 0-1 0 0,0 0 0 0 0,0 0 0 0 0,-1 0 0 0 0,1 0 0 0 0,-1 0 0 0 0,1 0 0 0 0,-1 0 0 0 0,0-1 0 0 0,1 1 1 0 0,-1 0-1 0 0,0-1 0 0 0,0 1 0 0 0,0 0 0 0 0,-1-1 0 0 0,1 1 0 0 0,0-1 0 0 0,0 1 0 0 0,-1-1 0 0 0,1 0 1 0 0,-4 2-1 0 0,-5 4 62 0 0,0-1 0 0 0,0-1 1 0 0,-1 0-1 0 0,1 0 1 0 0,-1-1-1 0 0,-1 0 0 0 0,1-1 1 0 0,-14 2-1 0 0,-93 9 292 0 0,86-12-586 0 0,-41-2-1 0 0,61-1-1120 0 0,-1 0 0 0 0,1-1 0 0 0,-17-5 1 0 0,19 1-1815 0 0</inkml:trace>
</inkml:ink>
</file>

<file path=ppt/ink/ink3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8:23.97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3 15 580 0 0,'0'0'464'0'0,"-18"-9"192"0"0,2 4-400 0 0,-2 8-560 0 0,18 8-756 0 0</inkml:trace>
</inkml:ink>
</file>

<file path=ppt/ink/ink3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8:24.33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74 72 36 0 0,'7'-11'2322'0'0,"-6"10"-2266"0"0,0-1-1 0 0,0 1 1 0 0,0-1-1 0 0,-1 1 1 0 0,1-1-1 0 0,-1 0 1 0 0,1 1-1 0 0,-1-1 1 0 0,0 0-1 0 0,1 1 1 0 0,-1-1-1 0 0,0 0 1 0 0,0 0-1 0 0,0 1 0 0 0,-1-1 1 0 0,1 0-1 0 0,0 1 1 0 0,0-1-1 0 0,-1 0 1 0 0,1 1-1 0 0,-1-1 1 0 0,0 0-1 0 0,1 1 1 0 0,-1-1-1 0 0,0 1 1 0 0,0-1-1 0 0,0 1 1 0 0,0 0-1 0 0,0-1 1 0 0,0 1-1 0 0,-1 0 1 0 0,1 0-1 0 0,0 0 1 0 0,-1 0-1 0 0,1 0 1 0 0,0 0-1 0 0,-1 0 1 0 0,1 0-1 0 0,-1 0 1 0 0,0 1-1 0 0,1-1 1 0 0,-1 1-1 0 0,0-1 1 0 0,1 1-1 0 0,-1 0 1 0 0,0-1-1 0 0,1 1 1 0 0,-1 0-1 0 0,-3 0 0 0 0,-2 1-5 0 0,0 1-1 0 0,0-1 1 0 0,0 1-1 0 0,0 0 0 0 0,1 1 1 0 0,-1-1-1 0 0,1 2 0 0 0,0-1 1 0 0,0 0-1 0 0,0 1 0 0 0,0 0 1 0 0,0 1-1 0 0,1-1 0 0 0,0 1 1 0 0,0 0-1 0 0,0 0 1 0 0,1 1-1 0 0,-1-1 0 0 0,1 1 1 0 0,0 0-1 0 0,1 0 0 0 0,0 1 1 0 0,0-1-1 0 0,0 1 0 0 0,1-1 1 0 0,0 1-1 0 0,0 0 0 0 0,0 0 1 0 0,1 0-1 0 0,0 0 1 0 0,1 0-1 0 0,0 0 0 0 0,0 0 1 0 0,0 0-1 0 0,1 0 0 0 0,1 9 1 0 0,0-9 4 0 0,0 0 0 0 0,1-1 0 0 0,-1 1 0 0 0,1-1 0 0 0,1 1 0 0 0,-1-1 0 0 0,1 0 0 0 0,0 0 0 0 0,1 0 0 0 0,7 7 0 0 0,-9-9-69 0 0,0-1 0 0 0,0 1 0 0 0,0 0 1 0 0,-1-1-1 0 0,1 1 0 0 0,-1 0 0 0 0,0 1 0 0 0,0-1 1 0 0,0 0-1 0 0,1 8 0 0 0,-2-9 16 0 0,-1-1-1 0 0,1 1 1 0 0,-1-1-1 0 0,0 1 1 0 0,0-1-1 0 0,0 1 1 0 0,-1-1 0 0 0,1 0-1 0 0,0 1 1 0 0,-1-1-1 0 0,0 1 1 0 0,0-1-1 0 0,1 0 1 0 0,-1 1 0 0 0,0-1-1 0 0,-1 0 1 0 0,1 0-1 0 0,0 0 1 0 0,-4 4-1 0 0,4-4-3 0 0,-2 4 32 0 0,-1 0 17 0 0,2-4-167 0 0,2-1 199 0 0,-1 0 1 0 0,1 0-1 0 0,-1 0 0 0 0,1 0 0 0 0,-1 0 0 0 0,0 0 1 0 0,1-1-1 0 0,-1 1 0 0 0,0 0 0 0 0,0-1 0 0 0,1 1 1 0 0,-1 0-1 0 0,0-1 0 0 0,0 1 0 0 0,0-1 0 0 0,0 1 0 0 0,0-1 1 0 0,0 0-1 0 0,0 1 0 0 0,0-1 0 0 0,0 0 0 0 0,0 0 1 0 0,0 0-1 0 0,0 0 0 0 0,0 1 0 0 0,0-1 0 0 0,-1-1 1 0 0,-1 1 26 0 0,-2-8-59 0 0,-2-2-148 0 0</inkml:trace>
</inkml:ink>
</file>

<file path=ppt/ink/ink3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8:24.86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42 22 140 0 0,'0'0'280'0'0,"1"-11"1099"0"0,-20 1-793 0 0,17 9-402 0 0,-2 1 17 0 0,-10 2 76 0 0,-1 0 0 0 0,1 1 0 0 0,0 0 0 0 0,0 1-1 0 0,0 1 1 0 0,-13 6 0 0 0,18-7-144 0 0,1 1 0 0 0,0-1-1 0 0,0 1 1 0 0,0 1 0 0 0,1-1 0 0 0,0 1-1 0 0,0 1 1 0 0,0-1 0 0 0,1 1-1 0 0,-10 14 1 0 0,14-17-82 0 0,0-1 0 0 0,0 1 0 0 0,0-1 1 0 0,1 1-1 0 0,0 0 0 0 0,-1 0 0 0 0,2 0 0 0 0,-1 0 0 0 0,0-1 0 0 0,1 1 1 0 0,-1 0-1 0 0,1 0 0 0 0,0 0 0 0 0,1 0 0 0 0,-1 0 0 0 0,1 0 1 0 0,0 0-1 0 0,0 0 0 0 0,0 0 0 0 0,0 0 0 0 0,0-1 0 0 0,1 1 0 0 0,0 0 1 0 0,0-1-1 0 0,0 0 0 0 0,0 1 0 0 0,0-1 0 0 0,1 0 0 0 0,0 0 1 0 0,-1 0-1 0 0,1 0 0 0 0,0-1 0 0 0,0 1 0 0 0,1-1 0 0 0,-1 0 1 0 0,0 0-1 0 0,1 0 0 0 0,-1 0 0 0 0,1 0 0 0 0,0-1 0 0 0,-1 0 0 0 0,1 0 1 0 0,6 1-1 0 0,-4-1-12 0 0,0 0-1 0 0,0-1 1 0 0,0 0 0 0 0,0 0 0 0 0,0-1 0 0 0,0 0-1 0 0,0 0 1 0 0,-1 0 0 0 0,12-4 0 0 0,-7 0-11 0 0,0 0 0 0 0,0 0 0 0 0,-1 0 0 0 0,18-15 0 0 0,5 1-267 0 0,-30 18 185 0 0,2 4-56 0 0,-3-3 109 0 0,-1 0-1 0 0,0 0 1 0 0,1 0 0 0 0,-1 0 0 0 0,0 0 0 0 0,1 1 0 0 0,-1-1-1 0 0,0 0 1 0 0,1 0 0 0 0,-1 0 0 0 0,0 0 0 0 0,0 0 0 0 0,1 0 0 0 0,-1 1-1 0 0,0-1 1 0 0,0 0 0 0 0,1 0 0 0 0,-1 0 0 0 0,0 1 0 0 0,0-1-1 0 0,1 0 1 0 0,-1 0 0 0 0,0 1 0 0 0,0-1 0 0 0,0 0 0 0 0,0 1 0 0 0,1-1-1 0 0,-1 0 1 0 0,0 0 0 0 0,0 1 0 0 0,0-1 0 0 0,0 0 0 0 0,0 1-1 0 0,0-1 1 0 0,0 1 0 0 0,6 59 657 0 0,-5 95 0 0 0,-3-119-359 0 0,-3 1 0 0 0,0-1 1 0 0,-3-1-1 0 0,-11 36 0 0 0,16-62-274 0 0,3-5 154 0 0,-1-1 0 0 0,0 1 0 0 0,0-1 0 0 0,-1 1 1 0 0,1-1-1 0 0,-1 1 0 0 0,0-1 0 0 0,1 0 0 0 0,-2 0 0 0 0,1 0 0 0 0,0 0 0 0 0,0 0 0 0 0,-1 0 0 0 0,-5 4 0 0 0,7-7-154 0 0,0 1 0 0 0,0-1-1 0 0,0 0 1 0 0,0 0 0 0 0,0 1-1 0 0,0-1 1 0 0,0 0 0 0 0,0 0-1 0 0,0 0 1 0 0,0 0 0 0 0,0-1-1 0 0,0 1 1 0 0,0 0-1 0 0,0 0 1 0 0,0 0 0 0 0,0-1-1 0 0,0 1 1 0 0,1-1 0 0 0,-1 1-1 0 0,0-1 1 0 0,0 1 0 0 0,0-1-1 0 0,0 1 1 0 0,1-1 0 0 0,-1 0-1 0 0,0 1 1 0 0,0-1 0 0 0,1 0-1 0 0,-1 1 1 0 0,1-1 0 0 0,-2-1-1 0 0,0-1 8 0 0,-1-1 0 0 0,1 1-1 0 0,-1-1 1 0 0,1 0 0 0 0,-3-7 0 0 0,1-5-341 0 0,0 0 1 0 0,0 0 0 0 0,2 0 0 0 0,0 0 0 0 0,1-1-1 0 0,0 1 1 0 0,2-1 0 0 0,3-24 0 0 0,0 10-1635 0 0,3 1 0 0 0,0 0 0 0 0,20-48 1 0 0,-17 53 36 0 0</inkml:trace>
</inkml:ink>
</file>

<file path=ppt/ink/ink3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8:25.46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0 340 0 0,'3'2'1089'0'0,"-1"-1"-899"0"0,0 1-1 0 0,1-1 1 0 0,-1 1 0 0 0,0 0-1 0 0,0-1 1 0 0,0 1-1 0 0,-1 0 1 0 0,1 0-1 0 0,0 1 1 0 0,-1-1-1 0 0,1 0 1 0 0,-1 0-1 0 0,0 1 1 0 0,0-1-1 0 0,0 1 1 0 0,0-1-1 0 0,0 1 1 0 0,0 0-1 0 0,0 4 1 0 0,3 30 516 0 0,-1 0 0 0 0,-2-1 0 0 0,-2 1 0 0 0,-1 0 0 0 0,-10 52 0 0 0,12-86-555 0 0,-1-1 0 0 0,1 1 0 0 0,-1-1 0 0 0,0 0 0 0 0,0 1 0 0 0,0-1 0 0 0,0 0 0 0 0,0 1 0 0 0,-1-1 0 0 0,1 0 0 0 0,-2 2 0 0 0,1-3-5 0 0,2-9 69 0 0,0 6-185 0 0,-1-1 1 0 0,1 1 0 0 0,1-1-1 0 0,-1 1 1 0 0,0 0-1 0 0,0-1 1 0 0,1 1 0 0 0,0 0-1 0 0,-1 0 1 0 0,1-1 0 0 0,2-3-1 0 0,0 0-24 0 0,0 1-1 0 0,1 0 0 0 0,0-1 0 0 0,0 1 0 0 0,0 0 0 0 0,1 1 0 0 0,0-1 1 0 0,-1 1-1 0 0,2 0 0 0 0,-1 0 0 0 0,0 1 0 0 0,1-1 0 0 0,-1 1 0 0 0,1 0 1 0 0,0 1-1 0 0,9-3 0 0 0,-12 4-16 0 0,1 0 0 0 0,0 0 0 0 0,0 0 1 0 0,0 1-1 0 0,0-1 0 0 0,0 1 0 0 0,0 0 1 0 0,0 1-1 0 0,0-1 0 0 0,0 1 0 0 0,0-1 1 0 0,0 1-1 0 0,0 1 0 0 0,0-1 0 0 0,0 0 1 0 0,-1 1-1 0 0,1 0 0 0 0,-1 0 0 0 0,1 0 1 0 0,-1 0-1 0 0,4 3 0 0 0,0 2-3 0 0,0 0 1 0 0,-1 0-1 0 0,0 0 1 0 0,0 1-1 0 0,-1 0 0 0 0,7 12 1 0 0,10 26-1446 0 0,23 65 0 0 0,-43-105 963 0 0,-1-4-255 0 0,19-4-4432 0 0</inkml:trace>
</inkml:ink>
</file>

<file path=ppt/ink/ink3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8:25.80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 24 120 0 0,'-6'-23'3726'0'0,"8"43"-2547"0"0,14 59 293 0 0,-4 0 1 0 0,4 124-1 0 0,-15-188-1094 0 0,-1-13-235 0 0,0 0 1 0 0,0 0-1 0 0,1 1 1 0 0,-1-1-1 0 0,-1 0 1 0 0,1 0-1 0 0,0 0 1 0 0,0 0-1 0 0,-1 0 1 0 0,1 0-1 0 0,-1 0 1 0 0,0 0-1 0 0,0 0 1 0 0,-1 3-1 0 0,1-3 496 0 0,-2-4-411 0 0,2 2-206 0 0,-1-1 0 0 0,1 0 1 0 0,-1 0-1 0 0,1 0 0 0 0,0-1 1 0 0,-1 1-1 0 0,1 0 1 0 0,0 0-1 0 0,0-1 0 0 0,0 1 1 0 0,0-1-1 0 0,0 1 1 0 0,0-1-1 0 0,0 1 0 0 0,1-1 1 0 0,-1 0-1 0 0,0 1 1 0 0,1-1-1 0 0,0 0 0 0 0,-1 1 1 0 0,1-1-1 0 0,0 0 1 0 0,0 0-1 0 0,0 1 0 0 0,0-1 1 0 0,0-3-1 0 0,1-2-25 0 0,0 1 0 0 0,1 0 1 0 0,0 0-1 0 0,0-1 0 0 0,0 1 0 0 0,1 0 0 0 0,-1 1 0 0 0,2-1 0 0 0,-1 0 0 0 0,0 1 0 0 0,1 0 0 0 0,0 0 0 0 0,1 0 0 0 0,-1 0 1 0 0,1 1-1 0 0,-1-1 0 0 0,7-3 0 0 0,-8 6-13 0 0,1-1 1 0 0,0 1-1 0 0,0 0 1 0 0,0 0-1 0 0,0 0 1 0 0,0 0-1 0 0,0 1 1 0 0,0-1-1 0 0,0 1 1 0 0,1 0-1 0 0,-1 1 1 0 0,0-1-1 0 0,1 1 1 0 0,-1 0-1 0 0,0 0 1 0 0,1 0-1 0 0,-1 0 1 0 0,1 1-1 0 0,-1 0 0 0 0,0 0 1 0 0,0 0-1 0 0,1 0 1 0 0,-1 1-1 0 0,0-1 1 0 0,0 1-1 0 0,4 3 1 0 0,-6-4 3 0 0,-1 0 0 0 0,1 0 0 0 0,0 1 1 0 0,-1-1-1 0 0,1 1 0 0 0,0-1 0 0 0,-1 1 0 0 0,0-1 0 0 0,1 1 1 0 0,-1 0-1 0 0,0 0 0 0 0,0-1 0 0 0,0 1 0 0 0,0 0 0 0 0,0 0 1 0 0,-1 0-1 0 0,1 0 0 0 0,-1 0 0 0 0,1 0 0 0 0,-1 1 0 0 0,1 1 1 0 0,-2 0 15 0 0,1 0 1 0 0,0 0 0 0 0,-1 1-1 0 0,0-1 1 0 0,0 0 0 0 0,0 0-1 0 0,0 0 1 0 0,-1-1 0 0 0,1 1-1 0 0,-4 5 1 0 0,0-1-79 0 0,0-1 0 0 0,0 1 0 0 0,0-1 0 0 0,-1 0 0 0 0,0-1 0 0 0,-1 1 0 0 0,1-1 0 0 0,-1-1 0 0 0,-10 8 0 0 0,-13 2-1733 0 0,28-13 1013 0 0,-6-4-2813 0 0,7 2 3517 0 0,1 0 0 0 0,0 0 0 0 0,-1 0 0 0 0,1 0 0 0 0,0-1 0 0 0,-1 1 0 0 0,1 0 0 0 0,0 0 0 0 0,0 0-1 0 0,-1-1 1 0 0,1 1 0 0 0,0 0 0 0 0,0 0 0 0 0,-1-1 0 0 0,1 1 0 0 0,0 0 0 0 0,0-1 0 0 0,3-10-1700 0 0</inkml:trace>
</inkml:ink>
</file>

<file path=ppt/ink/ink3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8:26.16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2 9 68 0 0,'0'0'1143'0'0,"-1"3"-244"0"0,-8 22 721 0 0,7-22-1477 0 0,1 0 0 0 0,-1 0 0 0 0,1 0 0 0 0,0 0 0 0 0,0 0 0 0 0,0 1 0 0 0,0-1 0 0 0,0 1-1 0 0,1-1 1 0 0,-1 0 0 0 0,1 1 0 0 0,0-1 0 0 0,0 1 0 0 0,0-1 0 0 0,1 1 0 0 0,-1-1 0 0 0,1 0 0 0 0,0 1 0 0 0,0-1 0 0 0,0 0 0 0 0,0 0 0 0 0,1 1 0 0 0,3 4 0 0 0,-1-2-43 0 0,1 0 0 0 0,0-1 0 0 0,0 1 0 0 0,1-1 1 0 0,0 0-1 0 0,0-1 0 0 0,0 0 0 0 0,0 0 0 0 0,1 0 1 0 0,-1 0-1 0 0,1-1 0 0 0,0 0 0 0 0,0-1 0 0 0,0 0 0 0 0,1 0 1 0 0,-1 0-1 0 0,0-1 0 0 0,16 1 0 0 0,-21-2-90 0 0,0 0 0 0 0,1 1 1 0 0,-1-2-1 0 0,1 1 0 0 0,-1 0 0 0 0,0 0 0 0 0,1-1 0 0 0,-1 1 0 0 0,0-1 0 0 0,1 0 1 0 0,-1 0-1 0 0,0 0 0 0 0,0 0 0 0 0,1 0 0 0 0,-1 0 0 0 0,0 0 0 0 0,0-1 0 0 0,-1 1 1 0 0,1-1-1 0 0,0 0 0 0 0,0 1 0 0 0,-1-1 0 0 0,1 0 0 0 0,-1 0 0 0 0,1 0 1 0 0,-1 0-1 0 0,0 0 0 0 0,0 0 0 0 0,0-1 0 0 0,0 1 0 0 0,0 0 0 0 0,0-4 0 0 0,0 3-4 0 0,-1-1 0 0 0,0 1 0 0 0,0 0 0 0 0,0 0 0 0 0,-1 0-1 0 0,1 0 1 0 0,-1-1 0 0 0,1 1 0 0 0,-1 0 0 0 0,0 0 0 0 0,0 0 0 0 0,-1 0-1 0 0,1 1 1 0 0,-1-1 0 0 0,1 0 0 0 0,-1 0 0 0 0,0 1 0 0 0,0-1-1 0 0,0 1 1 0 0,0 0 0 0 0,0-1 0 0 0,-5-2 0 0 0,-10-6-209 0 0,1 1 0 0 0,-1 0 0 0 0,-25-9 0 0 0,-21-2-3170 0 0,60 20 2629 0 0,-4-4-1092 0 0,6 4 1472 0 0</inkml:trace>
</inkml:ink>
</file>

<file path=ppt/ink/ink3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8:26.82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76 136 0 0,'5'3'306'0'0,"1"-1"-1"0"0,-1 1 1 0 0,0 0-1 0 0,0 1 1 0 0,0-1 0 0 0,0 1-1 0 0,0 0 1 0 0,-1 0-1 0 0,0 1 1 0 0,0-1-1 0 0,0 1 1 0 0,0 0 0 0 0,-1 0-1 0 0,0 0 1 0 0,0 0-1 0 0,0 1 1 0 0,-1-1 0 0 0,1 1-1 0 0,-1 0 1 0 0,-1 0-1 0 0,1 0 1 0 0,-1 0-1 0 0,1 8 1 0 0,-2-13-258 0 0,0-1 0 0 0,0 1 0 0 0,0-1 0 0 0,0 1 0 0 0,0 0 0 0 0,-1-1 0 0 0,1 1 0 0 0,0-1 0 0 0,0 1 0 0 0,0-1 0 0 0,-1 1 0 0 0,1-1 0 0 0,0 1 0 0 0,-1-1 0 0 0,1 1 0 0 0,0-1 0 0 0,-1 1-1 0 0,1-1 1 0 0,-1 1 0 0 0,1-1 0 0 0,-1 0 0 0 0,1 1 0 0 0,-1-1 0 0 0,1 0 0 0 0,-1 1 0 0 0,1-1 0 0 0,-1 0 0 0 0,1 0 0 0 0,-1 0 0 0 0,1 1 0 0 0,-1-1 0 0 0,1 0 0 0 0,-1 0 0 0 0,0 0 0 0 0,1 0 0 0 0,-1 0 0 0 0,1 0 0 0 0,-1 0 0 0 0,0 0 0 0 0,1 0 0 0 0,-1 0 0 0 0,1 0 0 0 0,-1-1 0 0 0,1 1 0 0 0,-1 0 0 0 0,0 0 0 0 0,1-1 0 0 0,-1 1 0 0 0,1 0 0 0 0,-1 0 0 0 0,1-1-1 0 0,-1 1 1 0 0,1-1 0 0 0,0 1 0 0 0,-1 0 0 0 0,1-1 0 0 0,-1 1 0 0 0,1-2 0 0 0,-3-2-56 0 0,1 0 0 0 0,0 0 0 0 0,0 0 0 0 0,1 0 0 0 0,-1-1-1 0 0,1 1 1 0 0,0-1 0 0 0,0 1 0 0 0,0-1 0 0 0,1 1 0 0 0,0-1-1 0 0,0 1 1 0 0,0-1 0 0 0,0 0 0 0 0,2-8 0 0 0,0 2-813 0 0,1 1-1 0 0,0-1 1 0 0,0 0-1 0 0,1 1 1 0 0,10-18 0 0 0,-6 14 18 0 0,1 0 1 0 0,1 0-1 0 0,18-19 0 0 0,-11 16 1446 0 0,33-26-1 0 0,-50 42-588 0 0,1 1 1 0 0,-1-1-1 0 0,1 1 1 0 0,0-1-1 0 0,-1 1 1 0 0,1-1-1 0 0,0 1 1 0 0,-1-1 0 0 0,1 1-1 0 0,0 0 1 0 0,0-1-1 0 0,0 1 1 0 0,-1 0-1 0 0,1 0 1 0 0,0 0-1 0 0,0 0 1 0 0,0-1-1 0 0,0 1 1 0 0,-1 0 0 0 0,1 0-1 0 0,0 1 1 0 0,0-1-1 0 0,0 0 1 0 0,0 0-1 0 0,-1 0 1 0 0,1 0-1 0 0,0 1 1 0 0,0-1 0 0 0,-1 0-1 0 0,1 1 1 0 0,0-1-1 0 0,0 1 1 0 0,-1-1-1 0 0,1 1 1 0 0,0-1-1 0 0,-1 1 1 0 0,1-1-1 0 0,-1 1 1 0 0,1 0 0 0 0,-1-1-1 0 0,1 1 1 0 0,-1 0-1 0 0,1-1 1 0 0,-1 1-1 0 0,1 0 1 0 0,-1 0-1 0 0,0-1 1 0 0,0 1-1 0 0,1 2 1 0 0,1 2 235 0 0,0 1 1 0 0,-1 0-1 0 0,1 1 1 0 0,0 10-1 0 0,2 13 883 0 0,1 1-1 0 0,19 57 1 0 0,-1-5-207 0 0,-15-63 552 0 0,-8-19-1494 0 0,0-1 1 0 0,0 0-1 0 0,0 0 0 0 0,0 1 1 0 0,0-1-1 0 0,0 0 0 0 0,1 0 1 0 0,-1 1-1 0 0,0-1 0 0 0,0 0 1 0 0,0 0-1 0 0,0 1 0 0 0,1-1 1 0 0,-1 0-1 0 0,0 0 0 0 0,0 0 1 0 0,0 1-1 0 0,1-1 1 0 0,-1 0-1 0 0,0 0 0 0 0,0 0 1 0 0,1 0-1 0 0,-1 0 0 0 0,0 1 1 0 0,0-1-1 0 0,1 0 0 0 0,-1 0 1 0 0,0 0-1 0 0,1 0 0 0 0,-1 0 1 0 0,0 0-1 0 0,0 0 0 0 0,1 0 1 0 0,-1 0-1 0 0,0 0 0 0 0,1 0 1 0 0,-1 0-1 0 0,0 0 1 0 0,0 0-1 0 0,1-1 0 0 0,-1 1 1 0 0,0 0-1 0 0,0 0 0 0 0,1 0 1 0 0,-1 0-1 0 0,0 0 0 0 0,0-1 1 0 0,1 1-1 0 0,-1 0 0 0 0,0 0 1 0 0,0 0-1 0 0,0-1 0 0 0,1 1 1 0 0,-1 0-1 0 0,0 0 1 0 0,0-1-1 0 0,0 1 0 0 0,0 0 1 0 0,0 0-1 0 0,1-1 0 0 0,-1 1 1 0 0,0 0-1 0 0,0 0 0 0 0,0-1 1 0 0,0 1-1 0 0,0 0 0 0 0,0-1 1 0 0,0 1-1 0 0,0 0 0 0 0,9-26 219 0 0,2-4-271 0 0,23-47-1 0 0,-31 69-117 0 0,-3 7 113 0 0,1 0-1 0 0,-1 0 1 0 0,0 0 0 0 0,1 0-1 0 0,-1 0 1 0 0,0 0-1 0 0,1-1 1 0 0,-1 1-1 0 0,1 0 1 0 0,0 0-1 0 0,-1 0 1 0 0,1 1 0 0 0,0-1-1 0 0,0 0 1 0 0,-1 0-1 0 0,1 0 1 0 0,0 0-1 0 0,0 1 1 0 0,0-1-1 0 0,0 0 1 0 0,0 1 0 0 0,0-1-1 0 0,0 1 1 0 0,0-1-1 0 0,0 1 1 0 0,1-1-1 0 0,-1 1 1 0 0,0 0-1 0 0,2-1 1 0 0,3 4 11 0 0,0 0 0 0 0,0 0 1 0 0,0 0-1 0 0,0 0 0 0 0,-1 1 0 0 0,1 0 1 0 0,-1 0-1 0 0,9 10 0 0 0,-5-6 11 0 0,0 0-1 0 0,16 10 0 0 0,-19-14 4 0 0,1-1 0 0 0,-1-1 0 0 0,0 1 0 0 0,1-1 1 0 0,0 0-1 0 0,-1 0 0 0 0,1-1 0 0 0,0 0 0 0 0,0 0 0 0 0,0 0 0 0 0,0-1 0 0 0,13-1 0 0 0,-16 0-28 0 0,0 0 0 0 0,0 0 0 0 0,0 0 0 0 0,0 0 0 0 0,-1 0 0 0 0,1-1 0 0 0,0 1 0 0 0,-1-1 0 0 0,1 0 0 0 0,-1 0 0 0 0,0-1 0 0 0,1 1-1 0 0,-1-1 1 0 0,5-5 0 0 0,-3 3-20 0 0,-1-1-1 0 0,0 1 1 0 0,0-1-1 0 0,-1 0 1 0 0,1 0-1 0 0,4-12 1 0 0,-8 18 49 0 0,1-1 1 0 0,-1 0-1 0 0,1 0 1 0 0,-1 0-1 0 0,0 0 1 0 0,1 0-1 0 0,-1 0 0 0 0,0 1 1 0 0,0-1-1 0 0,0 0 1 0 0,0 0-1 0 0,0 0 1 0 0,0 0-1 0 0,0 0 1 0 0,0 0-1 0 0,0 0 1 0 0,0 0-1 0 0,0 0 1 0 0,0 0-1 0 0,-1 0 0 0 0,1 1 1 0 0,0-1-1 0 0,-1 0 1 0 0,1 0-1 0 0,-1 0 1 0 0,1 0-1 0 0,-1 1 1 0 0,1-1-1 0 0,-1 0 1 0 0,0 0-1 0 0,1 1 0 0 0,-1-1 1 0 0,0 1-1 0 0,1-1 1 0 0,-1 0-1 0 0,0 1 1 0 0,0-1-1 0 0,0 1 1 0 0,-1-1-1 0 0,0 0-3 0 0,0 1 1 0 0,0 0-1 0 0,0-1 1 0 0,-1 1-1 0 0,1 0 1 0 0,0 0-1 0 0,0 0 0 0 0,0 0 1 0 0,-1 0-1 0 0,1 1 1 0 0,0-1-1 0 0,0 1 0 0 0,-4 1 1 0 0,5-1 6 0 0,0 0 0 0 0,0 0 1 0 0,0 0-1 0 0,0 0 0 0 0,0 0 1 0 0,0 0-1 0 0,0 0 0 0 0,0 1 0 0 0,1-1 1 0 0,-1 0-1 0 0,1 0 0 0 0,-1 1 1 0 0,1-1-1 0 0,-1 1 0 0 0,1-1 1 0 0,0 0-1 0 0,0 1 0 0 0,-1-1 0 0 0,1 1 1 0 0,0-1-1 0 0,0 1 0 0 0,1-1 1 0 0,-1 0-1 0 0,0 1 0 0 0,0-1 0 0 0,1 1 1 0 0,-1-1-1 0 0,0 0 0 0 0,1 1 1 0 0,0-1-1 0 0,-1 0 0 0 0,2 2 0 0 0,2 3-6 0 0,0-1 0 0 0,1 1 0 0 0,-1-1 0 0 0,1 0 0 0 0,1 0 0 0 0,-1 0-1 0 0,1-1 1 0 0,0 0 0 0 0,-1 0 0 0 0,2-1 0 0 0,-1 1 0 0 0,7 2 0 0 0,4 1 39 0 0,0-1 0 0 0,1 0 0 0 0,27 4 0 0 0,-39-9-12 0 0,-1 0 0 0 0,1 0 1 0 0,-1-1-1 0 0,1 0 0 0 0,0 0 1 0 0,-1-1-1 0 0,1 1 0 0 0,-1-1 1 0 0,1 0-1 0 0,-1-1 0 0 0,8-2 1 0 0,-12 3-17 0 0,1 1 1 0 0,-1-1-1 0 0,0 0 1 0 0,0 1-1 0 0,0-1 1 0 0,1 0-1 0 0,-1 0 1 0 0,0 0-1 0 0,0 0 1 0 0,0 0-1 0 0,-1 0 1 0 0,1-1-1 0 0,0 1 1 0 0,0 0-1 0 0,-1 0 1 0 0,1-1-1 0 0,0 1 1 0 0,-1 0-1 0 0,0-1 1 0 0,1 1-1 0 0,-1 0 1 0 0,0-1-1 0 0,1 1 1 0 0,-1-1-1 0 0,0 1 1 0 0,0-2-1 0 0,0-2-10 0 0,0 0 0 0 0,-1 1-1 0 0,1-1 1 0 0,-1 1 0 0 0,0-1-1 0 0,-3-5 1 0 0,2 3-74 0 0,-1 1 0 0 0,0 0-1 0 0,0 0 1 0 0,-1 0 0 0 0,0 1-1 0 0,0-1 1 0 0,0 1 0 0 0,-1 0-1 0 0,0 0 1 0 0,0 0 0 0 0,0 1-1 0 0,-10-7 1 0 0,4 5-331 0 0,1 0-1 0 0,-1 1 1 0 0,0 0-1 0 0,0 1 1 0 0,0 0-1 0 0,-15-3 1 0 0,-11 6-1830 0 0,26 2 1632 0 0,-9 4-2222 0 0</inkml:trace>
</inkml:ink>
</file>

<file path=ppt/ink/ink3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8:27.23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2 2 800 0 0,'0'0'935'0'0,"3"0"-241"0"0,-2-1-594 0 0,-1 1 0 0 0,1 0 0 0 0,0 0-1 0 0,0 0 1 0 0,-1 0 0 0 0,1 0 0 0 0,0 0 0 0 0,0 0 0 0 0,0 0 0 0 0,-1 0 0 0 0,1 0 0 0 0,0 0-1 0 0,0 1 1 0 0,-1-1 0 0 0,1 0 0 0 0,0 1 0 0 0,1 0 0 0 0,-2 0 0 0 0,1-1 0 0 0,-1 1 0 0 0,0 0 0 0 0,0 0 1 0 0,0 0-1 0 0,0 0 0 0 0,1 0 0 0 0,-1 0 0 0 0,0 0 0 0 0,-1 0 0 0 0,1 0 0 0 0,0 0 1 0 0,0 0-1 0 0,0 0 0 0 0,0 0 0 0 0,-1 0 0 0 0,0 1 0 0 0,0 3 24 0 0,-1-1 0 0 0,1 1 0 0 0,0 0 0 0 0,1 0 0 0 0,-1 0-1 0 0,1-1 1 0 0,0 1 0 0 0,0 0 0 0 0,0 0 0 0 0,1 0 0 0 0,0-1 0 0 0,0 1-1 0 0,0 0 1 0 0,0-1 0 0 0,1 1 0 0 0,0-1 0 0 0,0 1 0 0 0,0-1 0 0 0,0 0-1 0 0,1 0 1 0 0,3 5 0 0 0,-1-4-40 0 0,0 0 0 0 0,0 0 0 0 0,0-1 0 0 0,1 0 0 0 0,-1 0 0 0 0,1 0 0 0 0,0-1 0 0 0,1 1 0 0 0,-1-1 0 0 0,0-1 0 0 0,1 1 0 0 0,8 1 0 0 0,-12-4-66 0 0,-1 0-1 0 0,1-1 1 0 0,0 1 0 0 0,0 0 0 0 0,-1-1 0 0 0,1 0 0 0 0,0 1 0 0 0,-1-1 0 0 0,1 0 0 0 0,-1 0 0 0 0,1-1 0 0 0,-1 1 0 0 0,1 0 0 0 0,-1-1 0 0 0,0 0 0 0 0,0 1 0 0 0,0-1 0 0 0,0 0 0 0 0,0 0 0 0 0,0 0 0 0 0,0-1 0 0 0,-1 1-1 0 0,1 0 1 0 0,-1 0 0 0 0,1-1 0 0 0,0-2 0 0 0,0 2-14 0 0,-1 0-1 0 0,0 0 0 0 0,0 0 1 0 0,0 0-1 0 0,-1 0 1 0 0,1 0-1 0 0,-1-1 0 0 0,1 1 1 0 0,-1 0-1 0 0,0 0 1 0 0,0 0-1 0 0,-1-1 1 0 0,1 1-1 0 0,-1 0 0 0 0,1 0 1 0 0,-1 0-1 0 0,0 0 1 0 0,0 0-1 0 0,0 0 0 0 0,-1 0 1 0 0,1 0-1 0 0,-1 0 1 0 0,1 1-1 0 0,-1-1 0 0 0,0 1 1 0 0,0-1-1 0 0,0 1 1 0 0,-1-1-1 0 0,1 1 0 0 0,0 0 1 0 0,-1 0-1 0 0,1 0 1 0 0,-1 1-1 0 0,0-1 0 0 0,-4-1 1 0 0,-2-2-44 0 0,-1 1 1 0 0,1 0 0 0 0,-1 1-1 0 0,0 0 1 0 0,0 1 0 0 0,0 0 0 0 0,0 0-1 0 0,0 1 1 0 0,-21 0 0 0 0,23 2-252 0 0,0 0 0 0 0,0 0 1 0 0,0 1-1 0 0,0 0 1 0 0,0 0-1 0 0,0 0 1 0 0,1 1-1 0 0,-1 1 0 0 0,1-1 1 0 0,-10 7-1 0 0,16-9 79 0 0,0 1-1 0 0,0-1 0 0 0,0 0 0 0 0,0 0 0 0 0,0 1 1 0 0,1-1-1 0 0,-1 0 0 0 0,0 1 0 0 0,1-1 1 0 0,-1 1-1 0 0,1-1 0 0 0,-1 0 0 0 0,1 1 0 0 0,0 0 1 0 0,-1 1-1 0 0,1-3 131 0 0</inkml:trace>
</inkml:ink>
</file>

<file path=ppt/ink/ink3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8:27.61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6 1 284 0 0,'4'0'757'0'0,"0"0"-573"0"0,-1 0-1 0 0,1 0 1 0 0,-1 1 0 0 0,1-1-1 0 0,-1 1 1 0 0,1 0-1 0 0,-1 0 1 0 0,0 0-1 0 0,1 0 1 0 0,-1 0-1 0 0,0 1 1 0 0,0-1-1 0 0,0 1 1 0 0,6 4-1 0 0,-6-3-54 0 0,0 1 1 0 0,0-1-1 0 0,-1 1 0 0 0,1-1 0 0 0,-1 1 0 0 0,0 0 0 0 0,0 0 0 0 0,0 0 0 0 0,0 0 0 0 0,-1 1 0 0 0,1-1 0 0 0,0 6 1 0 0,1 2 102 0 0,-1 0 1 0 0,-1 0 0 0 0,0 0-1 0 0,0 1 1 0 0,-2-1 0 0 0,1 0 0 0 0,-1 0-1 0 0,-1 0 1 0 0,-6 23 0 0 0,6-29-141 0 0,0 0 0 0 0,0 1-1 0 0,-1-1 1 0 0,0 0 0 0 0,0 0 0 0 0,0-1 0 0 0,-1 1 0 0 0,0-1-1 0 0,0 0 1 0 0,-1 0 0 0 0,1 0 0 0 0,-1 0 0 0 0,0-1 0 0 0,0 0 0 0 0,-1 0-1 0 0,1 0 1 0 0,-1 0 0 0 0,0-1 0 0 0,-6 3 0 0 0,10-6-63 0 0,1 1 0 0 0,-1-1 0 0 0,0 1 0 0 0,0-1 0 0 0,1 0 0 0 0,-1 1 0 0 0,0-1 1 0 0,0 0-1 0 0,0 0 0 0 0,0 0 0 0 0,1-1 0 0 0,-1 1 0 0 0,0 0 0 0 0,0-1 0 0 0,1 1 0 0 0,-1-1 0 0 0,0 1 0 0 0,0-1 0 0 0,1 0 1 0 0,-3-1-1 0 0,0-1 6 0 0,1 0 0 0 0,-1 0 0 0 0,1 0 1 0 0,0 0-1 0 0,0 0 0 0 0,1-1 0 0 0,-4-4 1 0 0,5 7-35 0 0,0-1 1 0 0,1 1 0 0 0,-1-1-1 0 0,1 1 1 0 0,0-1-1 0 0,-1 1 1 0 0,1-1 0 0 0,0 1-1 0 0,0-1 1 0 0,0 1 0 0 0,0-1-1 0 0,0 1 1 0 0,0-1 0 0 0,0 1-1 0 0,0-1 1 0 0,1 1 0 0 0,-1-1-1 0 0,1 1 1 0 0,-1 0-1 0 0,1-1 1 0 0,-1 1 0 0 0,1-1-1 0 0,0 1 1 0 0,0 0 0 0 0,0 0-1 0 0,0-1 1 0 0,1-1 0 0 0,1 0-5 0 0,-1 1 1 0 0,1-1 0 0 0,0 0 0 0 0,0 1 0 0 0,0-1 0 0 0,0 1 0 0 0,0 0 0 0 0,0 0-1 0 0,4-2 1 0 0,-1 3-4 0 0,0 0 0 0 0,0 0-1 0 0,0 1 1 0 0,-1-1 0 0 0,1 1-1 0 0,0 0 1 0 0,0 1 0 0 0,0 0-1 0 0,0 0 1 0 0,0 0 0 0 0,0 0-1 0 0,-1 1 1 0 0,11 4 0 0 0,-8-2-171 0 0,0 0 1 0 0,0 1 0 0 0,0 0-1 0 0,-1 1 1 0 0,1-1 0 0 0,-1 1-1 0 0,12 14 1 0 0,-14-14-644 0 0,1 2 1 0 0,-1-1-1 0 0,0 0 1 0 0,6 16-1 0 0,-2-1-1733 0 0</inkml:trace>
</inkml:ink>
</file>

<file path=ppt/ink/ink3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8:28.15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94 1 912 0 0,'-13'3'430'0'0,"0"0"1"0"0,0 1-1 0 0,0 1 1 0 0,1 0-1 0 0,0 1 0 0 0,0 0 1 0 0,1 1-1 0 0,-1 1 0 0 0,-15 12 1 0 0,22-15-292 0 0,0 0 1 0 0,0 0-1 0 0,1 0 0 0 0,0 0 1 0 0,0 1-1 0 0,0-1 1 0 0,0 1-1 0 0,1 0 0 0 0,0 0 1 0 0,0 1-1 0 0,1-1 1 0 0,0 1-1 0 0,0-1 1 0 0,0 1-1 0 0,1 0 0 0 0,0-1 1 0 0,0 1-1 0 0,1 0 1 0 0,0 0-1 0 0,1 10 0 0 0,1-9-38 0 0,0 0 0 0 0,0 0-1 0 0,1 0 1 0 0,0 0-1 0 0,1 0 1 0 0,0-1 0 0 0,0 1-1 0 0,0-1 1 0 0,1 0-1 0 0,0-1 1 0 0,0 1-1 0 0,1-1 1 0 0,0 0 0 0 0,0 0-1 0 0,1-1 1 0 0,-1 1-1 0 0,1-2 1 0 0,0 1 0 0 0,1-1-1 0 0,-1 0 1 0 0,13 5-1 0 0,-17-8-80 0 0,-1-1-1 0 0,0 1 1 0 0,0 0-1 0 0,0-1 1 0 0,1 0-1 0 0,-1 0 0 0 0,0 0 1 0 0,1 0-1 0 0,-1 0 1 0 0,0 0-1 0 0,0 0 1 0 0,1-1-1 0 0,-1 1 1 0 0,0-1-1 0 0,0 0 0 0 0,0 1 1 0 0,0-1-1 0 0,0 0 1 0 0,0 0-1 0 0,0-1 1 0 0,0 1-1 0 0,0 0 1 0 0,0-1-1 0 0,0 1 0 0 0,-1-1 1 0 0,1 1-1 0 0,-1-1 1 0 0,1 0-1 0 0,-1 1 1 0 0,0-1-1 0 0,1 0 1 0 0,-1 0-1 0 0,0 0 0 0 0,0 0 1 0 0,1-4-1 0 0,0 0-5 0 0,-1 0-1 0 0,1-1 0 0 0,-1 1 0 0 0,0-1 1 0 0,-1 1-1 0 0,1-1 0 0 0,-1 1 1 0 0,-1-1-1 0 0,1 0 0 0 0,-3-11 0 0 0,-1 6-361 0 0,0 1 0 0 0,-1-1 0 0 0,0 1 0 0 0,0-1 0 0 0,-2 1-1 0 0,1 1 1 0 0,-9-11 0 0 0,-10-17-3985 0 0,19 27 2653 0 0</inkml:trace>
</inkml:ink>
</file>

<file path=ppt/ink/ink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2:42.36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64 48 712 0 0,'-4'-5'361'0'0,"0"1"0"0"0,-1 0 0 0 0,1 0-1 0 0,-1 0 1 0 0,0 1 0 0 0,0 0 0 0 0,-1 0 0 0 0,1 0 0 0 0,0 0 0 0 0,-1 1-1 0 0,0 0 1 0 0,0 0 0 0 0,-11-2 0 0 0,8 3-108 0 0,0 0 1 0 0,0 1-1 0 0,0 0 1 0 0,-1 1-1 0 0,1 0 0 0 0,0 0 1 0 0,0 1-1 0 0,-14 4 1 0 0,10-2-78 0 0,0 1 1 0 0,0 1-1 0 0,1 0 1 0 0,0 0-1 0 0,0 2 1 0 0,1-1-1 0 0,0 1 1 0 0,0 1-1 0 0,1 0 1 0 0,0 0 0 0 0,0 1-1 0 0,-11 15 1 0 0,18-20-111 0 0,0 1 0 0 0,0 0 0 0 0,0-1 0 0 0,0 1 0 0 0,1 0 0 0 0,0 0 0 0 0,0 1 0 0 0,1-1 0 0 0,0 0 0 0 0,0 0 0 0 0,0 1 0 0 0,1-1 0 0 0,0 1 0 0 0,0-1 0 0 0,0 0 0 0 0,1 1 0 0 0,0-1 0 0 0,1 0 0 0 0,-1 1 0 0 0,1-1 0 0 0,0 0 1 0 0,5 9-1 0 0,-4-8-36 0 0,1-1 0 0 0,0 1 0 0 0,0-1 1 0 0,1 0-1 0 0,0 0 0 0 0,0 0 0 0 0,0-1 0 0 0,1 1 1 0 0,-1-1-1 0 0,1-1 0 0 0,0 1 0 0 0,1-1 1 0 0,-1 0-1 0 0,1-1 0 0 0,0 1 0 0 0,0-1 1 0 0,0-1-1 0 0,13 4 0 0 0,-16-5-20 0 0,1 0-1 0 0,-1-1 1 0 0,1 1-1 0 0,-1-1 1 0 0,1 0-1 0 0,-1-1 1 0 0,1 1-1 0 0,-1-1 0 0 0,1 0 1 0 0,-1 0-1 0 0,1 0 1 0 0,-1-1-1 0 0,0 1 1 0 0,0-1-1 0 0,1 0 1 0 0,-1 0-1 0 0,4-3 1 0 0,-2 0-41 0 0,-1 0 0 0 0,1 0 1 0 0,-1 0-1 0 0,0 0 0 0 0,0-1 0 0 0,-1 0 1 0 0,0 0-1 0 0,0 0 0 0 0,6-13 0 0 0,-2 5-15 0 0,-6 11 0 0 0,0-1 1 0 0,0 1-1 0 0,0-1 0 0 0,-1 0 0 0 0,1 0 1 0 0,-1 1-1 0 0,0-1 0 0 0,1-7 0 0 0,-6 13-9 0 0,3-2 53 0 0,1 0 0 0 0,0 0-1 0 0,-1 0 1 0 0,1 0 0 0 0,-1 0 0 0 0,1 0 0 0 0,-1 0 0 0 0,1 1 0 0 0,0-1-1 0 0,-1 0 1 0 0,1 0 0 0 0,-1 0 0 0 0,1 1 0 0 0,0-1 0 0 0,-1 0 0 0 0,1 1-1 0 0,0-1 1 0 0,-1 0 0 0 0,1 1 0 0 0,0-1 0 0 0,-1 1 0 0 0,0 2 33 0 0,0 1 0 0 0,0-1 0 0 0,0 0 0 0 0,1 1 0 0 0,-1-1 0 0 0,1 1 1 0 0,0-1-1 0 0,0 1 0 0 0,0-1 0 0 0,0 1 0 0 0,1-1 0 0 0,-1 0 0 0 0,1 1 0 0 0,0-1 0 0 0,0 0 1 0 0,0 1-1 0 0,1-1 0 0 0,-1 0 0 0 0,1 0 0 0 0,-1 0 0 0 0,1 0 0 0 0,4 4 0 0 0,-2 0 43 0 0,2-1-1 0 0,-1 0 1 0 0,1 0-1 0 0,-1-1 1 0 0,2 1 0 0 0,-1-1-1 0 0,0-1 1 0 0,13 8-1 0 0,-16-11-58 0 0,0 0-1 0 0,-1 0 0 0 0,1 0 1 0 0,0 0-1 0 0,0-1 1 0 0,0 1-1 0 0,0-1 1 0 0,0 0-1 0 0,0 0 0 0 0,0 0 1 0 0,0 0-1 0 0,0 0 1 0 0,0-1-1 0 0,0 1 0 0 0,0-1 1 0 0,0 0-1 0 0,0 0 1 0 0,0 0-1 0 0,-1 0 0 0 0,1 0 1 0 0,0-1-1 0 0,-1 1 1 0 0,1-1-1 0 0,2-2 1 0 0,1-1-5 0 0,0 0 1 0 0,-1 0-1 0 0,0 0 1 0 0,0-1 0 0 0,0 0-1 0 0,-1 0 1 0 0,0 0 0 0 0,5-9-1 0 0,18-36-84 0 0,36-53-1 0 0,-62 104 71 0 0,-1-1 0 0 0,0 1 0 0 0,1-1 1 0 0,-1 0-1 0 0,1 1 0 0 0,-1-1 0 0 0,1 1 0 0 0,-1-1 0 0 0,1 1 0 0 0,-1 0 1 0 0,1-1-1 0 0,-1 1 0 0 0,1-1 0 0 0,0 1 0 0 0,-1 0 0 0 0,1 0 0 0 0,0-1 1 0 0,-1 1-1 0 0,1 0 0 0 0,0 0 0 0 0,-1 0 0 0 0,1 0 0 0 0,0 0 1 0 0,-1 0-1 0 0,1 0 0 0 0,0 0 0 0 0,-1 0 0 0 0,1 0 0 0 0,0 0 0 0 0,-1 0 1 0 0,1 0-1 0 0,0 0 0 0 0,-1 1 0 0 0,1-1 0 0 0,0 0 0 0 0,-1 1 1 0 0,1-1-1 0 0,-1 0 0 0 0,1 1 0 0 0,0-1 0 0 0,-1 1 0 0 0,1-1 0 0 0,-1 1 1 0 0,1-1-1 0 0,-1 1 0 0 0,0-1 0 0 0,1 1 0 0 0,-1-1 0 0 0,1 1 0 0 0,-1 0 1 0 0,6 7-5 0 0,-1 0 0 0 0,-1 0 0 0 0,6 11 1 0 0,-1-1-13 0 0,-2-7 111 0 0,1 1 1 0 0,0-1 0 0 0,1-1 0 0 0,0 0 0 0 0,1 0 0 0 0,16 12-1 0 0,-19-17-52 0 0,0 0-1 0 0,0-1 0 0 0,1 0 0 0 0,-1 0 1 0 0,1-1-1 0 0,0 0 0 0 0,0 0 0 0 0,1-1 0 0 0,-1 0 1 0 0,0 0-1 0 0,16 0 0 0 0,-15-2-23 0 0,1 0 1 0 0,0 0 0 0 0,0-2-1 0 0,-1 1 1 0 0,1-1-1 0 0,-1 0 1 0 0,1-1-1 0 0,-1 0 1 0 0,0-1-1 0 0,0 0 1 0 0,0 0-1 0 0,-1-1 1 0 0,1 0-1 0 0,-1 0 1 0 0,-1-1-1 0 0,1 0 1 0 0,8-9-1 0 0,-7 6-11 0 0,-1 0 0 0 0,0-1 0 0 0,-1 0 0 0 0,0-1-1 0 0,0 0 1 0 0,-1 0 0 0 0,0 0 0 0 0,-1 0 0 0 0,-1-1 0 0 0,0 0 0 0 0,0 0-1 0 0,3-25 1 0 0,-6 33-15 0 0,-1 1 0 0 0,0-1-1 0 0,0 0 1 0 0,0 1 0 0 0,0-1-1 0 0,0 0 1 0 0,-2-4 0 0 0,2 7 6 0 0,-1 0 1 0 0,1 0 0 0 0,0 0 0 0 0,-1 0-1 0 0,1 0 1 0 0,-1 0 0 0 0,0 0 0 0 0,1 0 0 0 0,-1 0-1 0 0,0 1 1 0 0,1-1 0 0 0,-1 0 0 0 0,0 0 0 0 0,0 1-1 0 0,0-1 1 0 0,0 0 0 0 0,0 1 0 0 0,0-1 0 0 0,0 1-1 0 0,0-1 1 0 0,0 1 0 0 0,0-1 0 0 0,0 1-1 0 0,0 0 1 0 0,0 0 0 0 0,0-1 0 0 0,0 1 0 0 0,0 0-1 0 0,0 0 1 0 0,-2 0 0 0 0,-2 0-5 0 0,1 1 0 0 0,-1-1 0 0 0,0 1 0 0 0,1 0 0 0 0,-1 0 0 0 0,1 1 0 0 0,-1-1 0 0 0,1 1 0 0 0,0 0 0 0 0,0 0 1 0 0,0 0-1 0 0,0 1 0 0 0,0 0 0 0 0,-6 4 0 0 0,8-5 5 0 0,0 1 0 0 0,0-1 0 0 0,0 0 0 0 0,0 1 0 0 0,0-1 0 0 0,1 1 0 0 0,-1-1 0 0 0,1 1 1 0 0,0 0-1 0 0,0-1 0 0 0,0 1 0 0 0,0 0 0 0 0,0 0 0 0 0,0 0 0 0 0,1 0 0 0 0,0 0 0 0 0,-1 0 0 0 0,1 0 0 0 0,0 0 0 0 0,0 0 1 0 0,1 0-1 0 0,-1 0 0 0 0,1 0 0 0 0,-1 0 0 0 0,3 5 0 0 0,1 1 26 0 0,1 1 0 0 0,0-1 1 0 0,0 0-1 0 0,1 0 0 0 0,1-1 0 0 0,-1 0 1 0 0,1 0-1 0 0,0 0 0 0 0,12 9 0 0 0,8 5-1695 0 0,44 27 0 0 0,-62-43 198 0 0,0-1-1 0 0,1 0 0 0 0,16 5 0 0 0,-12-6-1239 0 0</inkml:trace>
</inkml:ink>
</file>

<file path=ppt/ink/ink3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8:28.55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233 488 0 0,'8'10'738'0'0,"-1"-1"1"0"0,0 1-1 0 0,0 0 0 0 0,-1 0 0 0 0,0 1 1 0 0,-1 0-1 0 0,7 21 0 0 0,-2 2 515 0 0,7 46 0 0 0,-3-9 1299 0 0,-14-71-2509 0 0,0 0-1 0 0,0 1 0 0 0,0-1 0 0 0,0 0 0 0 0,0 0 0 0 0,0 1 1 0 0,0-1-1 0 0,0 0 0 0 0,0 1 0 0 0,0-1 0 0 0,0 0 0 0 0,0 1 1 0 0,0-1-1 0 0,0 0 0 0 0,0 1 0 0 0,0-1 0 0 0,0 0 0 0 0,-1 1 1 0 0,1-1-1 0 0,0 0 0 0 0,0 0 0 0 0,0 1 0 0 0,0-1 0 0 0,-1 0 1 0 0,1 0-1 0 0,0 0 0 0 0,0 1 0 0 0,-1-1 0 0 0,1 0 0 0 0,0 0 1 0 0,-1 0-1 0 0,1 1 0 0 0,0-1 0 0 0,0 0 0 0 0,-1 0 0 0 0,1 0 1 0 0,0 0-1 0 0,-1 0 0 0 0,1 0 0 0 0,-1 0 0 0 0,0 0-7 0 0,0 0 0 0 0,0 0 0 0 0,1 0 0 0 0,-1 0 0 0 0,0 0 0 0 0,0 0 0 0 0,0 0 0 0 0,0 0 0 0 0,0 0 0 0 0,0-1 0 0 0,1 1 0 0 0,-1 0 0 0 0,0-1 0 0 0,0 1 0 0 0,-1-1 0 0 0,-2-3 18 0 0,0 1-1 0 0,1-1 1 0 0,-1 0-1 0 0,1 0 1 0 0,0 0 0 0 0,-1 0-1 0 0,2-1 1 0 0,-1 1-1 0 0,1-1 1 0 0,-1 0-1 0 0,-2-7 1 0 0,3 2-8 0 0,-1 0 1 0 0,1 0-1 0 0,1 0 1 0 0,-1 0-1 0 0,2-17 0 0 0,1 2-44 0 0,1-1 0 0 0,2 1 0 0 0,1 0-1 0 0,7-26 1 0 0,-6 33-15 0 0,0 0 0 0 0,1 0 0 0 0,1 1 0 0 0,0 0 0 0 0,1 0 0 0 0,19-24-1 0 0,-22 33-87 0 0,1-1-1 0 0,0 2 0 0 0,1-1 0 0 0,0 1 0 0 0,0 0 0 0 0,0 1 0 0 0,1 0 0 0 0,0 0 1 0 0,0 1-1 0 0,0 0 0 0 0,1 0 0 0 0,0 1 0 0 0,12-3 0 0 0,-18 6-74 0 0,0 0-1 0 0,0 0 1 0 0,-1 1-1 0 0,1 0 1 0 0,0-1 0 0 0,0 1-1 0 0,0 1 1 0 0,0-1-1 0 0,-1 1 1 0 0,1-1-1 0 0,0 1 1 0 0,0 0-1 0 0,-1 0 1 0 0,1 1 0 0 0,-1-1-1 0 0,1 1 1 0 0,-1 0-1 0 0,0 0 1 0 0,6 4-1 0 0,-6-4-272 0 0,-1 0 0 0 0,0 0 0 0 0,0 0 0 0 0,0 1 0 0 0,-1-1 0 0 0,1 1 0 0 0,0-1 0 0 0,-1 1 0 0 0,2 3 0 0 0,1 4-2206 0 0</inkml:trace>
</inkml:ink>
</file>

<file path=ppt/ink/ink3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8:28.91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7 30 772 0 0,'-14'4'2648'0'0,"1"1"0"0"0,-26 13 990 0 0,51-13-3448 0 0,1-1 1 0 0,0-1 0 0 0,0 0 0 0 0,0-1-1 0 0,1 0 1 0 0,19 0 0 0 0,4 1-448 0 0,140 21-6435 0 0,-158-22 5004 0 0</inkml:trace>
  <inkml:trace contextRef="#ctx0" brushRef="#br0" timeOffset="1">683 39 60 0 0,'19'-38'7905'0'0,"-21"39"-7843"0"0,1-1 0 0 0,-1 1 0 0 0,1 1 0 0 0,0-1 0 0 0,-1 0 0 0 0,1 0 0 0 0,0 0 0 0 0,0 1 0 0 0,-1-1 0 0 0,1 1 0 0 0,0-1 0 0 0,0 1 0 0 0,1-1 0 0 0,-1 1 0 0 0,0-1 0 0 0,0 3 0 0 0,-1 2 58 0 0,0 0 1 0 0,1 0-1 0 0,0 0 1 0 0,-1 10-1 0 0,2 7 209 0 0,4 37-1 0 0,-3-57-300 0 0,2 23-39 0 0,1 0 1 0 0,1 0 0 0 0,1 0 0 0 0,13 31 0 0 0,-19-56-81 0 0,0-1 0 0 0,1 1 1 0 0,-1 0-1 0 0,1-1 0 0 0,-1 1 0 0 0,1-1 0 0 0,-1 1 1 0 0,1-1-1 0 0,-1 1 0 0 0,1-1 0 0 0,-1 1 1 0 0,1-1-1 0 0,0 0 0 0 0,-1 1 0 0 0,1-1 0 0 0,0 0 1 0 0,-1 1-1 0 0,1-1 0 0 0,0 0 0 0 0,-1 0 1 0 0,1 0-1 0 0,0 0 0 0 0,0 0 0 0 0,-1 0 0 0 0,1 0 1 0 0,0 0-1 0 0,0 0 0 0 0,-1 0 0 0 0,1 0 1 0 0,0 0-1 0 0,-1 0 0 0 0,1 0 0 0 0,1-1 0 0 0,-1 1-129 0 0,1-1 0 0 0,-1 1-1 0 0,1-1 1 0 0,-1 0 0 0 0,1 1-1 0 0,-1-1 1 0 0,0 0 0 0 0,1 0-1 0 0,-1 0 1 0 0,0 0 0 0 0,0 0-1 0 0,0 0 1 0 0,2-2 0 0 0,2-9-1460 0 0</inkml:trace>
</inkml:ink>
</file>

<file path=ppt/ink/ink3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8:29.28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13 129 488 0 0,'-5'-12'719'0'0,"1"1"0"0"0,-2 0 1 0 0,0 0-1 0 0,0 1 0 0 0,-1 0 0 0 0,0 0 0 0 0,0 0 0 0 0,-14-12 1 0 0,17 19-736 0 0,-1 0 1 0 0,1 0 0 0 0,-1 1-1 0 0,0-1 1 0 0,0 1 0 0 0,-8-3-1 0 0,11 5-473 0 0</inkml:trace>
  <inkml:trace contextRef="#ctx0" brushRef="#br0" timeOffset="1">337 4 1000 0 0,'11'8'2754'0'0,"3"11"-1703"0"0,-1 0-1 0 0,-1 0 1 0 0,12 27 0 0 0,-12-18-808 0 0,-1 0 0 0 0,-1 1 0 0 0,-1 0 0 0 0,5 34 0 0 0,-11-38-252 0 0,0 0 1 0 0,-2 0-1 0 0,-2 26 1 0 0,-1-26-2378 0 0,-7 33 0 0 0,6-43 424 0 0</inkml:trace>
</inkml:ink>
</file>

<file path=ppt/ink/ink3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8:38.57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3 128 772 0 0,'0'0'901'0'0,"-3"0"-195"0"0,-7-2 934 0 0,18 3-1035 0 0,24 3-551 0 0,-25-4 129 0 0,67 5 297 0 0,0-3 1 0 0,0-3-1 0 0,91-13 0 0 0,-150 11-209 0 0,0-1-1 0 0,-1-1 1 0 0,27-11 0 0 0,-39 15-199 0 0,0-1-71 0 0,0 1 1 0 0,1-1-1 0 0,-1 1 0 0 0,1 0 1 0 0,0 0-1 0 0,-1 0 1 0 0,4-1-1 0 0,21 8 71 0 0,-25-5-36 0 0,1-1-11 0 0,2 1 26 0 0,1-1 0 0 0,0 0-1 0 0,-1-1 1 0 0,1 1-1 0 0,0-1 1 0 0,-1 0 0 0 0,10-4-1 0 0,-13 5-35 0 0,1-1 1 0 0,0 0-1 0 0,-1-1 0 0 0,1 1 1 0 0,-1-1-1 0 0,1 1 0 0 0,-1-1 1 0 0,0 1-1 0 0,1-1 0 0 0,-1 0 1 0 0,0 0-1 0 0,0 0 0 0 0,0-1 1 0 0,-1 1-1 0 0,1 0 0 0 0,0-1 1 0 0,-1 1-1 0 0,0-1 0 0 0,2-3 1 0 0,-3 4-19 0 0,0 1 0 0 0,1 0 0 0 0,-1-1 0 0 0,0 1 0 0 0,0 0 0 0 0,0-1 0 0 0,0 1 0 0 0,-1 0 0 0 0,1-1 0 0 0,0 1 0 0 0,-1 0 0 0 0,1 0 0 0 0,-1-1 0 0 0,1 1 0 0 0,-1 0 0 0 0,1 0 0 0 0,-1 0 0 0 0,0 0 0 0 0,0-1 0 0 0,1 1 0 0 0,-1 0 0 0 0,0 0 0 0 0,0 1 0 0 0,0-1 0 0 0,0 0 1 0 0,-2-1-1 0 0,0 0-5 0 0,0 1 1 0 0,-1-1-1 0 0,1 1 1 0 0,-1 0-1 0 0,0 0 1 0 0,1 0-1 0 0,-1 1 1 0 0,0-1 0 0 0,-5 1-1 0 0,-8 0 5 0 0,1 1-1 0 0,0 1 1 0 0,-26 6-1 0 0,33-5 46 0 0,0-1 0 0 0,0 2 0 0 0,0-1-1 0 0,0 1 1 0 0,1 0 0 0 0,-1 1 0 0 0,1 0 0 0 0,0 1-1 0 0,1-1 1 0 0,-1 1 0 0 0,-8 10 0 0 0,13-13 3 0 0,1 0 0 0 0,-1 0 0 0 0,1 0 1 0 0,0 0-1 0 0,0 0 0 0 0,0 1 0 0 0,1-1 0 0 0,-1 1 0 0 0,1-1 1 0 0,0 1-1 0 0,0-1 0 0 0,0 1 0 0 0,0 0 0 0 0,0 0 0 0 0,1-1 1 0 0,0 1-1 0 0,0 0 0 0 0,0 0 0 0 0,0 0 0 0 0,1-1 1 0 0,-1 1-1 0 0,1 0 0 0 0,0-1 0 0 0,0 1 0 0 0,0 0 0 0 0,1-1 1 0 0,-1 1-1 0 0,1-1 0 0 0,0 0 0 0 0,4 6 0 0 0,0-2 10 0 0,0 0-1 0 0,0 0 0 0 0,0-1 0 0 0,1 0 0 0 0,0 0 1 0 0,0-1-1 0 0,1 0 0 0 0,-1 0 0 0 0,1-1 0 0 0,0 0 1 0 0,1-1-1 0 0,14 6 0 0 0,-4-4-21 0 0,-1 0 0 0 0,0-2 0 0 0,1 0 1 0 0,0-1-1 0 0,19 0 0 0 0,-20-2-20 0 0,-1-2 0 0 0,0 0 0 0 0,0 0 0 0 0,0-2 0 0 0,0 0 0 0 0,0-1 0 0 0,-1-1 1 0 0,0 0-1 0 0,0-1 0 0 0,0-1 0 0 0,-1-1 0 0 0,0 0 0 0 0,-1 0 0 0 0,0-2 0 0 0,-1 0 1 0 0,0 0-1 0 0,21-24 0 0 0,-21 17-79 0 0,16-28 1 0 0,-14 20-143 0 0,-13 24 161 0 0,2-1-65 0 0,0 1 25 0 0,0 11 46 0 0,15 89-100 0 0,-12-51 26 0 0,3 20 1462 0 0,-9-70-1244 0 0,10-25 77 0 0,-9 19-157 0 0,1 0 0 0 0,1 0 0 0 0,0 0 0 0 0,0 1 0 0 0,1-1 0 0 0,0 1 0 0 0,0 0 0 0 0,13-13-1 0 0,-10 13-34 0 0,0 1 0 0 0,0 1 0 0 0,1 0-1 0 0,0 0 1 0 0,1 0 0 0 0,-1 1 0 0 0,17-6-1 0 0,-22 10 7 0 0,-1 0-1 0 0,0 1 0 0 0,1-1 0 0 0,-1 1 0 0 0,1-1 0 0 0,-1 1 0 0 0,1 0 0 0 0,-1 0 0 0 0,1 1 0 0 0,-1-1 0 0 0,1 1 0 0 0,-1 0 0 0 0,1 0 0 0 0,-1 0 0 0 0,0 0 0 0 0,0 0 0 0 0,0 1 0 0 0,1-1 0 0 0,3 4 0 0 0,-3-2-2 0 0,0 0-1 0 0,0 0 0 0 0,0 0 0 0 0,0 1 0 0 0,0 0 1 0 0,-1-1-1 0 0,1 1 0 0 0,-1 1 0 0 0,0-1 0 0 0,0 0 1 0 0,3 9-1 0 0,-3-5 142 0 0,-1 0 0 0 0,0 0 1 0 0,0 0-1 0 0,-1 0 1 0 0,0 1-1 0 0,-1-1 0 0 0,0 0 1 0 0,0 1-1 0 0,-1-1 0 0 0,0 0 1 0 0,-3 13-1 0 0,4-20-50 0 0,0 0 0 0 0,-1-1 1 0 0,1 1-1 0 0,0 0 0 0 0,-1 0 0 0 0,1 0 1 0 0,-1 0-1 0 0,0-1 0 0 0,1 1 0 0 0,-1 0 1 0 0,0-1-1 0 0,1 1 0 0 0,-1 0 0 0 0,0-1 0 0 0,0 1 1 0 0,1-1-1 0 0,-1 1 0 0 0,0-1 0 0 0,0 1 1 0 0,-2-1-1 0 0,3 1-64 0 0,0-1 0 0 0,-1 0 1 0 0,1 0-1 0 0,-1 0 0 0 0,1 0 1 0 0,-1 0-1 0 0,1 0 0 0 0,-1 0 1 0 0,1 0-1 0 0,-1 0 0 0 0,1 0 1 0 0,-1 0-1 0 0,1 0 0 0 0,0-1 1 0 0,-1 1-1 0 0,1 0 0 0 0,-1 0 0 0 0,1 0 1 0 0,-1-1-1 0 0,1 1 0 0 0,0 0 1 0 0,-1 0-1 0 0,1-1 0 0 0,0 1 1 0 0,-1 0-1 0 0,1-1 0 0 0,0 1 1 0 0,-1-1-1 0 0,1 1 0 0 0,0 0 0 0 0,0-1 1 0 0,-1 1-1 0 0,1-1 0 0 0,0 1 1 0 0,0 0-1 0 0,0-1 0 0 0,0 1 1 0 0,-1-1-1 0 0,1 1 0 0 0,0-1 1 0 0,0 1-1 0 0,0-2 0 0 0,0-3 2 0 0,0 1-1 0 0,0-1 1 0 0,0 0-1 0 0,0 0 1 0 0,1 0-1 0 0,0 0 0 0 0,0 1 1 0 0,0-1-1 0 0,1 0 1 0 0,0 1-1 0 0,-1-1 1 0 0,4-5-1 0 0,0 3-14 0 0,0-1 0 0 0,0 1 0 0 0,0 0-1 0 0,1 0 1 0 0,0 1 0 0 0,10-9 0 0 0,-7 7-21 0 0,1 1 1 0 0,-1 1-1 0 0,1 0 0 0 0,0 0 1 0 0,1 1-1 0 0,-1 0 0 0 0,1 0 1 0 0,0 1-1 0 0,0 1 0 0 0,19-4 1 0 0,-25 7-32 0 0,-1-1 1 0 0,1 1 0 0 0,-1 0-1 0 0,1 0 1 0 0,0 1 0 0 0,-1-1-1 0 0,1 1 1 0 0,-1 0-1 0 0,1 0 1 0 0,-1 0 0 0 0,1 1-1 0 0,-1 0 1 0 0,0-1 0 0 0,0 2-1 0 0,0-1 1 0 0,0 0-1 0 0,0 1 1 0 0,0 0 0 0 0,-1 0-1 0 0,1 0 1 0 0,-1 0 0 0 0,0 0-1 0 0,0 1 1 0 0,0-1-1 0 0,0 1 1 0 0,-1 0 0 0 0,1 0-1 0 0,-1 0 1 0 0,0 0 0 0 0,0 1-1 0 0,-1-1 1 0 0,1 0-1 0 0,-1 1 1 0 0,0-1 0 0 0,0 1-1 0 0,-1-1 1 0 0,1 1 0 0 0,-1 0-1 0 0,0-1 1 0 0,0 1-1 0 0,0-1 1 0 0,-2 7 0 0 0,-2 5-1247 0 0,-1 0 1 0 0,-12 27 0 0 0,-5 13-4458 0 0,18-43 3292 0 0</inkml:trace>
</inkml:ink>
</file>

<file path=ppt/ink/ink3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8:38.93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0 17 104 0 0,'13'-17'7495'0'0,"-22"31"-7057"0"0,0 0 1 0 0,2 1 0 0 0,0 0 0 0 0,0 0 0 0 0,1 0-1 0 0,1 1 1 0 0,1 0 0 0 0,-3 17 0 0 0,7-28-432 0 0,-1 1 1 0 0,1 0 0 0 0,0-1-1 0 0,0 1 1 0 0,0 0 0 0 0,1-1-1 0 0,0 1 1 0 0,0-1 0 0 0,1 1-1 0 0,0-1 1 0 0,3 9-1 0 0,-3-10-29 0 0,1 0 0 0 0,-1-1 0 0 0,1 1-1 0 0,0-1 1 0 0,0 0 0 0 0,0 0 0 0 0,0 0-1 0 0,1 0 1 0 0,-1 0 0 0 0,1-1 0 0 0,0 1-1 0 0,-1-1 1 0 0,1 0 0 0 0,0 0 0 0 0,0-1-1 0 0,9 3 1 0 0,-10-3-284 0 0,0 0-1 0 0,0-1 1 0 0,0 1-1 0 0,0-1 1 0 0,0 0-1 0 0,0 0 1 0 0,1 0 0 0 0,-1 0-1 0 0,0-1 1 0 0,0 1-1 0 0,0-1 1 0 0,0 0-1 0 0,0 0 1 0 0,0 0-1 0 0,0 0 1 0 0,0 0 0 0 0,0-1-1 0 0,-1 1 1 0 0,1-1-1 0 0,2-2 1 0 0,8-9-2116 0 0</inkml:trace>
</inkml:ink>
</file>

<file path=ppt/ink/ink3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8:39.26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5 51 1040 0 0,'-8'-11'944'0'0,"0"0"-268"0"0,0 4-156 0 0,0 0 216 0 0,-6-2-332 0 0,0 3-556 0 0,0 10-1612 0 0</inkml:trace>
</inkml:ink>
</file>

<file path=ppt/ink/ink3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8:40.44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4 153 908 0 0,'9'14'657'0'0,"0"-1"-1"0"0,-1 1 1 0 0,0 0-1 0 0,-1 1 1 0 0,8 24 0 0 0,17 79 1001 0 0,-30-109-1551 0 0,0 1 0 0 0,-1-1 0 0 0,0 1 0 0 0,0-1 0 0 0,-1 1 0 0 0,0-1 0 0 0,-2 12 0 0 0,1-16-33 0 0,-1 0 0 0 0,1 1-1 0 0,-1-1 1 0 0,0 0 0 0 0,0 0-1 0 0,0 0 1 0 0,-1 0 0 0 0,1 0 0 0 0,-1-1-1 0 0,-1 1 1 0 0,1-1 0 0 0,0 0-1 0 0,-8 6 1 0 0,-10 4 209 0 0,18-13-155 0 0,-1-2-54 0 0,2 1-66 0 0,1 0-1 0 0,-1 0 1 0 0,0 0-1 0 0,1 0 0 0 0,-1-1 1 0 0,1 1-1 0 0,-1 0 0 0 0,1-1 1 0 0,0 1-1 0 0,-1-1 1 0 0,1 0-1 0 0,-1 0 0 0 0,1 1 1 0 0,0-1-1 0 0,0 0 0 0 0,-1 0 1 0 0,1 0-1 0 0,0 0 0 0 0,0 0 1 0 0,0 0-1 0 0,0-1 1 0 0,0 1-1 0 0,0 0 0 0 0,0-1 1 0 0,1 1-1 0 0,-1 0 0 0 0,0-1 1 0 0,1 1-1 0 0,-1-1 0 0 0,1 1 1 0 0,0-1-1 0 0,-1 1 1 0 0,1-1-1 0 0,0 1 0 0 0,0-1 1 0 0,0 1-1 0 0,0-1 0 0 0,0 1 1 0 0,1-4-1 0 0,0-1-1 0 0,1-1 0 0 0,0 1-1 0 0,1-1 1 0 0,0 1 0 0 0,0 0-1 0 0,0 0 1 0 0,1 0 0 0 0,0 1-1 0 0,0-1 1 0 0,0 1 0 0 0,0 0-1 0 0,1 0 1 0 0,0 1 0 0 0,0-1-1 0 0,8-4 1 0 0,6-5 26 0 0,1 2-1 0 0,43-21 1 0 0,214-69 42 0 0,-200 77-40 0 0,-58 19 66 0 0,-1 0-1 0 0,0-2 0 0 0,21-12 1 0 0,-36 18-60 0 0,-3 1-24 0 0,1 0-16 0 0,-1 1 0 0 0,0 0 0 0 0,0 0 0 0 0,0 0 0 0 0,0 0 0 0 0,0 0 0 0 0,1 0 0 0 0,-1-1 0 0 0,0 1 0 0 0,0 0 0 0 0,0 0 0 0 0,0 0 0 0 0,0 0 0 0 0,0-1 0 0 0,0 1 0 0 0,0 0 0 0 0,0 0 0 0 0,0 0 0 0 0,0-1 0 0 0,0 1 0 0 0,0 0 0 0 0,0 0 0 0 0,0 0 1 0 0,0 0-1 0 0,0-1 0 0 0,0 1 0 0 0,0 0 0 0 0,0 0 0 0 0,0 0 0 0 0,0-1 0 0 0,0 1 0 0 0,0 0 0 0 0,0 0 0 0 0,0 0 0 0 0,0 0 0 0 0,0-1 0 0 0,0 1 0 0 0,-1 0 0 0 0,1 0 0 0 0,0 0 0 0 0,0 0 0 0 0,0 0 0 0 0,0 0 0 0 0,0-1 0 0 0,-1 1 0 0 0,-5 0-7 0 0,1 0 1 0 0,-1 1-1 0 0,0 0 1 0 0,0 0-1 0 0,0 0 1 0 0,1 1-1 0 0,-1-1 1 0 0,1 1-1 0 0,-1 1 1 0 0,1-1-1 0 0,-8 6 1 0 0,9-6-3 0 0,0 0 0 0 0,0 1 0 0 0,0 0 0 0 0,1 0-1 0 0,-1 0 1 0 0,1 0 0 0 0,0 1 0 0 0,0-1 0 0 0,0 1 0 0 0,0 0 0 0 0,0 0 0 0 0,1 0 0 0 0,0 0 0 0 0,0 0 0 0 0,0 0 0 0 0,-1 5 0 0 0,2-7 14 0 0,1 1 0 0 0,-1-1 1 0 0,1 0-1 0 0,0 1 0 0 0,0-1 1 0 0,0 1-1 0 0,0-1 0 0 0,0 1 1 0 0,0-1-1 0 0,1 0 0 0 0,-1 1 0 0 0,1-1 1 0 0,0 0-1 0 0,-1 1 0 0 0,1-1 1 0 0,0 0-1 0 0,0 0 0 0 0,1 0 1 0 0,-1 0-1 0 0,0 0 0 0 0,1 0 0 0 0,-1 0 1 0 0,1 0-1 0 0,0-1 0 0 0,-1 1 1 0 0,1 0-1 0 0,0-1 0 0 0,0 0 1 0 0,0 1-1 0 0,0-1 0 0 0,0 0 0 0 0,0 0 1 0 0,1 0-1 0 0,-1 0 0 0 0,0 0 1 0 0,4 0-1 0 0,2 1 32 0 0,-1 0 1 0 0,1 0-1 0 0,0-1 0 0 0,0 0 0 0 0,0 0 1 0 0,0-1-1 0 0,0 0 0 0 0,13-2 1 0 0,0-2 26 0 0,37-10 1 0 0,-57 13-82 0 0,0 1 1 0 0,0-1 0 0 0,0 1 0 0 0,0-1 0 0 0,1 1 0 0 0,-1 0-1 0 0,0 0 1 0 0,0 0 0 0 0,0 0 0 0 0,1 0 0 0 0,-1 0-1 0 0,0 0 1 0 0,0 0 0 0 0,0 0 0 0 0,1 0 0 0 0,-1 1 0 0 0,0-1-1 0 0,0 0 1 0 0,0 1 0 0 0,0-1 0 0 0,1 1 0 0 0,-1-1 0 0 0,1 2-1 0 0,-1 0 3 0 0,1 0 0 0 0,-1 0-1 0 0,0-1 1 0 0,0 1 0 0 0,0 0 0 0 0,0 0-1 0 0,-1 0 1 0 0,1 1 0 0 0,0 3-1 0 0,0-3 31 0 0,-1-1 0 0 0,1 1-1 0 0,0 0 1 0 0,0-1 0 0 0,0 1-1 0 0,0 0 1 0 0,1-1 0 0 0,-1 0 0 0 0,1 1-1 0 0,1 2 1 0 0,3 0 67 0 0,1 0-1 0 0,0-1 1 0 0,-1 0 0 0 0,1 0 0 0 0,1 0-1 0 0,-1-1 1 0 0,0 0 0 0 0,1 0-1 0 0,0-1 1 0 0,0 0 0 0 0,0 0 0 0 0,14 1-1 0 0,-17-3-63 0 0,-1 0 0 0 0,1 1 0 0 0,-1-2 0 0 0,1 1 0 0 0,0 0 0 0 0,-1-1 0 0 0,1 0 0 0 0,-1 0 0 0 0,1 0 0 0 0,-1-1 0 0 0,0 0 0 0 0,1 1 0 0 0,-1-2 0 0 0,0 1 0 0 0,0 0 0 0 0,0-1 0 0 0,-1 1 0 0 0,1-1 0 0 0,4-4 0 0 0,-1-1 14 0 0,0-1 1 0 0,0 1-1 0 0,-1-1 0 0 0,0-1 0 0 0,0 1 1 0 0,6-15-1 0 0,1-9-16 0 0,-2-1 0 0 0,-1 0 0 0 0,8-48-1 0 0,10-37 796 0 0,-22 105-255 0 0,-5 14-549 0 0,-1 0 0 0 0,0 0 0 0 0,0 0 0 0 0,0 0 0 0 0,0 0 0 0 0,1 0 0 0 0,-1 0 0 0 0,0 0 0 0 0,0 0 0 0 0,0 0 0 0 0,0 0 0 0 0,0 0 0 0 0,1 0 0 0 0,-1 0 0 0 0,0 0 0 0 0,0 0 0 0 0,0 0 0 0 0,0 0 0 0 0,0 0 0 0 0,1 0 0 0 0,-1 1 0 0 0,0-1 0 0 0,0 0 0 0 0,0 0 0 0 0,0 0 0 0 0,0 0 0 0 0,0 0 0 0 0,0 0 0 0 0,0 1 0 0 0,0-1 0 0 0,0 0 0 0 0,0 0 0 0 0,1 0 0 0 0,-1 0 0 0 0,0 0 0 0 0,0 1 0 0 0,0-1 0 0 0,0 0 0 0 0,0 0 0 0 0,0 0 0 0 0,0 0 0 0 0,0 1 0 0 0,0-1 0 0 0,-1 0 0 0 0,5 36 360 0 0,-3-19-197 0 0,20 158 413 0 0,-10-105-1142 0 0,4 14-2273 0 0,-5-26-3638 0 0,-8-49 4131 0 0</inkml:trace>
</inkml:ink>
</file>

<file path=ppt/ink/ink3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8:40.79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228 64 0 0,'0'-2'1271'0'0,"1"-2"-1011"0"0,0 0-1 0 0,0 1 1 0 0,1-1-1 0 0,-1 1 1 0 0,1-1-1 0 0,0 1 1 0 0,-1 0-1 0 0,2 0 1 0 0,-1 0-1 0 0,0 0 0 0 0,0 0 1 0 0,1 0-1 0 0,0 1 1 0 0,3-4-1 0 0,0 2-78 0 0,1 0 0 0 0,0 0 0 0 0,-1 1-1 0 0,2 0 1 0 0,-1 0 0 0 0,10-2 0 0 0,96-19 797 0 0,-86 20-690 0 0,1-2 0 0 0,-1 0-1 0 0,0-2 1 0 0,34-14-1 0 0,-54 17-244 0 0,1 1-1 0 0,-2-1 0 0 0,1 0 0 0 0,-1-1 1 0 0,1 0-1 0 0,-1 0 0 0 0,9-12 1 0 0,-15 18-45 0 0,0 0 0 0 0,1-1 0 0 0,-1 1 0 0 0,0-1 0 0 0,1 1 0 0 0,-1 0 0 0 0,0-1 0 0 0,0 1 0 0 0,1-1 1 0 0,-1 1-1 0 0,0-1 0 0 0,0 1 0 0 0,0-1 0 0 0,0 1 0 0 0,0-1 0 0 0,0 1 0 0 0,1-1 0 0 0,-1 1 1 0 0,0-1-1 0 0,0 1 0 0 0,-1-1 0 0 0,1 1 0 0 0,0-1 0 0 0,0 1 0 0 0,0-1 0 0 0,0 1 0 0 0,0-1 0 0 0,0 1 1 0 0,-1-1-1 0 0,1 1 0 0 0,0-1 0 0 0,0 1 0 0 0,-1 0 0 0 0,1-1 0 0 0,0 1 0 0 0,-1-1 0 0 0,1 1 1 0 0,0 0-1 0 0,-1-1 0 0 0,1 1 0 0 0,-1 0 0 0 0,1 0 0 0 0,-1-1 0 0 0,1 1 0 0 0,0 0 0 0 0,-1 0 1 0 0,1 0-1 0 0,-1-1 0 0 0,1 1 0 0 0,-1 0 0 0 0,1 0 0 0 0,-1 0 0 0 0,1 0 0 0 0,-1 0 0 0 0,0 0 0 0 0,-22-3 35 0 0,14 3-2 0 0,0 0 0 0 0,-1 1 0 0 0,1 0 0 0 0,0 1 0 0 0,0 0 0 0 0,0 0 1 0 0,-14 7-1 0 0,18-7 2 0 0,-1 0 0 0 0,1 0 0 0 0,1 1 0 0 0,-1 0 0 0 0,0 0 0 0 0,1 0 1 0 0,-1 1-1 0 0,1-1 0 0 0,0 1 0 0 0,0 0 0 0 0,1 0 0 0 0,-1 0 0 0 0,-4 8 0 0 0,7-10-9 0 0,0 0 0 0 0,1 0 0 0 0,-1 0 0 0 0,0 0 0 0 0,1 0 0 0 0,-1-1 0 0 0,1 1 0 0 0,0 0 1 0 0,0 0-1 0 0,0 0 0 0 0,0 0 0 0 0,0 0 0 0 0,0 0 0 0 0,0 0 0 0 0,1 0 0 0 0,-1 0 0 0 0,2 2 0 0 0,-1 0 0 0 0,1 0 1 0 0,0-1-1 0 0,0 1 1 0 0,0-1-1 0 0,1 1 1 0 0,-1-1-1 0 0,1 0 1 0 0,3 3-1 0 0,3 3 30 0 0,2-1 0 0 0,-1 0 0 0 0,1-1-1 0 0,15 8 1 0 0,-10-6-213 0 0,1 0-1 0 0,0-1 1 0 0,1-1-1 0 0,0-1 1 0 0,0 0-1 0 0,0-1 1 0 0,31 4-1 0 0,-45-9-166 0 0,1-1 1 0 0,0 1-1 0 0,0-1 0 0 0,0 0 0 0 0,0 0 1 0 0,-1 0-1 0 0,1-1 0 0 0,0 0 0 0 0,-1 0 1 0 0,1 0-1 0 0,-1 0 0 0 0,0-1 0 0 0,0 1 0 0 0,0-1 1 0 0,0 0-1 0 0,0-1 0 0 0,4-4 0 0 0,1-3-938 0 0</inkml:trace>
</inkml:ink>
</file>

<file path=ppt/ink/ink3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8:42.68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72 0 688 0 0,'2'2'1044'0'0,"3"7"-592"0"0,1-1 1 0 0,-1 1-1 0 0,-1 0 0 0 0,0 0 0 0 0,0 0 0 0 0,0 1 1 0 0,-1-1-1 0 0,-1 1 0 0 0,0 0 0 0 0,0 0 1 0 0,0 10-1 0 0,1 10 279 0 0,-3 0 0 0 0,-3 45 0 0 0,1-66-629 0 0,1 0 0 0 0,-2 1-1 0 0,1-1 1 0 0,-1-1 0 0 0,-1 1-1 0 0,1 0 1 0 0,-2-1 0 0 0,1 0-1 0 0,-1 0 1 0 0,0 0 0 0 0,-1 0 0 0 0,0-1-1 0 0,0 0 1 0 0,0 0 0 0 0,-1-1-1 0 0,0 0 1 0 0,-12 8 0 0 0,12-8-48 0 0,0-1 0 0 0,-1-1 1 0 0,0 1-1 0 0,0-1 1 0 0,-1-1-1 0 0,1 0 0 0 0,-1 0 1 0 0,1 0-1 0 0,-1-1 0 0 0,0 0 1 0 0,0-1-1 0 0,0 0 1 0 0,0 0-1 0 0,0-1 0 0 0,0-1 1 0 0,0 1-1 0 0,0-1 0 0 0,-11-3 1 0 0,17 3-46 0 0,1 1 0 0 0,-1-1 0 0 0,0 0 0 0 0,0 0 0 0 0,1-1 0 0 0,-1 1 0 0 0,1-1 0 0 0,-1 1 0 0 0,1-1 0 0 0,0 0 0 0 0,-1 0 1 0 0,1 0-1 0 0,0 0 0 0 0,0 0 0 0 0,0 0 0 0 0,1-1 0 0 0,-1 1 0 0 0,1-1 0 0 0,-1 1 0 0 0,-1-5 0 0 0,2 5-7 0 0,1-1-1 0 0,-1 1 1 0 0,1-1 0 0 0,0 1-1 0 0,0 0 1 0 0,0-1 0 0 0,0 1-1 0 0,1-1 1 0 0,-1 1-1 0 0,0 0 1 0 0,1-1 0 0 0,0 1-1 0 0,-1 0 1 0 0,1-1 0 0 0,0 1-1 0 0,0 0 1 0 0,0 0-1 0 0,1 0 1 0 0,-1 0 0 0 0,0 0-1 0 0,1 0 1 0 0,0 0 0 0 0,-1 0-1 0 0,1 1 1 0 0,2-3-1 0 0,0 1-11 0 0,0-1-1 0 0,1 1 0 0 0,-1 0 0 0 0,1 0 0 0 0,-1 0 1 0 0,1 1-1 0 0,0-1 0 0 0,0 1 0 0 0,0 0 1 0 0,1 1-1 0 0,-1-1 0 0 0,0 1 0 0 0,0 0 0 0 0,11 0 1 0 0,-8 1-3 0 0,-1 1 1 0 0,1 0-1 0 0,-1 0 1 0 0,0 1-1 0 0,1 0 1 0 0,-1 0 0 0 0,0 0-1 0 0,0 1 1 0 0,0 0-1 0 0,9 6 1 0 0,-6-3-11 0 0,-1 1-1 0 0,1 0 1 0 0,-1 1 0 0 0,0-1 0 0 0,14 19-1 0 0,30 47-1439 0 0,-4-5-3195 0 0,-35-51 2220 0 0</inkml:trace>
</inkml:ink>
</file>

<file path=ppt/ink/ink3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8:43.30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7 28 432 0 0,'0'-3'1277'0'0,"0"3"-1375"0"0,-2-19 2740 0 0,1 14-663 0 0,-1 15-972 0 0,-5 205 2122 0 0,3-151 39 0 0,3-64-3153 0 0,1-1-1 0 0,-1 1 1 0 0,1-1 0 0 0,0 0 0 0 0,0 1-1 0 0,-1-1 1 0 0,1 0 0 0 0,0 0 0 0 0,0 1-1 0 0,0-1 1 0 0,0 0 0 0 0,0 0-1 0 0,0 1 1 0 0,0-1 0 0 0,0 0 0 0 0,0 0-1 0 0,0 1 1 0 0,0-1 0 0 0,1-1 0 0 0,4-4-10 0 0,0 1 1 0 0,1-1-1 0 0,0 1 1 0 0,0 0 0 0 0,1 1-1 0 0,-1-1 1 0 0,1 1 0 0 0,0 0-1 0 0,0 1 1 0 0,1 0-1 0 0,-1 0 1 0 0,0 1 0 0 0,1-1-1 0 0,0 2 1 0 0,0-1 0 0 0,-1 1-1 0 0,1 0 1 0 0,10 1-1 0 0,-5-1-19 0 0,-1 2-1 0 0,1-1 1 0 0,-1 2-1 0 0,1 0 0 0 0,-1 0 1 0 0,0 1-1 0 0,0 0 0 0 0,0 1 1 0 0,-1 1-1 0 0,1 0 1 0 0,13 8-1 0 0,-20-10-1 0 0,0 0 1 0 0,0 1-1 0 0,-1 0 0 0 0,1 0 1 0 0,-1 0-1 0 0,7 9 1 0 0,-10-12 12 0 0,0 1 0 0 0,0-1 0 0 0,0 1 1 0 0,0-1-1 0 0,0 1 0 0 0,-1 0 0 0 0,1-1 1 0 0,-1 1-1 0 0,1 0 0 0 0,-1-1 0 0 0,1 1 1 0 0,-1 0-1 0 0,0 0 0 0 0,0-1 0 0 0,0 1 1 0 0,0 0-1 0 0,0 0 0 0 0,0-1 0 0 0,-1 1 1 0 0,1 0-1 0 0,0 0 0 0 0,-1-1 1 0 0,0 1-1 0 0,1 0 0 0 0,-1-1 0 0 0,-1 4 1 0 0,-3 1 3 0 0,0 0 1 0 0,-1 0 0 0 0,1 0 0 0 0,-1-1-1 0 0,0 1 1 0 0,0-2 0 0 0,-1 1 0 0 0,1-1 0 0 0,-1 1-1 0 0,0-2 1 0 0,-10 5 0 0 0,-12 3 29 0 0,-46 12-1 0 0,60-19-23 0 0,-2 0-442 0 0,-1 0 0 0 0,1-2 0 0 0,-1 0 0 0 0,1 0 0 0 0,-28-3 0 0 0,44 1 303 0 0,1 0 0 0 0,-1 0 0 0 0,0 1 1 0 0,1-1-1 0 0,-1 0 0 0 0,0-1 0 0 0,1 1 0 0 0,-1 0 1 0 0,1 0-1 0 0,-1 0 0 0 0,0 0 0 0 0,1 0 1 0 0,-1-1-1 0 0,0 1 0 0 0,1 0 0 0 0,-1 0 0 0 0,1-1 1 0 0,-1 1-1 0 0,1 0 0 0 0,-1-1 0 0 0,1 1 1 0 0,-1-1-1 0 0,1 1 0 0 0,-1-1 0 0 0,1 1 0 0 0,0-1 1 0 0,-1 1-1 0 0,1-1 0 0 0,4-11-2429 0 0,-4 12 2564 0 0,8-8-2277 0 0</inkml:trace>
</inkml:ink>
</file>

<file path=ppt/ink/ink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2:43.03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54 128 1232 0 0,'2'-3'428'0'0,"-1"-1"0"0"0,1 1-1 0 0,-1-1 1 0 0,1 0 0 0 0,-1 1 0 0 0,-1-1 0 0 0,1 0-1 0 0,0 0 1 0 0,-1 0 0 0 0,0-6 0 0 0,0 6-227 0 0,-1-1-1 0 0,1 1 1 0 0,-1 0 0 0 0,0-1 0 0 0,-1 1-1 0 0,1 0 1 0 0,-1 0 0 0 0,1 0-1 0 0,-1 0 1 0 0,-1 0 0 0 0,1 0 0 0 0,0 0-1 0 0,-6-5 1 0 0,6 7-151 0 0,-1 0-1 0 0,0 0 1 0 0,1 1-1 0 0,-1-1 1 0 0,0 1 0 0 0,0-1-1 0 0,0 1 1 0 0,0 0-1 0 0,-6-1 1 0 0,5 1-18 0 0,2 1-24 0 0,1 0 0 0 0,-1-1 0 0 0,0 1 0 0 0,0 0 0 0 0,0 0 0 0 0,0 1 0 0 0,0-1 0 0 0,0 0 0 0 0,0 1 0 0 0,0-1 0 0 0,1 1 0 0 0,-1-1 0 0 0,0 1 0 0 0,0 0-1 0 0,1 0 1 0 0,-1 0 0 0 0,0 0 0 0 0,1 0 0 0 0,-1 0 0 0 0,-2 3 0 0 0,2-2 2 0 0,-1 1 0 0 0,1-1 0 0 0,0 1 0 0 0,-1-1 0 0 0,1 1 0 0 0,1 0 0 0 0,-1 0 0 0 0,0 0 0 0 0,1 0 1 0 0,-2 5-1 0 0,1 0 58 0 0,1 0 0 0 0,0 1 0 0 0,1-1 0 0 0,0 0 0 0 0,0 1 0 0 0,1-1 0 0 0,0 0 0 0 0,0 0 0 0 0,1 0 1 0 0,0 0-1 0 0,0 0 0 0 0,7 14 0 0 0,5 8 294 0 0,31 51 1 0 0,-40-73-298 0 0,8 13 74 0 0,0 1 1 0 0,-2 1-1 0 0,17 44 0 0 0,-27-67-133 0 0,-1 1 0 0 0,0-1 0 0 0,0 1-1 0 0,0-1 1 0 0,0 1 0 0 0,0 0 0 0 0,0-1-1 0 0,0 1 1 0 0,0-1 0 0 0,0 1 0 0 0,0-1-1 0 0,0 1 1 0 0,0-1 0 0 0,0 1 0 0 0,0-1-1 0 0,0 1 1 0 0,-1-1 0 0 0,1 1 0 0 0,0-1-1 0 0,0 1 1 0 0,0-1 0 0 0,-1 1 0 0 0,1-1-1 0 0,0 1 1 0 0,-1-1 0 0 0,1 0 0 0 0,-1 1-1 0 0,1-1 1 0 0,0 1 0 0 0,-1-1 0 0 0,1 0-1 0 0,-1 0 1 0 0,1 1 0 0 0,-1-1 0 0 0,1 0-1 0 0,-1 0 1 0 0,1 1 0 0 0,-1-1 0 0 0,0 0-1 0 0,0 0-1 0 0,-1 1 0 0 0,1-1 0 0 0,0 0 0 0 0,0 0 0 0 0,-1 0 0 0 0,1 0 0 0 0,0 0 0 0 0,-1-1 0 0 0,1 1 0 0 0,0 0 0 0 0,-1-1 0 0 0,1 1 0 0 0,0 0 0 0 0,0-1 0 0 0,-3-1 0 0 0,1-1-48 0 0,-1 1 0 0 0,0-1 0 0 0,1 0 0 0 0,0-1-1 0 0,-1 1 1 0 0,1 0 0 0 0,1-1 0 0 0,-1 0 0 0 0,0 0-1 0 0,1 0 1 0 0,0 0 0 0 0,0 0 0 0 0,-3-9-1 0 0,3 6-37 0 0,1-1-1 0 0,-1 0 0 0 0,1 1 0 0 0,1-1 0 0 0,0 0 1 0 0,0 0-1 0 0,2-12 0 0 0,0 8-292 0 0,-11 27 443 0 0,-38 38 647 0 0,-187 193-168 0 0,231-243-1107 0 0,-7 6-81 0 0</inkml:trace>
</inkml:ink>
</file>

<file path=ppt/ink/ink3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8:45.59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93 0 880 0 0,'-4'1'1078'0'0,"-2"1"-787"0"0,0-1 1 0 0,1 1 0 0 0,-1 0-1 0 0,1 1 1 0 0,0 0 0 0 0,-1-1 0 0 0,1 2-1 0 0,1-1 1 0 0,-1 0 0 0 0,0 1 0 0 0,1 0-1 0 0,0 0 1 0 0,-5 5 0 0 0,7-6-177 0 0,0 0 0 0 0,1 0 0 0 0,-1 0-1 0 0,0 0 1 0 0,1 0 0 0 0,0 0 0 0 0,0 0 0 0 0,0 0 0 0 0,0 1 0 0 0,0-1 0 0 0,1 0 0 0 0,-1 1 0 0 0,1-1 0 0 0,0 1 0 0 0,0-1 0 0 0,0 0 0 0 0,0 1 0 0 0,1-1 0 0 0,0 0 0 0 0,-1 1-1 0 0,1-1 1 0 0,0 0 0 0 0,1 0 0 0 0,-1 1 0 0 0,3 3 0 0 0,-1 0-32 0 0,1-1 0 0 0,0 0 0 0 0,1 1 0 0 0,-1-1 0 0 0,1-1 0 0 0,0 1 0 0 0,1-1 0 0 0,-1 0 0 0 0,1 0 0 0 0,0-1 0 0 0,0 1 0 0 0,1-1 0 0 0,-1-1 0 0 0,1 1 0 0 0,0-1 0 0 0,0 0 0 0 0,0-1 0 0 0,13 3 0 0 0,-16-5-78 0 0,0 0 1 0 0,0 0-1 0 0,0-1 1 0 0,0 0-1 0 0,-1 0 0 0 0,1 0 1 0 0,0 0-1 0 0,0 0 1 0 0,-1-1-1 0 0,1 0 0 0 0,0 0 1 0 0,-1 0-1 0 0,0 0 1 0 0,1 0-1 0 0,-1-1 0 0 0,0 1 1 0 0,0-1-1 0 0,-1 0 1 0 0,1 0-1 0 0,2-4 0 0 0,8-9-252 0 0,18-32 0 0 0,-30 46 163 0 0,0 4-112 0 0,0 2 190 0 0,0-1 0 0 0,0 1 0 0 0,0 0 0 0 0,-1 0 0 0 0,1-1 0 0 0,-1 1 0 0 0,0 0 0 0 0,0 0 0 0 0,0 0 0 0 0,-2 7 0 0 0,-11 46 159 0 0,4-19 69 0 0,-4 36 127 0 0,-22 103 251 0 0,30-160-389 0 0,0 1-1 0 0,-2-1 1 0 0,0-1-1 0 0,-1 1 1 0 0,-1-1-1 0 0,0-1 0 0 0,-20 25 1 0 0,24-35-96 0 0,0-1-1 0 0,0 0 1 0 0,0 0 0 0 0,-1 0-1 0 0,1 0 1 0 0,-1-1 0 0 0,0 0 0 0 0,0-1-1 0 0,0 1 1 0 0,-1-1 0 0 0,-7 2-1 0 0,14-4-111 0 0,-2 0 18 0 0,0 1 0 0 0,1-1 0 0 0,-1 0 0 0 0,1 0 0 0 0,-1 1 0 0 0,0-1 0 0 0,1 0 0 0 0,-1 0 0 0 0,0-1 0 0 0,1 1 0 0 0,-1 0 1 0 0,1-1-1 0 0,-1 1 0 0 0,-2-2 0 0 0,-2 1 25 0 0,2 0-23 0 0,0 0 0 0 0,-1 0-1 0 0,1-1 1 0 0,0 1 0 0 0,0-1-1 0 0,0 0 1 0 0,1 0 0 0 0,-1 0-1 0 0,0 0 1 0 0,1-1 0 0 0,-1 0-1 0 0,1 1 1 0 0,0-1 0 0 0,-5-6-1 0 0,4 4 2 0 0,1-1 0 0 0,-1 1 0 0 0,1-1 0 0 0,0 0 0 0 0,1 0 0 0 0,-1 0 0 0 0,1 0 0 0 0,-2-13-1 0 0,2 4-126 0 0,0-1 0 0 0,1 1 0 0 0,1-1 0 0 0,0 0-1 0 0,2 1 1 0 0,-1-1 0 0 0,6-17 0 0 0,-5 23-177 0 0,1-1 0 0 0,0 1 1 0 0,1-1-1 0 0,1 1 0 0 0,-1 0 1 0 0,1 1-1 0 0,1-1 0 0 0,0 1 0 0 0,0 0 1 0 0,1 1-1 0 0,0-1 0 0 0,10-8 1 0 0,-8 10-495 0 0,-1 0 0 0 0,1 1 0 0 0,0 0 1 0 0,1 1-1 0 0,-1 0 0 0 0,1 0 0 0 0,16-5 0 0 0,-9 3-1354 0 0</inkml:trace>
</inkml:ink>
</file>

<file path=ppt/ink/ink3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8:46.77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3 1 4 0 0,'-1'1'3012'0'0,"-3"6"-2690"0"0,0 0 0 0 0,0 0 0 0 0,0 1 0 0 0,1-1 0 0 0,1 1 0 0 0,-1-1 0 0 0,1 1 0 0 0,0 0 0 0 0,1 0 0 0 0,0 0 0 0 0,0 0 0 0 0,0 0 0 0 0,1 0 0 0 0,1 0 0 0 0,-1 0 0 0 0,3 10 0 0 0,-1-8-170 0 0,0 1-1 0 0,1-1 0 0 0,0 0 0 0 0,1 0 0 0 0,0 0 0 0 0,1 0 0 0 0,0 0 0 0 0,0-1 0 0 0,1 0 0 0 0,0 0 1 0 0,15 15-1 0 0,-19-21-131 0 0,0-1 0 0 0,0 0 0 0 0,0 0 0 0 0,1-1 0 0 0,-1 1 0 0 0,1 0 0 0 0,-1-1 0 0 0,1 0 0 0 0,-1 1 0 0 0,1-1 0 0 0,0 0 1 0 0,0 0-1 0 0,-1-1 0 0 0,1 1 0 0 0,0-1 0 0 0,0 1 0 0 0,0-1 0 0 0,0 0 0 0 0,0 0 0 0 0,0 0 0 0 0,0 0 0 0 0,0-1 0 0 0,0 1 0 0 0,3-2 1 0 0,1-1 17 0 0,0 0 1 0 0,0 0-1 0 0,-1-1 1 0 0,1 1-1 0 0,-1-2 1 0 0,0 1-1 0 0,0-1 1 0 0,7-8-1 0 0,-1 1 13 0 0,-2 0 0 0 0,18-28 0 0 0,3-4-106 0 0,-26 38-22 0 0,-8 7-22 0 0,-6 14 72 0 0,7-1 179 0 0,0-1-1 0 0,1 1 1 0 0,1 0 0 0 0,0-1-1 0 0,0 1 1 0 0,1 0 0 0 0,1 0-1 0 0,1-1 1 0 0,0 1 0 0 0,0-1 0 0 0,1 0-1 0 0,1 0 1 0 0,0 0 0 0 0,1-1-1 0 0,11 19 1 0 0,-15-29-98 0 0,-1 0 1 0 0,1 1-1 0 0,0-1 1 0 0,0 0-1 0 0,0 0 1 0 0,0 0 0 0 0,0 0-1 0 0,0 0 1 0 0,0 0-1 0 0,1-1 1 0 0,-1 1-1 0 0,0-1 1 0 0,1 0-1 0 0,-1 1 1 0 0,1-1-1 0 0,0 0 1 0 0,0 0-1 0 0,-1-1 1 0 0,1 1-1 0 0,0-1 1 0 0,0 1-1 0 0,-1-1 1 0 0,1 0-1 0 0,0 0 1 0 0,0 0-1 0 0,0 0 1 0 0,0-1-1 0 0,-1 1 1 0 0,6-2-1 0 0,-3 0-21 0 0,0-1 0 0 0,0 1-1 0 0,-1-1 1 0 0,1 0 0 0 0,-1 0-1 0 0,0 0 1 0 0,1 0 0 0 0,-2-1-1 0 0,1 1 1 0 0,0-1 0 0 0,-1 0-1 0 0,1-1 1 0 0,-1 1 0 0 0,-1 0-1 0 0,4-7 1 0 0,8-21-78 0 0,-2 0 1 0 0,-2 0-1 0 0,-1-1 0 0 0,7-46 0 0 0,-3 13-394 0 0,-13 53-19 0 0,4 26-17 0 0,61 123 209 0 0,6 15 161 0 0,-69-148 109 0 0,-1 0 1 0 0,0 0 0 0 0,0 0 0 0 0,-1 0-1 0 0,1 1 1 0 0,-1-1 0 0 0,0 0 0 0 0,0 0-1 0 0,0 1 1 0 0,0-1 0 0 0,-1 6 0 0 0,0-7-1 0 0,1 0 0 0 0,-1-1 1 0 0,0 1-1 0 0,1 0 0 0 0,-1-1 1 0 0,0 1-1 0 0,0-1 0 0 0,0 1 1 0 0,0-1-1 0 0,0 0 0 0 0,-1 1 1 0 0,1-1-1 0 0,0 0 0 0 0,-1 0 1 0 0,1 0-1 0 0,0 0 0 0 0,-1 0 1 0 0,1 0-1 0 0,-1 0 0 0 0,0-1 1 0 0,1 1-1 0 0,-1-1 0 0 0,0 1 1 0 0,1-1-1 0 0,-1 1 0 0 0,-2-1 1 0 0,-1 1 6 0 0,-1 0 0 0 0,1-1 1 0 0,0 0-1 0 0,0 0 1 0 0,-1 0-1 0 0,1-1 1 0 0,0 1-1 0 0,0-1 1 0 0,0-1-1 0 0,0 1 0 0 0,0-1 1 0 0,-7-3-1 0 0,11 5-11 0 0,1 0-1 0 0,-1-1 0 0 0,0 1 0 0 0,1-1 0 0 0,-1 1 1 0 0,0 0-1 0 0,1-1 0 0 0,-1 0 0 0 0,0 1 0 0 0,1-1 1 0 0,-1 1-1 0 0,1-1 0 0 0,-1 0 0 0 0,1 1 1 0 0,-1-1-1 0 0,1 0 0 0 0,0 0 0 0 0,-1 1 0 0 0,1-1 1 0 0,0 0-1 0 0,0 0 0 0 0,0 1 0 0 0,-1-1 1 0 0,1 0-1 0 0,0 0 0 0 0,0 0 0 0 0,0 0 0 0 0,0 1 1 0 0,0-1-1 0 0,0 0 0 0 0,1 0 0 0 0,-1 0 1 0 0,0 1-1 0 0,0-1 0 0 0,0 0 0 0 0,1 0 0 0 0,-1 1 1 0 0,0-1-1 0 0,1 0 0 0 0,-1 0 0 0 0,1 0 1 0 0,2-3-17 0 0,0 1 1 0 0,0-1-1 0 0,0 1 1 0 0,1-1-1 0 0,4-2 1 0 0,-8 5 13 0 0,26-18-123 0 0,1 1 1 0 0,41-20 0 0 0,32-21-188 0 0,-89 51 281 0 0,41-33-34 0 0,-48 38 49 0 0,-1 0 0 0 0,0-1 0 0 0,0 1 0 0 0,0-1 0 0 0,0 1 1 0 0,-1-1-1 0 0,0 0 0 0 0,1 0 0 0 0,-1 0 0 0 0,0-1 0 0 0,1-5 0 0 0,-3 9 13 0 0,0 0 0 0 0,0 0-1 0 0,0 0 1 0 0,0 0 0 0 0,0 0 0 0 0,0 0-1 0 0,0 0 1 0 0,-1 0 0 0 0,1 0 0 0 0,0 0-1 0 0,-1 0 1 0 0,1 0 0 0 0,0 0-1 0 0,-1 0 1 0 0,0 0 0 0 0,1 0 0 0 0,-1 0-1 0 0,1 0 1 0 0,-1 0 0 0 0,0 0 0 0 0,0 1-1 0 0,0-1 1 0 0,1 0 0 0 0,-1 1 0 0 0,0-1-1 0 0,0 0 1 0 0,0 1 0 0 0,0-1-1 0 0,0 1 1 0 0,0 0 0 0 0,0-1 0 0 0,0 1-1 0 0,0 0 1 0 0,0 0 0 0 0,0-1 0 0 0,-2 1-1 0 0,-35-3-84 0 0,32 3 79 0 0,1 1 0 0 0,-1-1 1 0 0,1 1-1 0 0,-1 1 0 0 0,1-1 0 0 0,0 1 1 0 0,-1 0-1 0 0,1 0 0 0 0,0 1 0 0 0,0 0 1 0 0,0 0-1 0 0,1 0 0 0 0,-1 0 0 0 0,1 1 1 0 0,-1-1-1 0 0,1 1 0 0 0,0 0 0 0 0,-3 6 1 0 0,4-8 7 0 0,2 1 1 0 0,-1 0 0 0 0,0 0 0 0 0,1 0 0 0 0,-1 1 0 0 0,1-1 0 0 0,0 0-1 0 0,0 0 1 0 0,0 1 0 0 0,0-1 0 0 0,1 1 0 0 0,-1-1 0 0 0,1 1 0 0 0,0-1-1 0 0,0 0 1 0 0,0 1 0 0 0,1-1 0 0 0,-1 1 0 0 0,1-1 0 0 0,0 1 0 0 0,0-1 0 0 0,0 0-1 0 0,0 0 1 0 0,0 1 0 0 0,1-1 0 0 0,0 0 0 0 0,-1 0 0 0 0,1 0 0 0 0,5 5-1 0 0,0-1 24 0 0,0 1-1 0 0,1-1 0 0 0,0 0 1 0 0,0-1-1 0 0,0 0 0 0 0,1 0 1 0 0,0-1-1 0 0,0 0 0 0 0,0-1 0 0 0,1 0 1 0 0,0 0-1 0 0,0-1 0 0 0,0 0 1 0 0,15 2-1 0 0,-19-5-26 0 0,0 1 1 0 0,-1-1 0 0 0,1-1-1 0 0,0 1 1 0 0,0-1-1 0 0,0 0 1 0 0,0 0-1 0 0,-1-1 1 0 0,1 0 0 0 0,0 0-1 0 0,-1 0 1 0 0,0 0-1 0 0,1-1 1 0 0,-1 0-1 0 0,0 0 1 0 0,-1-1 0 0 0,1 1-1 0 0,0-1 1 0 0,-1 0-1 0 0,0 0 1 0 0,7-9-1 0 0,3-7-91 0 0,-1 0-1 0 0,0-1 1 0 0,-1 0 0 0 0,8-23-1 0 0,1 0 134 0 0,0 2-302 0 0,-20 40 244 0 0,0 2 18 0 0,0 0-1 0 0,0 1 1 0 0,-1-1-1 0 0,1 0 1 0 0,0 0-1 0 0,-1 0 1 0 0,1 1 0 0 0,0-1-1 0 0,-1 1 1 0 0,1-1-1 0 0,0 0 1 0 0,-1 1-1 0 0,1-1 1 0 0,-1 1 0 0 0,1-1-1 0 0,-1 1 1 0 0,1-1-1 0 0,-1 1 1 0 0,1 1-1 0 0,2 20 10 0 0,0 0 0 0 0,-2 0-1 0 0,0 0 1 0 0,-5 41-1 0 0,0-29 27 0 0,-2-1 0 0 0,-17 53 0 0 0,22-82 48 0 0,-1 0 0 0 0,1-1 0 0 0,-1 1 1 0 0,0 0-1 0 0,0-1 0 0 0,-1 1 0 0 0,1-1 1 0 0,-1 0-1 0 0,1 0 0 0 0,-1 0 0 0 0,0 0 1 0 0,0 0-1 0 0,-7 4 0 0 0,7-6 84 0 0,2-1-146 0 0,0 0 0 0 0,0 0 0 0 0,0-1 1 0 0,0 1-1 0 0,-1-1 0 0 0,1 1 0 0 0,0-1 0 0 0,0 0 0 0 0,0 1 0 0 0,0-1 0 0 0,0 0 0 0 0,0 0 0 0 0,0 0 0 0 0,0 0 0 0 0,1 1 0 0 0,-2-3 1 0 0,2-3 2 0 0,0-1 1 0 0,1 0 0 0 0,-1 0 0 0 0,1 0 0 0 0,1 0-1 0 0,-1 1 1 0 0,1-1 0 0 0,1 1 0 0 0,-1-1 0 0 0,1 1 0 0 0,0 0-1 0 0,0 0 1 0 0,1 0 0 0 0,0 0 0 0 0,0 0 0 0 0,0 1-1 0 0,7-6 1 0 0,7-8-40 0 0,0 2 1 0 0,1 1-1 0 0,32-22 0 0 0,-44 34-234 0 0,0 0 1 0 0,0 0-1 0 0,0 1 1 0 0,0 0-1 0 0,0 0 1 0 0,1 0-1 0 0,0 1 1 0 0,-1 0-1 0 0,1 1 1 0 0,9-1-1 0 0,-5 1-903 0 0,1 1-1 0 0,-1 1 0 0 0,1 0 1 0 0,-1 0-1 0 0,20 6 0 0 0,-18-3-597 0 0</inkml:trace>
</inkml:ink>
</file>

<file path=ppt/ink/ink3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8:47.15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12 13 1896 0 0,'20'-13'4653'0'0,"-19"14"-4542"0"0,-1 0 0 0 0,0-1 0 0 0,0 1 0 0 0,1 0 1 0 0,-1-1-1 0 0,0 1 0 0 0,0 0 0 0 0,0 0 0 0 0,0 0 0 0 0,0-1 0 0 0,0 1 0 0 0,0 0 0 0 0,0 0 0 0 0,0-1 0 0 0,0 1 0 0 0,-1 0 0 0 0,1 0 0 0 0,0-1 0 0 0,0 1 0 0 0,-1 1 0 0 0,-157 180 3491 0 0,104-115-4439 0 0,-97 93 1 0 0,149-157 501 0 0,-1-1 0 0 0,1 0 0 0 0,-1-1 0 0 0,1 1 0 0 0,-1 0 0 0 0,0-1 0 0 0,0 1 0 0 0,1-1 0 0 0,-1 0 0 0 0,0 0 0 0 0,0 0 0 0 0,0 0-1 0 0,0-1 1 0 0,0 1 0 0 0,-1-1 0 0 0,1 0 0 0 0,-6 0 0 0 0,-3-4-2040 0 0</inkml:trace>
</inkml:ink>
</file>

<file path=ppt/ink/ink3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8:47.51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40 1576 0 0,'2'-7'769'0'0,"7"-16"1943"0"0,-8 22-2622 0 0,-1 1 1 0 0,1-1-1 0 0,0 0 1 0 0,-1 1 0 0 0,1-1-1 0 0,0 0 1 0 0,-1 1 0 0 0,1-1-1 0 0,0 1 1 0 0,0-1-1 0 0,-1 1 1 0 0,1-1 0 0 0,0 1-1 0 0,0 0 1 0 0,0-1-1 0 0,0 1 1 0 0,0 0 0 0 0,0 0-1 0 0,-1 0 1 0 0,1 0 0 0 0,0-1-1 0 0,0 1 1 0 0,0 1-1 0 0,0-1 1 0 0,1 0 0 0 0,14 3 305 0 0,-1 1 0 0 0,0 0 1 0 0,0 2-1 0 0,0-1 0 0 0,-1 2 0 0 0,0 0 1 0 0,0 1-1 0 0,23 16 0 0 0,100 90 715 0 0,-128-106-1047 0 0,14 13-26 0 0,-1 1-1 0 0,-1 1 1 0 0,-1 1-1 0 0,22 34 1 0 0,-37-42-1646 0 0</inkml:trace>
</inkml:ink>
</file>

<file path=ppt/ink/ink3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9:01.20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43 1404 0 0,'0'0'11184'0'0,"1"-1"-11142"0"0,-1 0-1 0 0,1 0 0 0 0,-1 0 0 0 0,0 0 0 0 0,1 1 1 0 0,0-1-1 0 0,-1 0 0 0 0,1 0 0 0 0,-1 0 0 0 0,1 1 1 0 0,0-1-1 0 0,0 0 0 0 0,1 0 0 0 0,38-18 82 0 0,1 3 0 0 0,1 1 0 0 0,49-10 0 0 0,-11 3-922 0 0,-63 17 303 0 0,29-10-1770 0 0,-19 2-2852 0 0</inkml:trace>
</inkml:ink>
</file>

<file path=ppt/ink/ink3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9:01.55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2 34 1140 0 0,'1'-2'1663'0'0,"4"-19"1796"0"0,-5 19-2765 0 0,2-7 1259 0 0,-9 42-527 0 0,3-20-1041 0 0,1 1 0 0 0,1 0-1 0 0,-2 22 1 0 0,5-19-103 0 0,0 1-1 0 0,0-1 0 0 0,2 0 0 0 0,0 0 0 0 0,1 0 1 0 0,9 24-1 0 0,-10-33-264 0 0,0-1 0 0 0,1 1 0 0 0,0-1-1 0 0,0 0 1 0 0,0 0 0 0 0,1 0 0 0 0,0-1 0 0 0,1 0 0 0 0,-1 0 0 0 0,1 0 0 0 0,0 0 0 0 0,1-1 0 0 0,-1 0-1 0 0,1 0 1 0 0,13 6 0 0 0,-18-10-204 0 0,1 0 1 0 0,-1 0-1 0 0,0 0 0 0 0,0-1 0 0 0,1 1 0 0 0,-1-1 0 0 0,1 0 0 0 0,-1 0 0 0 0,0 0 1 0 0,1 0-1 0 0,-1 0 0 0 0,1 0 0 0 0,-1 0 0 0 0,0-1 0 0 0,1 1 0 0 0,2-2 0 0 0,-2 1-422 0 0,0-1 0 0 0,0 1 0 0 0,-1-1 0 0 0,1 0 0 0 0,0 1 0 0 0,0-1 0 0 0,3-4 0 0 0,4-5-3051 0 0</inkml:trace>
</inkml:ink>
</file>

<file path=ppt/ink/ink3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9:01.91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0 78 256 0 0,'-14'-9'1536'0'0,"2"2"-436"0"0,0 0-256 0 0,4 1-152 0 0,-2-1 288 0 0,-6 0-475 0 0,8 0-453 0 0,16-2-2881 0 0</inkml:trace>
  <inkml:trace contextRef="#ctx0" brushRef="#br0" timeOffset="1">522 1 1784 0 0,'3'3'607'0'0,"-1"-1"-1"0"0,0 1 1 0 0,0 0-1 0 0,-1 1 1 0 0,1-1-1 0 0,0 0 1 0 0,-1 0-1 0 0,1 5 0 0 0,1 3 387 0 0,-1 1 0 0 0,-1-1 0 0 0,1 13-1 0 0,1 14 619 0 0,4 10-511 0 0,12 57-158 0 0,22 48-1077 0 0,-8-54-6766 0 0,-27-85 1475 0 0</inkml:trace>
</inkml:ink>
</file>

<file path=ppt/ink/ink3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9:02.74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3 341 804 0 0,'-1'-2'1786'0'0,"-2"-1"-1308"0"0,1 1-1 0 0,0-1 0 0 0,0 1 1 0 0,0-1-1 0 0,1 0 1 0 0,-1 1-1 0 0,1-1 0 0 0,-1 0 1 0 0,1 0-1 0 0,0-1 1 0 0,0 1-1 0 0,0-3 0 0 0,0 4-407 0 0,1 0 0 0 0,0 0 0 0 0,1 0-1 0 0,-1 1 1 0 0,0-1 0 0 0,0 0 0 0 0,1 0 0 0 0,-1 0-1 0 0,1 1 1 0 0,0-1 0 0 0,-1 0 0 0 0,1 1 0 0 0,0-1-1 0 0,0 0 1 0 0,0 1 0 0 0,0-1 0 0 0,0 1-1 0 0,0-1 1 0 0,1 1 0 0 0,-1 0 0 0 0,0 0 0 0 0,1-1-1 0 0,-1 1 1 0 0,3-1 0 0 0,16-10 47 0 0,0 1 0 0 0,1 1 1 0 0,1 1-1 0 0,34-10 0 0 0,13-6-49 0 0,-4-9 1580 0 0,-63 33-1570 0 0,-1 1-66 0 0,0-1 1 0 0,-1 0-1 0 0,1 1 0 0 0,0-1 1 0 0,0 1-1 0 0,0-1 0 0 0,-1 1 0 0 0,1-1 1 0 0,0 1-1 0 0,0-1 0 0 0,0 1 1 0 0,0 0-1 0 0,1-1 0 0 0,0 2-7 0 0,0-1 0 0 0,-1 0-1 0 0,1 1 1 0 0,0-1 0 0 0,0 1-1 0 0,-1 0 1 0 0,1-1 0 0 0,0 1-1 0 0,2 2 1 0 0,-3-2-7 0 0,17 5 73 0 0,-16-5-53 0 0,0 0-1 0 0,0 0 0 0 0,0-1 0 0 0,0 1 0 0 0,0 0 1 0 0,0-1-1 0 0,0 1 0 0 0,0-1 0 0 0,0 0 0 0 0,0 1 0 0 0,0-1 1 0 0,0 0-1 0 0,0 0 0 0 0,3-1 0 0 0,-3 0-21 0 0,1 0-1 0 0,0 0 0 0 0,-1 0 0 0 0,1 0 1 0 0,-1 0-1 0 0,1 0 0 0 0,-1-1 1 0 0,0 0-1 0 0,0 1 0 0 0,1-1 1 0 0,-1 0-1 0 0,0 0 0 0 0,-1 0 1 0 0,1 0-1 0 0,0 0 0 0 0,-1-1 0 0 0,1 1 1 0 0,-1 0-1 0 0,1-1 0 0 0,-1 1 1 0 0,0-1-1 0 0,0 0 0 0 0,0 1 1 0 0,-1-1-1 0 0,1 0 0 0 0,-1 1 1 0 0,1-1-1 0 0,-1 0 0 0 0,0 0 0 0 0,0 0 1 0 0,-1-4-1 0 0,1 3-18 0 0,0 0-1 0 0,-1 0 1 0 0,0 1-1 0 0,0-1 1 0 0,0 0 0 0 0,0 1-1 0 0,-1-1 1 0 0,1 1-1 0 0,-1-1 1 0 0,0 1 0 0 0,0 0-1 0 0,0 0 1 0 0,-1 0-1 0 0,1 0 1 0 0,-1 0-1 0 0,1 1 1 0 0,-1-1 0 0 0,0 1-1 0 0,0-1 1 0 0,0 1-1 0 0,0 0 1 0 0,-1 0 0 0 0,-5-2-1 0 0,5 3 46 0 0,0 0 0 0 0,0 0 0 0 0,0 0 0 0 0,0 1-1 0 0,0 0 1 0 0,0 0 0 0 0,0 0 0 0 0,0 0 0 0 0,0 1 0 0 0,0 0 0 0 0,0 0-1 0 0,1 0 1 0 0,-1 0 0 0 0,0 0 0 0 0,0 1 0 0 0,1-1 0 0 0,-1 1 0 0 0,1 0 0 0 0,-1 0-1 0 0,1 1 1 0 0,-6 4 0 0 0,3-2 5 0 0,1 0-1 0 0,-1 1 0 0 0,0 0 1 0 0,1 0-1 0 0,0 0 1 0 0,1 0-1 0 0,0 1 1 0 0,0 0-1 0 0,-6 12 1 0 0,8-11-1 0 0,0-1 1 0 0,0 1-1 0 0,1 0 1 0 0,0-1-1 0 0,0 1 1 0 0,1 0-1 0 0,0 0 1 0 0,0-1-1 0 0,1 1 0 0 0,0 0 1 0 0,0-1-1 0 0,1 1 1 0 0,0 0-1 0 0,0-1 1 0 0,4 10-1 0 0,-4-12-6 0 0,1 0-1 0 0,-1-1 0 0 0,1 1 0 0 0,0 0 1 0 0,0-1-1 0 0,0 0 0 0 0,1 0 0 0 0,-1 0 0 0 0,1 0 1 0 0,0 0-1 0 0,0-1 0 0 0,1 0 0 0 0,-1 0 1 0 0,0 0-1 0 0,1 0 0 0 0,0 0 0 0 0,0-1 1 0 0,0 0-1 0 0,0 0 0 0 0,0-1 0 0 0,0 1 0 0 0,7 0 1 0 0,-7-2-24 0 0,1 0 0 0 0,0 0 1 0 0,-1-1-1 0 0,1 0 1 0 0,-1 0-1 0 0,1 0 0 0 0,-1 0 1 0 0,0-1-1 0 0,1 0 0 0 0,-1 0 1 0 0,0-1-1 0 0,0 1 0 0 0,0-1 1 0 0,7-6-1 0 0,4-4-91 0 0,1 0 0 0 0,19-23 0 0 0,-30 29 100 0 0,68-74-503 0 0,-73 81 492 0 0,-1-1 1 0 0,1 1-1 0 0,0-1 0 0 0,-1 0 1 0 0,1 1-1 0 0,-1-1 1 0 0,1 1-1 0 0,0 0 0 0 0,-1-1 1 0 0,1 1-1 0 0,0-1 0 0 0,0 1 1 0 0,-1 0-1 0 0,1 0 1 0 0,0-1-1 0 0,0 1 0 0 0,-1 0 1 0 0,1 0-1 0 0,0 0 0 0 0,0 0 1 0 0,0 0-1 0 0,-1 0 0 0 0,1 0 1 0 0,1 0-1 0 0,-1 0 4 0 0,1 1 0 0 0,-1-1 1 0 0,0 0-1 0 0,1 0 0 0 0,-1 1 0 0 0,0-1 0 0 0,0 1 0 0 0,1-1 0 0 0,-1 1 0 0 0,0-1 0 0 0,0 1 1 0 0,0 0-1 0 0,0-1 0 0 0,0 1 0 0 0,1 0 0 0 0,-2 0 0 0 0,1 0 0 0 0,0 0 0 0 0,0 0 0 0 0,0 0 1 0 0,0 0-1 0 0,-1 0 0 0 0,1 0 0 0 0,0 1 0 0 0,-1-1 0 0 0,1 0 0 0 0,-1 0 0 0 0,1 1 0 0 0,-1 0 1 0 0,3 5 10 0 0,24 68 898 0 0,-21-48 732 0 0,-6-17 839 0 0,-3-19-1750 0 0,2 6-733 0 0,1-1 1 0 0,0 0 0 0 0,0 0-1 0 0,0 0 1 0 0,0 0 0 0 0,0 0-1 0 0,1 0 1 0 0,0 0 0 0 0,0 1-1 0 0,1-6 1 0 0,16-34-125 0 0,-14 34 94 0 0,1 0 1 0 0,1 0-1 0 0,-1 0 0 0 0,1 1 0 0 0,1-1 1 0 0,0 1-1 0 0,0 1 0 0 0,0 0 1 0 0,1 0-1 0 0,9-6 0 0 0,-14 10 26 0 0,1 1 0 0 0,0 0-1 0 0,0 0 1 0 0,0 0 0 0 0,0 0-1 0 0,0 1 1 0 0,1-1 0 0 0,-1 1 0 0 0,0 0-1 0 0,1 0 1 0 0,-1 1 0 0 0,1-1-1 0 0,-1 1 1 0 0,1 0 0 0 0,-1 1 0 0 0,0-1-1 0 0,1 1 1 0 0,-1-1 0 0 0,1 1-1 0 0,-1 0 1 0 0,0 1 0 0 0,0-1 0 0 0,0 1-1 0 0,0 0 1 0 0,0 0 0 0 0,5 3-1 0 0,-3 0 16 0 0,0-1 0 0 0,0 1 0 0 0,-1 0 0 0 0,1 1-1 0 0,-1-1 1 0 0,0 1 0 0 0,-1 0 0 0 0,1 0 0 0 0,-1 1-1 0 0,0-1 1 0 0,4 12 0 0 0,1 4 59 0 0,-2 1 0 0 0,7 29 0 0 0,-13-48-48 0 0,1 8 2098 0 0,2 1-6674 0 0,3-46-9163 0 0</inkml:trace>
</inkml:ink>
</file>

<file path=ppt/ink/ink3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9:03.12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 113 1868 0 0,'-4'-13'4102'0'0,"4"10"-3867"0"0,-1 0 0 0 0,1 0-1 0 0,0 0 1 0 0,0 0 0 0 0,0 0 0 0 0,1 0 0 0 0,-1 0 0 0 0,1 1 0 0 0,0-1 0 0 0,-1 0-1 0 0,1 0 1 0 0,1 0 0 0 0,-1 1 0 0 0,0-1 0 0 0,1 0 0 0 0,2-3 0 0 0,-1 2-123 0 0,0 0 0 0 0,1 1 0 0 0,-1 0 0 0 0,1 0 0 0 0,0 0 0 0 0,0 0 0 0 0,0 0 0 0 0,0 1 0 0 0,8-4 0 0 0,-7 3-72 0 0,1 1 1 0 0,-1 0-1 0 0,1 0 1 0 0,-1 1-1 0 0,1 0 1 0 0,0 0-1 0 0,-1 0 1 0 0,1 1-1 0 0,0 0 1 0 0,0 0 0 0 0,0 0-1 0 0,-1 1 1 0 0,1-1-1 0 0,0 1 1 0 0,-1 1-1 0 0,1-1 1 0 0,10 5-1 0 0,-10-2 10 0 0,-1-1-1 0 0,0 1 1 0 0,0 0-1 0 0,0 0 1 0 0,0 1-1 0 0,-1-1 1 0 0,1 1-1 0 0,-1 0 0 0 0,0 0 1 0 0,-1 1-1 0 0,1-1 1 0 0,-1 1-1 0 0,4 11 1 0 0,-1 2-230 0 0,0-1 1 0 0,-2 1-1 0 0,3 23 1 0 0,-1-5-1575 0 0,-1-16-3135 0 0,-4-11 2149 0 0</inkml:trace>
</inkml:ink>
</file>

<file path=ppt/ink/ink3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9:03.46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0 81 680 0 0,'-1'-1'684'0'0,"-14"-19"6591"0"0,14 20-7202 0 0,1 0 1 0 0,0-1-1 0 0,-1 1 0 0 0,1-1 0 0 0,0 1 0 0 0,0-1 0 0 0,-1 1 0 0 0,1-1 0 0 0,0 1 0 0 0,0-1 0 0 0,0 1 1 0 0,-1-1-1 0 0,1 1 0 0 0,0-1 0 0 0,0 1 0 0 0,0-1 0 0 0,0 1 0 0 0,0-1 0 0 0,0 1 0 0 0,0-1 1 0 0,0 0-1 0 0,1 1 0 0 0,-1-1 0 0 0,0 1 0 0 0,0-1 0 0 0,0 1 0 0 0,0-1 0 0 0,1 1 0 0 0,-1-1 0 0 0,0 1 1 0 0,1 0-1 0 0,-1-1 0 0 0,0 1 0 0 0,1-1 0 0 0,-1 1 0 0 0,0 0 0 0 0,1-1 0 0 0,-1 1 0 0 0,1-1 1 0 0,-1 1-1 0 0,1 0 0 0 0,24-9 120 0 0,1 1 1 0 0,-1 2 0 0 0,1 1 0 0 0,0 0 0 0 0,29 0-1 0 0,-48 5-172 0 0,-2-1 102 0 0,0 0 0 0 0,-1 1 0 0 0,1 0 0 0 0,-1 0 0 0 0,1 0 0 0 0,0 0 0 0 0,-1 1 0 0 0,1 0 0 0 0,-1 0 0 0 0,1 0 0 0 0,-1 1 0 0 0,1-1 0 0 0,-1 1 0 0 0,0 0 0 0 0,0 0 0 0 0,0 1 0 0 0,0-1 0 0 0,0 1 0 0 0,0 0 0 0 0,-1 0 0 0 0,0 0 0 0 0,1 0 0 0 0,-1 1 0 0 0,0-1 0 0 0,0 1 0 0 0,3 6 0 0 0,-1 1 202 0 0,0 0 0 0 0,-1 0 1 0 0,-1 1-1 0 0,1 0 1 0 0,-2 0-1 0 0,0 0 1 0 0,0 0-1 0 0,0 20 0 0 0,-1-2 152 0 0,-1 0-1 0 0,-5 36 1 0 0,4-56-409 0 0,-1 0 1 0 0,0 0-1 0 0,-1 0 0 0 0,0 0 1 0 0,0 0-1 0 0,-1-1 0 0 0,0 1 1 0 0,-1-1-1 0 0,0 0 1 0 0,-8 9-1 0 0,10-14-121 0 0,0 0 1 0 0,-1-1-1 0 0,0 1 1 0 0,0-1-1 0 0,0 0 0 0 0,0 0 1 0 0,-1 0-1 0 0,1-1 1 0 0,-1 1-1 0 0,1-1 0 0 0,-1 0 1 0 0,0 0-1 0 0,0-1 1 0 0,0 1-1 0 0,0-1 0 0 0,0 0 1 0 0,0-1-1 0 0,0 1 1 0 0,0-1-1 0 0,-10-1 0 0 0,9 1-552 0 0,-1-1 0 0 0,1-1-1 0 0,-1 1 1 0 0,1-1 0 0 0,-1 0-1 0 0,-10-6 1 0 0,11 6-425 0 0,1-2 1 0 0,-1 1 0 0 0,1-1-1 0 0,0 0 1 0 0,0 0-1 0 0,0 0 1 0 0,-5-7 0 0 0,-1-5-4314 0 0</inkml:trace>
</inkml:ink>
</file>

<file path=ppt/ink/ink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2:43.41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4 1288 0 0,'2'-1'459'0'0,"1"0"1"0"0,-1 1-1 0 0,1-1 0 0 0,0 1 0 0 0,-1-1 1 0 0,1 1-1 0 0,-1 0 0 0 0,1 0 0 0 0,0 0 1 0 0,-1 1-1 0 0,1-1 0 0 0,2 1 1 0 0,-4 0-338 0 0,1-1 1 0 0,-1 1 0 0 0,1 0 0 0 0,-1 0 0 0 0,0 0 0 0 0,0 0 0 0 0,0 0 0 0 0,1 0 0 0 0,-1 0 0 0 0,0 0 0 0 0,0 0 0 0 0,0 0 0 0 0,-1 0 0 0 0,1 1-1 0 0,0-1 1 0 0,0 0 0 0 0,-1 1 0 0 0,1-1 0 0 0,-1 1 0 0 0,1-1 0 0 0,0 3 0 0 0,22 94 1510 0 0,-9-33-3383 0 0,-14-63 1614 0 0,6 21-4522 0 0</inkml:trace>
</inkml:ink>
</file>

<file path=ppt/ink/ink3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59:03.81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99 1020 0 0,'2'-2'1786'0'0,"4"-3"-1189"0"0,0 0 0 0 0,0 1 0 0 0,0-1 1 0 0,1 1-1 0 0,0 1 0 0 0,-1 0 1 0 0,1 0-1 0 0,9-3 0 0 0,62-15 1360 0 0,108-12 403 0 0,-120 24-596 0 0,-1-3 0 0 0,105-34 0 0 0,-154 41-1927 0 0,-1-2 0 0 0,0 0 1 0 0,20-12-1 0 0</inkml:trace>
</inkml:ink>
</file>

<file path=ppt/ink/ink371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767" units="cm"/>
          <inkml:channel name="Y" type="integer" max="32767" units="cm"/>
          <inkml:channel name="F" type="integer" max="8191" units="dev"/>
          <inkml:channel name="T" type="integer" max="2.14748E9" units="dev"/>
        </inkml:traceFormat>
        <inkml:channelProperties>
          <inkml:channelProperty channel="X" name="resolution" value="1290.03943" units="1/cm"/>
          <inkml:channelProperty channel="Y" name="resolution" value="2064.71338" units="1/cm"/>
          <inkml:channelProperty channel="F" name="resolution" value="0" units="1/dev"/>
          <inkml:channelProperty channel="T" name="resolution" value="1" units="1/dev"/>
        </inkml:channelProperties>
      </inkml:inkSource>
      <inkml:timestamp xml:id="ts0" timeString="2021-12-11T11:59:47.288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4066 12270 41 0,'-10'2'124'0,"0"-1"-17"15,10-1-15-15,-14-2-26 0,14 2-52 0,-12-5 44 16,6 2-52-16,6 3 35 0,-8-10-71 0,4 5 29 16,2 0-82-16,-1-2-58 0,3 0 40 0</inkml:trace>
  <inkml:trace contextRef="#ctx0" brushRef="#br0" timeOffset="579.01">3569 11542 171 0,'-19'-3'193'0,"2"2"-81"0,-2-2 9 16,1 3-57-16,0 0 11 0,-1 0-11 0,1 0-16 15,0 3-14-15,2-1-9 0,-1 2-6 0,2 0 0 16,-2 2-11-16,3 3-3 0,-3 1-5 0,5 4-8 16,-2 0-6-16,2 3-2 0,-1 1 3 0,4 3-9 15,2 0-5-15,-1 2-19 0,0 0-5 0,2 6-9 16,2 0-15-16,0-3-123 0,2 2 59 0</inkml:trace>
  <inkml:trace contextRef="#ctx0" brushRef="#br0" timeOffset="854.06">3644 12288 41 0,'-10'1'288'0,"10"-1"-66"0,0 0-47 16,0 0-39-16,0 0-52 0,-9 1 9 0,9-1-20 15,0 0-15-15,0 0-10 0,0 0-41 0,0 0 29 16,0 0-37-16,4-3 29 0,-4 3-43 0,9-1 7 15,-9 1-63-15,10-3 3 0,-10 3-46 0,13-1-43 16,-13 1-112-16,14-2 84 0</inkml:trace>
  <inkml:trace contextRef="#ctx0" brushRef="#br0" timeOffset="2400.13">2139 15079 233 0,'0'0'243'15,"-13"-3"-36"-15,13 3 8 0,-15-2-29 0,15 2-13 16,-17-4-23-16,17 4 7 0,-14-4-46 0,7 1 22 16,7 3-25-16,-13-5 2 0,13 5-48 0,-14-4 40 15,14 4-55-15,-9-3 22 0,9 3-44 0,-9-3 16 16,9 3-37-16,0 0 19 0,-9-3-32 0,9 3 38 15,0 0-38-15,0 0 32 0,0 0-29 0,0 0 25 16,13 3-34-16,-13-3 42 0,19 0-27 0,-8 1 23 16,5-1-34-16,4 0 35 0,2 0-36 0,1-1 37 0,1 1-31 15,4-1 33-15,2-1-7 0,-1 1 0 16,2 1-2-16,-2-1-4 0,3-1-8 0,-1 1 3 16,-1-1-3-16,1 1 2 0,0-2-3 0,-2 1 1 15,-1 0-2-15,0 1-4 0,-2-2 3 0,-6 3-3 0,1-1-1 16,-2-1 3-16,-5 2 1 0,0-1 6 0,-3 1 30 15,1 0 11-15,-12 0-3 0,18-1-11 0,-18 1-7 16,9-1-3-16,-9 1-14 0,0 0 2 0,0 0-3 16,0 0 0-16,0 0-3 0,0 0-17 0,0 0-35 15,0 0-49-15,0 0-66 0,0 0-21 0,0 0-64 16,0 0-60-16,-8 2-295 0,8-2-111 0</inkml:trace>
  <inkml:trace contextRef="#ctx0" brushRef="#br0" timeOffset="3634.24">2669 13651 46 0,'0'0'200'16,"-12"-5"-50"-16,12 5-17 0,-12-9-11 0,4 6-29 15,-1-2-13-15,0 0-2 0,0 0-13 0,-2 2 33 16,2-2-16-16,-1 0-17 0,-3 1-16 0,2 1-17 16,-2-1-7-16,0 2-7 0,-1-1-1 0,0 2-10 15,0 0 0-15,-4 1-6 0,1 1 3 0,-2 1-4 0,0 1 6 16,1 1-14-16,-5-1 7 0,0 4-4 0,1 1 3 16,-1-1-7-16,0 2 2 0,-2 3 6 0,-2 1 1 15,4 2-1-15,-3 0-7 0,2 3 3 0,1 0 3 16,-1 6 1-16,-2 1 3 0,2 1 1 0,1-1-7 15,1 4 7-15,3-2-5 0,0 1 2 0,2-2-1 16,2-1 4-16,2 2-4 0,-1 0-3 0,4 0 4 0,0 0 5 16,-2 0-4-16,4 1 2 0,2-2-3 0,-3 3 9 15,4-5-5-15,0 1 16 0,2 1-4 0,1-1 15 16,-1 1-8-16,3-1 4 0,0 0-17 0,0 1 7 16,3-1-13-16,1-1 5 0,-2 1-5 0,2 0 8 15,4-1-11-15,-2 2 7 0,3-1 17 0,-1 0 5 16,3 2-18-16,-2-4 13 0,0-1-8 0,4 2 5 0,-3-1-17 15,3 0 35-15,-3-3 7 0,2-1 5 0,-1 0-29 16,3 2 18-16,-1-3-21 0,1-1 11 0,-1 0-31 16,1-1 24-16,0 0-17 0,1-1 12 0,-2-1-17 15,4 0 6-15,-3-1-8 0,1 0 16 0,-1-1-20 16,1 1 24-16,-1-3-21 0,-1 1 20 0,1-3-21 16,-1 2 22-16,1-2-22 0,-1 1 14 0,2-2-15 0,-2-1 19 15,1 0-23-15,0 0 21 0,-1-1-23 0,1 1 21 16,0 0-20-16,0-1 23 0,-1-1-23 0,1 0 16 15,-4 0 8-15,3 0-5 0,0 1-22 0,0-3 21 16,2 1-23-16,-1 1 26 0,0-2-2 16,0 2 3-16,0-2-9 0,3 0 7 0,-1 0-3 0,1-1-3 15,1 0-21-15,-3 1 20 0,4-1-25 0,-2-1 31 16,2 1-25-16,0-1 29 0,1 0-30 0,-1 0 31 16,1 1-3-16,-2-1 0 0,1 1-4 0,-1 0-13 15,1 1 9-15,-1-1 3 0,-1-1-1 0,2 1-2 16,-2 0 2-16,0 1 0 0,0-2-6 0,1 0 4 15,-4 0-3-15,3 0 2 0,-2 0-3 0,0-2 3 16,3 1-3-16,-1-1 2 0,-2 0 1 0,2-1-1 16,-1 1 2-16,-2-3-1 0,3 1 1 0,-3-1-1 15,1-1 6-15,-1 1 57 0,2-1-12 0,-3-1-14 16,1 0-7-16,0 0-6 0,-2-3-11 0,2 3-5 0,-1-4 7 16,0 3-5-16,0-3-4 0,-3 0-2 15,3 0 9-15,-4 1 13 0,1-2-12 0,-1-2-1 16,-1 1 1-16,-2 0-5 0,-1-2 1 0,3 1-3 15,-3-1 0-15,-1-1-15 0,0-1 11 0,-2 0-10 0,-2-1 12 16,3-1-13-16,-3 0 6 0,0 0-2 0,-2-3 0 16,1-2 1-16,-1 1 8 0,-1-1-11 0,-1-1 9 15,-1 0-10-15,0-4 8 0,0 0-9 0,-2 0 7 16,1-3-11-16,0 1 13 0,-3-1-3 0,1 2-5 16,-1-2 5-16,-2-5-12 0,-2 2 8 0,0 0 1 15,-2-1 5-15,-2 2-6 0,-3-2 3 0,-2 0 2 16,-4-1-17-16,-4-6 12 0,-5 1-8 0,-2 3 8 15,-4 0-8-15,-1 3 11 0,-4 3-9 0,-2 1 1 16,-2 5-5-16,-4 4 1 0,-1 4 3 0,6 6 13 16,-3 3-36-16,-3 5-36 0,-2 5-65 0,-12 8-105 15,-4 6-144-15,-5 8-189 0,-4 4-82 0</inkml:trace>
  <inkml:trace contextRef="#ctx0" brushRef="#br0" timeOffset="11557.13">19733 14504 58 0,'-4'-4'169'0,"4"4"-15"0,-11-7-37 0,11 7-19 15,-12-7-17-15,7 3-17 0,-2 1-14 0,0-1-12 16,-2 1 1-16,3-1 4 0,-3-1-10 0,1 3-2 16,1-2 5-16,-1 1-16 0,-1 0-1 0,1-2 0 15,-1 2-5-15,2-1 2 0,-4 1-6 0,2-3 0 16,2 4-3-16,-3-3 2 0,1 2-5 0,0-2 3 16,0 0-3-16,-3 0 28 0,3 1-36 0,-2-1-4 15,-1 1-2-15,1-1-5 0,-2 2-10 0,0-1-4 16,0 0-14-16,-2 1 6 0,0-2 7 0,-2 3 0 15,1 0-6-15,0-1 11 0,-2 1-1 0,3 1 1 16,0-2 4-16,-1 2-11 0,1 1-2 0,0-2-9 16,-2 2 0-16,2 2-17 0,-3-2 11 0,0 2 4 15,-1 0 15-15,0 0-11 0,1 0 13 0,-1 2 9 0,-1-1 10 16,1 2 19-16,-2 0-12 0,1-1 0 16,-1 2-2-16,-1 1-2 0,1-1-9 0,0-1-16 15,0 1 8-15,3-1-30 0,-1 0-36 0,0-1 30 16</inkml:trace>
  <inkml:trace contextRef="#ctx0" brushRef="#br0" timeOffset="12725.07">19774 14832 104 0,'0'-9'181'0,"0"1"-51"0,0 0-22 16,0-2-17-16,-1 0-22 0,-1 0-12 0,1 0-12 16,0 0-9-16,-3 1-4 0,1-2-10 0,1 1-3 15,-1 1-14-15,-3-2-4 0,2 1-11 0,-1-1-21 16,1 2-13-16,-1-1-10 0,0-2-16 0,-3 1-5 15,3-2-15-15,0 4-75 0,-1-2 42 0</inkml:trace>
  <inkml:trace contextRef="#ctx0" brushRef="#br0" timeOffset="19669.63">8089 12550 265 0,'3'-6'297'0,"-3"6"-96"16,1-8 4-16,-1 8-44 0,4-7 35 0,-4 7-51 16,2-8 19-16,-2 8-49 0,3-9 12 0,-3 9-53 15,4-7 23-15,-4 7-20 0,3-8 5 0,-3 8-3 16,1-6-9-16,-1 6-7 0,1-6-11 0,-1 6-6 15,0 0-13-15,5-7-6 0,-5 7-6 0,0 0 5 16,0 0-5-16,3-7-6 0,-3 7 2 0,0 0 11 16,0 0 3-16,0 0 8 0,0 0 0 0,0 0-14 15,-3-7-7-15,3 7-5 0,0 0-6 0,-13-1 7 16,13 1-9-16,-11 1-4 0,11-1 1 0,-17 3-1 16,7-1-1-16,2 1 1 0,-4 0-7 0,0 0 7 15,3 1-3-15,-4 1 6 0,3 0-4 0,0 2-1 0,0-1-5 16,-1 1 0-16,4 2 4 0,-1-2 4 15,2 1 1-15,-1 1-6 0,3-1-4 0,2 3 9 16,1-3-5-16,1 2 1 0,0-2 4 0,2 3-3 0,2-1 3 16,1 0 2-16,2 2-6 0,-1-3 3 0,4 3 1 15,-2-1-2-15,1 0 0 0,0-1 1 16,0 1-2-16,-3 0 1 0,2-1 0 0,-2-2 2 16,0 2 1-16,0-3-1 0,-4 1 2 0,1-2 0 0,-2 2-1 15,2-1-2-15,-3-7 9 0,-3 12-9 0,3-12 0 16,-4 10 1-16,-1-4-2 0,0-3 1 0,5-3-1 15,-14 6 15-15,5-4-15 0,1 2 0 0,-3-3 1 16,2 1 2-16,9-2-3 0,-19 1 4 0,19-1 0 16,-18-1-1-16,18 1 1 0,-17 0 2 0,17 0-4 15,-14-2-5-15,14 2-23 0,-14-2-28 0,14 2-38 16,-10-2-36-16,10 2-48 0,0 0 3 0,-12-1-66 16,12 1 19-16,0 0-108 0,0 0-150 0,0 0 38 15</inkml:trace>
  <inkml:trace contextRef="#ctx0" brushRef="#br0" timeOffset="19918.52">8277 12720 456 0,'0'0'366'0,"-3"6"-72"0,3-6-64 0,-1 8-50 0,-1-3-19 16,-2 3 13-16,0-1-47 0,3 1-21 0,-3 1-25 16,0 0-13-16,2 1-14 0,-1 0-14 15,-1-1-5-15,2 1-4 0,-1-1 0 0,-2 1-38 0,4-2 28 16,-2-1-83-16,1 1-25 0,-1-3-62 16,3-5-49-16,-4 12-75 0,4-12-252 0,-4 5-28 0</inkml:trace>
  <inkml:trace contextRef="#ctx0" brushRef="#br0" timeOffset="20127.53">8165 12787 15 0,'0'0'435'15,"0"0"-147"-15,0 0 10 0,0 0-83 0,0 0-4 16,0 0-19-16,2 7-34 0,-2-7 15 0,7 9-24 16,-7-9-28-16,11 11-18 0,-6-5-1 0,3 0-54 15,-2 0 26-15,3 1-49 0,0 0 31 0,0 2-41 16,1-1 35-16,-2-2-45 0,1 0 43 0,0 0-59 0,1-1-5 15,-2 1-79-15,0-1 8 0,0-1-44 16,-8-4 14-16,13 5-47 0,-13-5 5 0,11 2-9 0,-11-2-12 16,11-1-13-16,-11 1 9 0,8-3-10 0,-8 3-147 15,6-8 201-15</inkml:trace>
  <inkml:trace contextRef="#ctx0" brushRef="#br0" timeOffset="20507.53">8372 12852 381 0,'1'-6'131'16,"-1"6"44"-16,4-12-70 0,-3 7 53 15,2-1 9-15,-3 6 18 0,2-9-21 0,-2 9-25 0,3-7-37 16,-3 7-27-16,1-6-22 0,-1 6-16 0,0 0 58 15,0 0 47-15,0 0-32 0,0 0-14 16,10 2 19-16,-10-2-57 0,4 7 29 0,-4-7-45 0,5 9 40 16,-5-9-2-16,8 7 15 0,-3-1-46 0,1 0 17 15,1-1-34-15,-1-1 19 0,1 0-35 0,-1 1 23 16,4-2-30-16,-2 1 27 0,2-2-34 0,-10-2 30 16,21 1-28-16,-21-1 24 0,20-1-1 0,-10-2-6 15,0-2-7-15,1-1 2 0,-1 0-6 0,0-2-2 16,0-1-1-16,-3 0-6 0,-1 0-1 0,-1 3-1 15,0-1-1-15,2 2-7 0,-7 5-1 0,7-7 10 16,-7 7-9-16,0 0 1 0,0 0 1 0,8 6 5 0,-8-6-3 16,3 13 5-16,-1-5 1 0,0 3-26 0,0 0 31 15,-1 2-24-15,3 2 29 0,-1-1-26 0,-2-2 33 16,0 3-8-16,-1-2 0 0,0-1 1 0,-1 0 20 16,-2 0 15-16,0-3-8 0,-2 1 1 15,-1-2-12-15,0-1-5 0,-2-2 2 0,-2-1-7 16,10-4-22-16,-14 2 22 0,14-2-18 0,-18-3 18 0,10-2-25 15,2-1 23-15,0 0-37 0,-1-1-1 0,3-2-44 16,2 1 9-16,-1-1-55 0,2 2-4 0,0 0-74 16,1 0-3-16,0 7-47 0,1-11-54 0,-1 11-105 15,5-9-180-15,-5 9-95 0</inkml:trace>
  <inkml:trace contextRef="#ctx0" brushRef="#br0" timeOffset="20987.92">8101 13147 200 0,'0'0'394'0,"-8"-6"-73"0,8 6-56 0,-5-8-56 15,5 8-21-15,-6-8 23 0,6 8-11 0,-4-7-35 16,4 7-33-16,-4-8-6 0,4 8-20 0,0-7-19 16,0 7-19-16,0 0-10 0,3-7-15 0,-3 7 54 15,0 0 7-15,12 2-17 0,-12-2 5 0,12 9 3 16,-6-5-17-16,3 3-16 0,-3 1 3 0,2-1-11 16,1 3-8-16,-1 0-8 0,-1 0-7 0,1 2-7 15,-1-1-2-15,-1 1-1 0,0 0-5 0,2 0-1 16,-3 0-3-16,-1 0-1 0,1-1-55 15,0 0-38-15,-2-2-29 0,-1 1-33 0,2-2-43 0,-3-2 0 16,1 2-51-16,0-2 20 0,-2-6-64 0,-1 11 0 0,1-11-336 16,-4 7-131-16</inkml:trace>
  <inkml:trace contextRef="#ctx0" brushRef="#br0" timeOffset="21388.95">8032 13283 72 0,'0'0'303'0,"0"0"-93"16,-10-4 15-16,10 4-65 0,0 0 12 0,0 0-66 15,-9-2 18-15,9 2-47 0,0 0 24 0,0 0-43 16,-7 5 48-16,7-5-37 0,-1 7 5 0,1-7-25 16,1 8 82-16,-1-8-46 0,7 10 9 0,-3-5-41 15,1 1 2-15,2 1 0 0,0-1 5 0,-1-1-17 16,3 2 2-16,1-2 34 0,-1-1-22 0,0 1-7 15,1-1-11-15,2 0-8 0,-3-2-5 0,2-1 4 16,-11-1-9-16,18 1-7 0,-18-1 1 0,19-2-1 16,-11 0 2-16,1-2-6 0,1 0 2 0,-2-2-7 0,-2 1 6 15,1-2 5-15,-1 0 2 0,-1-1 1 16,0 0 19-16,-2 0-11 0,-1-2-1 0,2 3-3 16,-3-2-8-16,2 2 1 0,-3 0-2 0,4-2 1 15,-3 2-7-15,-1 0-4 0,1 1 5 0,1-1-4 0,-2-2 0 16,0 3-3-16,1-1 7 0,-1 0-9 0,0 7 4 15,0-12-1-15,0 12-1 0,0-10-4 16,0 10-61-16,1-9 8 0,-1 9-41 0,0-7-16 0,0 7-6 16,0 0-15-16,0 0-36 0,0 0-2 0,0 0-67 15,0 0 5-15,0 0-102 0,-10 1-139 0,10-1 39 16</inkml:trace>
  <inkml:trace contextRef="#ctx0" brushRef="#br0" timeOffset="22416.53">8312 12689 50 0,'0'0'346'0,"0"0"-52"0,0 0-95 16,0 0 20-16,0 0-66 0,-13 2-4 0,13-2-53 15,-5 7 36-15,5-7-45 0,-8 11-14 0,6-4-12 16,-1 2 29-16,-1-1-10 0,0 2-13 0,2 1-9 15,-5 1 24-15,2 1 5 0,0 0-20 0,0 0-48 16,1 1 31-16,-1-1-43 0,-1 1 41 0,-1 1-45 16,2-1 30-16,0-1-39 0,-1 3 37 0,-2-3-2 15,3 0-5-15,0 0-14 0,-2-1-42 0,2 1-33 16,-1-3-29-16,2-1-34 0,-1-1-30 0,1-1-24 16,2-1-45-16,2-6-320 0,-7 7-57 0</inkml:trace>
  <inkml:trace contextRef="#ctx0" brushRef="#br0" timeOffset="22634.09">8105 12807 93 0,'0'0'337'0,"0"0"-127"0,0 0 8 0,12 3-52 16,-12-3-25-16,9 8-21 0,-2-3-20 0,-1 1-16 15,2-1-17-15,-2 2-10 0,3 0-12 16,-1 2-6-16,1-1-5 0,0 2-4 0,0-1-4 0,0 0-8 16,1 1-47-16,-1-1-59 0,1 1-70 0,-1-2-316 15,-1-1 39-15</inkml:trace>
  <inkml:trace contextRef="#ctx0" brushRef="#br0" timeOffset="24100.39">8677 13571 56 0,'0'0'399'0,"0"0"-89"0,0 0-77 0,0-8-46 16,0 8-42-16,0 0 25 0,-1-6 10 0,1 6-24 16,0 0-12-16,-2-6-32 0,2 6-19 0,0 0-23 15,-1-8-4-15,1 8 13 0,0 0 1 0,0-8-12 16,0 8-15-16,0 0-8 0,-5-6-9 0,5 6-6 0,0 0-11 16,0 0-7-16,-7-3-4 0,7 3-2 15,0 0-2-15,-13 2-2 0,13-2 7 0,-13 5-7 0,13-5-4 16,-13 4-36-16,4 2 45 0,0-3-2 15,2 2-1-15,-1 1-38 0,0-1 44 0,-2 2-43 0,1 0 45 16,0 0-41-16,-1 3 45 0,4-3-42 16,-2 4 49-16,0-3-42 0,1 3 38 0,-1 0-45 15,3-1 9-15,0 3 43 0,-1-4-46 0,3 3 44 0,-1-1-26 16,0 2 21-16,2-1-46 0,-1 0 44 0,0 3-40 16,2-2 41-16,0 2-41 0,-2 0 46 0,2 1-9 15,1-1-5-15,-1 2 2 0,1-2 0 0,0 1-8 16,0 1-4-16,0 0 6 0,1 0-3 0,-1 1 0 15,0-2-1-15,1 2-1 0,1 2 2 0,-1-2-1 16,0 0 2-16,-1 0-2 0,3 1-1 0,-2-1-1 16,2 0 6-16,-1 0 3 0,-2 0-5 0,3-1-4 15,-1 0 3-15,3-2-1 0,-4 0 2 0,2 0 0 16,1 0 5-16,-1-4-47 0,-1 1 47 0,2-1-38 16,-1-1 42-16,0 1-39 0,1-2 76 0,1 1-17 0,-1-3 32 15,1 2-56-15,-1-2 35 0,1 0-45 16,-1 0 40-16,2-1-45 0,-1 0 39 0,2 0-44 15,-2-1 42-15,1-1-46 0,3 2 42 0,-4-3-37 16,3 1 35-16,0-1-42 0,1 0 43 0,0 0-43 0,-2 0 41 16,4-2-35-16,-1 1 40 0,0 0-35 15,-1-1 28-15,-9-1-41 0,23-1 40 0,-23 1-4 16,24-2-2-16,-11 1 2 0,0-1-9 0,0-2 5 0,-1 0-5 16,2 1-2-16,2-2-1 0,-2 0 0 0,-1-1 0 15,3 2-3-15,-3-2 5 0,1-2-13 0,0 1 12 16,0 0 2-16,-1 0 2 0,0-3-6 0,-1 0-11 15,0-1 30-15,1 1 3 0,0-3 0 0,-1 0-2 16,0 1 6-16,-2-3-4 0,3-1 4 0,-3 2-2 16,-1 0-7-16,1-3 23 0,-1 2-2 0,-2 1 2 15,-1 1-6-15,2-1 3 0,-2-1-3 0,-2-1 27 16,1 2-15-16,-1-1-8 0,0 1 6 0,-3-1-7 16,4-1 1-16,-4 1-20 0,-1 1 6 0,0 1-13 15,0-1 11-15,0-1-18 0,-2-1 10 0,-2 1-6 16,3 0 3-16,-2-1-17 0,-2-1 17 0,1 2-17 15,-1 0 14-15,1-1-17 0,-1 2 14 0,-1-3-16 16,-2 3 15-16,3-2-13 0,-3 1 11 0,-2-1-1 0,1 0 1 16,0 0-3-16,-2 1-1 0,-1 1-1 15,-1-1-3-15,1 1-3 0,-3 1-12 0,0-1-12 16,1 3-5-16,-2-3-6 0,0 2-11 0,0 0 7 16,0 1 2-16,-3 0-25 0,2 2 10 0,0-1-20 0,-1 3 6 15,1 0-24-15,0 1 12 0,2 0-24 0,-1 0-19 16,0 2-16-16,0 1-20 0,0 0-29 0,2 2-13 15,0 0-17-15,-1 2-39 0,2-1-40 0,-1 1-203 16,0 2 3-16</inkml:trace>
  <inkml:trace contextRef="#ctx0" brushRef="#br0" timeOffset="185359.94">13269 13169 94 0,'0'0'233'0,"-5"5"-13"0,5-5-49 0,-5 10-41 16,1-2-20-16,0 1 4 0,0 1 5 0,-1 2-26 0,1 2-17 16,-1 1-16-16,1-2-10 0,-2 2-6 15,2 1-9-15,-1-1-8 0,1 0-2 0,-1 0 1 16,1 1-6-16,-2-1-1 0,2-2 0 0,-1 2-1 0,1-3 5 15,0-1-18-15,-1-1-37 0,3 1-43 0,-2-4-11 16,0 0-41-16,0-1-103 0,4-6-145 16,-9 4 170-16</inkml:trace>
  <inkml:trace contextRef="#ctx0" brushRef="#br0" timeOffset="185719.09">13130 13226 56 0,'11'1'248'0,"-11"-1"-67"0,13 7-33 0,-4-1 10 0,1 2-14 16,2 2-20-16,2 0-12 0,0 1-14 0,1 3-17 16,-1-1-10-16,3 0 38 0,-2 1-12 0,2 1-20 15,-2-2-14-15,2-1-14 0,-3 2-11 0,-3-4-4 16,2 1-32-16,-1-1 24 0,-1-2-30 0,-1-1 28 16,-3 0-24-16,-1-1 65 0,3-1 55 0,-4 1 50 0,-5-6-10 15,9 5-44-15,-9-5-10 0,12-1-30 16,-12 1-10-16,10-7-20 0,-5 0-3 0,-1 0-20 15,0-2 8-15,-2 0-18 0,2-3 3 0,-3 0-11 16,4-2 9-16,-3-1-13 0,-1 0 47 0,0 0-12 16,2-2 8-16,-1 1-19 0,0-1 11 0,-1 0-13 15,0 2 28-15,0-1-20 0,1 1 7 0,-1 1-4 0,0 2 3 16,1 1-4-16,0 1-7 0,-2 0-5 16,0 2-5-16,1 1-3 0,1-1-8 0,-2 8-1 0,1-12-12 15,-1 12-46-15,5-9-1 0,-5 9-29 0,8-7-35 16,-2 3-38-16,-6 4-48 0,15-3-5 0,-15 3-53 15,16 0-14-15,-16 0-52 0,18 0-223 0,-18 0-62 16</inkml:trace>
  <inkml:trace contextRef="#ctx0" brushRef="#br0" timeOffset="185875.09">13757 13128 329 0,'0'0'299'0,"0"0"-98"0,0 0-20 16,12-1-67-16,-12 1 6 0,0 0-53 0,14-2 9 15,-14 2-39-15,11 0 22 0,-11 0-38 0,13 1 5 16,-13-1-84-16,13 2 11 0,-13-2-29 0,13 5-21 16,-8 0-35-16,-5-5-35 0,9 7-130 0,-9-7 242 15</inkml:trace>
  <inkml:trace contextRef="#ctx0" brushRef="#br0" timeOffset="186014.09">13794 13259 196 0,'-5'5'302'0,"5"-5"-35"0,-6 7-27 16,6-7-18-16,-8 5-31 0,8-5-38 15,-5 3-1-15,5-3-47 0,0 0-3 0,0 0-44 0,0 0 10 16,6 5-35-16,-6-5 19 0,16-1-27 0,-16 1-3 16,19-1-72-16,-8-1-13 0,2 1-46 0,0 1-41 15,-3-1-38-15,3 0-49 0,1-1-202 0,-4-1 88 16</inkml:trace>
  <inkml:trace contextRef="#ctx0" brushRef="#br0" timeOffset="186313.68">14063 13111 31 0,'7'-7'310'0,"1"0"-110"0,1 2-6 0,1 0-61 15,-1 2 3-15,0 1-57 0,-9 2 10 0,19-2-40 16,-10 6 29-16,0-1-37 0,-1 4 26 0,-2 2 28 16,1 2 9-16,-4 2-46 0,0-1 14 0,-2 0 0 15,-1 2 8-15,-1 1-33 0,0 1 47 0,-2-1 0 16,1 0-14-16,-2 0-32 0,0-1 4 0,0-1-25 0,1-3 4 15,1 1-17-15,-2-2 13 0,2 0-7 16,-1-2 50-16,2 0 8 0,0 0 11 0,1-7 10 16,3 8-25-16,-3-8 0 0,14 5-28 0,-3-4 4 0,3-1-19 15,-3-1 5-15,3 0-17 0,2 0 7 0,-5-1-11 16,4-1 6-16,-2 2-17 0,1-1 12 16,-1 1-13-16,0-1 10 0,-3 0-34 0,-10 2-69 15,17-1 11-15,-17 1-75 0,12 3-56 0,-12-3-85 0,4 5-448 16,-4-5-250-16</inkml:trace>
  <inkml:trace contextRef="#ctx0" brushRef="#br0" timeOffset="193888.59">10909 13557 122 0,'0'0'344'0,"0"0"-86"0,0 0-90 0,0 0-11 15,0 0-33-15,0 0-27 0,3-9-22 0,-3 9-11 16,14-4-35-16,-3 3 30 0,1-3-24 0,5 1 28 16,2 0-8-16,0 0-14 0,7 0-2 0,0 1-13 15,-1-1-5-15,2 2 0 0,-3-1-3 0,-1 1-8 16,0 1 3-16,-4 0-3 0,-1 1 1 0,-1-1-2 15,-3 2-1-15,0-2-1 0,-4 1 6 0,2-1 1 16,-12 0-3-16,15 1-3 0,-15-1-30 0,0 0 2 16,0 0-35-16,0 0-35 0,0 0-28 0,0 0-53 15,0 0-81-15,0 0-130 0,-9-4 163 0</inkml:trace>
</inkml:ink>
</file>

<file path=ppt/ink/ink3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8:41.96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4 62 1460 0 0,'34'-61'9018'0'0,"-33"61"-8963"0"0,0 0-1 0 0,-1 0 1 0 0,1 0-1 0 0,-1 0 0 0 0,1 1 1 0 0,0-1-1 0 0,-1 0 1 0 0,1 1-1 0 0,-1-1 0 0 0,1 0 1 0 0,-1 1-1 0 0,1-1 1 0 0,-1 1-1 0 0,1-1 0 0 0,-1 1 1 0 0,1-1-1 0 0,-1 1 1 0 0,0-1-1 0 0,1 1 0 0 0,-1 0 1 0 0,0-1-1 0 0,1 1 1 0 0,-1-1-1 0 0,0 1 1 0 0,0 0-1 0 0,0-1 0 0 0,0 1 1 0 0,1 0-1 0 0,-1-1 1 0 0,0 2-1 0 0,1 23 698 0 0,-1-22-638 0 0,-3 68 1401 0 0,-21 113 0 0 0,-2 39-788 0 0,22-156-597 0 0,0-10-1444 0 0,3-21-2477 0 0</inkml:trace>
</inkml:ink>
</file>

<file path=ppt/ink/ink3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8:42.56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16 153 316 0 0,'-113'-127'11152'0'0,"113"126"-11130"0"0,0 1 1 0 0,-1 0-1 0 0,1-1 0 0 0,0 1 1 0 0,-1-1-1 0 0,1 1 1 0 0,0-1-1 0 0,0 0 0 0 0,0 1 1 0 0,-1-1-1 0 0,1 1 1 0 0,0-1-1 0 0,0 1 1 0 0,0-1-1 0 0,0 0 0 0 0,0 1 1 0 0,0-1-1 0 0,0 1 1 0 0,0-1-1 0 0,0 1 0 0 0,1-1 1 0 0,-1 0-1 0 0,0 1 1 0 0,0-1-1 0 0,0 1 1 0 0,1-1-1 0 0,-1 1 0 0 0,0-1 1 0 0,0 1-1 0 0,1-1 1 0 0,-1 1-1 0 0,1 0 0 0 0,-1-1 1 0 0,0 1-1 0 0,1-1 1 0 0,-1 1-1 0 0,1 0 1 0 0,-1-1-1 0 0,1 1 0 0 0,-1 0 1 0 0,1-1-1 0 0,-1 1 1 0 0,1 0-1 0 0,-1 0 0 0 0,1 0 1 0 0,-1 0-1 0 0,1-1 1 0 0,0 1-1 0 0,-1 0 1 0 0,1 0-1 0 0,-1 0 0 0 0,2 0 1 0 0,29-2 118 0 0,0 0 0 0 0,43 5 0 0 0,69 12-11 0 0,-99-10-67 0 0,338 38 3767 0 0,-380-43-3825 0 0,0 1 0 0 0,0 0 0 0 0,0-1 0 0 0,-1 1 0 0 0,1 0 0 0 0,0 0 0 0 0,0 0 0 0 0,-1 0 0 0 0,1 0 0 0 0,0 1 0 0 0,-1-1 0 0 0,0 0 0 0 0,1 1 0 0 0,-1-1 0 0 0,0 1 0 0 0,1 0 0 0 0,-1-1 0 0 0,0 1 0 0 0,0 0 0 0 0,0 0 0 0 0,-1-1 0 0 0,1 1 0 0 0,0 0 0 0 0,-1 0 0 0 0,1 0 0 0 0,-1 0 0 0 0,1 2 0 0 0,1 8 24 0 0,-1 0 0 0 0,0 0 0 0 0,-1 15 0 0 0,0-19 9 0 0,-2 54 538 0 0,-13 87 0 0 0,-24 59 484 0 0,31-165-892 0 0,-28 107 3053 0 0,42-166-2987 0 0,1-2-313 0 0,2 0 0 0 0,-1 1 1 0 0,2 0-1 0 0,1 0 0 0 0,0 1 0 0 0,17-19 0 0 0,-17 23 17 0 0,0 0 0 0 0,0 2 0 0 0,1-1 0 0 0,1 1 0 0 0,0 1 0 0 0,0 0-1 0 0,1 1 1 0 0,16-7 0 0 0,-27 13 55 0 0,0 1-1 0 0,0 0 1 0 0,0 0 0 0 0,0 0-1 0 0,1 0 1 0 0,-1 1 0 0 0,0-1-1 0 0,0 1 1 0 0,1 0 0 0 0,-1 0-1 0 0,0 0 1 0 0,0 0 0 0 0,1 1-1 0 0,-1-1 1 0 0,0 1 0 0 0,0 0 0 0 0,1 0-1 0 0,-1 0 1 0 0,0 0 0 0 0,0 0-1 0 0,0 1 1 0 0,0-1 0 0 0,-1 1-1 0 0,1 0 1 0 0,0 0 0 0 0,-1 0-1 0 0,4 3 1 0 0,-2 1 20 0 0,1 0 1 0 0,-1 0-1 0 0,1 0 1 0 0,-2 0-1 0 0,1 1 0 0 0,-1 0 1 0 0,0 0-1 0 0,0 0 1 0 0,-1 0-1 0 0,0 0 1 0 0,2 8-1 0 0,-2 6-489 0 0,0 0 0 0 0,0 29 1 0 0,-2-13-2661 0 0,3-1-3293 0 0</inkml:trace>
</inkml:ink>
</file>

<file path=ppt/ink/ink3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8:42.91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02 1184 0 0,'0'0'3708'0'0,"3"0"-2637"0"0,72 4 5363 0 0,-63-4-6214 0 0,-1-1 0 0 0,1 0 0 0 0,0-1 0 0 0,0 0 0 0 0,0-1-1 0 0,-1 0 1 0 0,0-1 0 0 0,12-5 0 0 0,-17 6-176 0 0,0 0-1 0 0,-1-1 1 0 0,1 1 0 0 0,-1-1-1 0 0,0-1 1 0 0,0 1 0 0 0,0-1-1 0 0,0 0 1 0 0,6-9 0 0 0,-10 14-35 0 0,-1-1 1 0 0,0 1 0 0 0,1-1-1 0 0,-1 1 1 0 0,0-1-1 0 0,0 0 1 0 0,1 1 0 0 0,-1-1-1 0 0,0 1 1 0 0,0-1 0 0 0,0 0-1 0 0,0 1 1 0 0,0-1-1 0 0,0 1 1 0 0,0-1 0 0 0,0 0-1 0 0,0 1 1 0 0,0-1 0 0 0,0 0-1 0 0,0 1 1 0 0,0-1-1 0 0,0 1 1 0 0,0-1 0 0 0,-1 0-1 0 0,1 1 1 0 0,0-1 0 0 0,-1 1-1 0 0,1-1 1 0 0,0 1 0 0 0,-1-1-1 0 0,1 1 1 0 0,0-1-1 0 0,-1 1 1 0 0,1-1 0 0 0,-1 1-1 0 0,1-1 1 0 0,-1 1 0 0 0,1 0-1 0 0,-1-1 1 0 0,1 1-1 0 0,-1 0 1 0 0,0-1 0 0 0,-2 0 73 0 0,0 0 1 0 0,0 0-1 0 0,0 0 1 0 0,0 0 0 0 0,-1 0-1 0 0,1 1 1 0 0,0-1-1 0 0,-6 1 1 0 0,-3 1 148 0 0,-1 0 0 0 0,1 1 0 0 0,-1 0 0 0 0,1 1 0 0 0,0 0 1 0 0,0 1-1 0 0,0 1 0 0 0,0 0 0 0 0,-17 10 0 0 0,23-11-114 0 0,0 0-1 0 0,0 0 1 0 0,1 1-1 0 0,-1-1 1 0 0,1 1-1 0 0,0 0 1 0 0,0 1-1 0 0,-5 8 1 0 0,7-10-56 0 0,1 0-1 0 0,0 0 1 0 0,1 0 0 0 0,-1 0 0 0 0,0 0 0 0 0,1 0 0 0 0,0 1-1 0 0,0-1 1 0 0,1 0 0 0 0,-1 1 0 0 0,1-1 0 0 0,0 1 0 0 0,0-1-1 0 0,1 8 1 0 0,0-6-115 0 0,1 0-1 0 0,0 0 0 0 0,0 0 1 0 0,1 0-1 0 0,0 0 1 0 0,0 0-1 0 0,0-1 0 0 0,0 1 1 0 0,1-1-1 0 0,0 0 1 0 0,0 0-1 0 0,1 0 0 0 0,-1-1 1 0 0,1 0-1 0 0,0 0 1 0 0,0 0-1 0 0,10 5 0 0 0,-5-2-900 0 0,1-1-1 0 0,0-1 0 0 0,16 6 0 0 0,-15-7-1473 0 0,-1-1 0 0 0,25 4 0 0 0,-14-5-3385 0 0</inkml:trace>
</inkml:ink>
</file>

<file path=ppt/ink/ink3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8:47.01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20 64 992 0 0,'1'-2'1676'0'0,"-1"0"-1366"0"0,1 1 0 0 0,-1-1 0 0 0,1 0 0 0 0,-1 0 0 0 0,1 1 0 0 0,-1-1 1 0 0,0 0-1 0 0,0 0 0 0 0,0 1 0 0 0,0-1 0 0 0,-1 0 0 0 0,1 0 0 0 0,0 1 1 0 0,-1-1-1 0 0,1 0 0 0 0,-1 0 0 0 0,1 1 0 0 0,-1-1 0 0 0,-1-1 0 0 0,1 2-165 0 0,0 0 0 0 0,-1-1-1 0 0,1 1 1 0 0,0 0-1 0 0,-1 0 1 0 0,1 1-1 0 0,-1-1 1 0 0,1 0-1 0 0,-1 0 1 0 0,1 1-1 0 0,-1-1 1 0 0,0 1-1 0 0,1-1 1 0 0,-1 1-1 0 0,0 0 1 0 0,0 0-1 0 0,1 0 1 0 0,-1 0 0 0 0,-2 0-1 0 0,3 0-113 0 0,0 0 0 0 0,-1 0 1 0 0,1 0-1 0 0,0 1 0 0 0,-1-1 0 0 0,1 0 0 0 0,0 1 1 0 0,0-1-1 0 0,-1 1 0 0 0,1-1 0 0 0,0 1 0 0 0,0 0 1 0 0,0-1-1 0 0,0 1 0 0 0,0 0 0 0 0,-1 1 0 0 0,-2 1 70 0 0,-7 4 51 0 0,0 0-1 0 0,1 1 1 0 0,0 1 0 0 0,1 0 0 0 0,0 0 0 0 0,0 1 0 0 0,1 0 0 0 0,0 0-1 0 0,1 1 1 0 0,0 0 0 0 0,-7 15 0 0 0,6-8 145 0 0,0 0 1 0 0,1 0 0 0 0,1 1-1 0 0,1 0 1 0 0,0 1-1 0 0,-2 31 1 0 0,6-40-146 0 0,1-1 1 0 0,1 1 0 0 0,-1-1-1 0 0,2 1 1 0 0,-1-1 0 0 0,2 0-1 0 0,-1 1 1 0 0,1-1 0 0 0,1 0-1 0 0,0-1 1 0 0,0 1-1 0 0,8 13 1 0 0,-9-19-82 0 0,0 0-1 0 0,-1-1 1 0 0,1 1-1 0 0,0 0 1 0 0,1-1-1 0 0,-1 0 1 0 0,1 1-1 0 0,-1-1 1 0 0,1-1-1 0 0,0 1 1 0 0,0-1-1 0 0,0 1 1 0 0,1-1-1 0 0,-1 0 1 0 0,1-1-1 0 0,-1 1 1 0 0,1-1-1 0 0,-1 0 1 0 0,1 0-1 0 0,0 0 1 0 0,-1 0-1 0 0,1-1 1 0 0,0 0-1 0 0,-1 0 1 0 0,1 0-1 0 0,0-1 1 0 0,0 0-1 0 0,-1 0 1 0 0,8-2 0 0 0,-5 0-41 0 0,1 0 0 0 0,-1-1 0 0 0,-1 1 1 0 0,1-1-1 0 0,-1-1 0 0 0,1 0 1 0 0,-1 1-1 0 0,0-2 0 0 0,-1 1 1 0 0,1-1-1 0 0,-1 0 0 0 0,0 0 1 0 0,5-9-1 0 0,-1 0-35 0 0,0 0 1 0 0,-1 0-1 0 0,-1-1 0 0 0,-1 0 1 0 0,5-16-1 0 0,-7 20 10 0 0,-2 0 1 0 0,0-1-1 0 0,0 1 0 0 0,-1 0 0 0 0,-1 0 0 0 0,0-1 1 0 0,-1 1-1 0 0,0 0 0 0 0,0 0 0 0 0,-2-1 0 0 0,1 1 1 0 0,-2 1-1 0 0,-8-23 0 0 0,8 25-280 0 0,-1 0 1 0 0,0 0-1 0 0,0 1 0 0 0,0 0 1 0 0,-1 0-1 0 0,-1 0 0 0 0,1 1 0 0 0,-1 0 1 0 0,0 0-1 0 0,-1 1 0 0 0,0 0 1 0 0,0 0-1 0 0,0 1 0 0 0,0 0 1 0 0,-1 0-1 0 0,0 1 0 0 0,-18-6 0 0 0,-3 3-3400 0 0,5 9-2346 0 0,10 1 2200 0 0</inkml:trace>
</inkml:ink>
</file>

<file path=ppt/ink/ink3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8:47.44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852 0 0,'3'1'1796'0'0,"-1"-1"-1546"0"0,0 0 0 0 0,0 1 0 0 0,0-1 0 0 0,0 1 0 0 0,0-1 0 0 0,0 1 0 0 0,0 0 0 0 0,0 0 0 0 0,0 0 0 0 0,0 0 0 0 0,-1 0 0 0 0,1 0 0 0 0,0 0 0 0 0,-1 1 0 0 0,1-1 0 0 0,-1 1 0 0 0,1-1 0 0 0,-1 1 0 0 0,0 0 0 0 0,2 2 0 0 0,-1 1 60 0 0,0 0-1 0 0,0-1 0 0 0,0 1 1 0 0,-1 0-1 0 0,0 0 1 0 0,0 0-1 0 0,0 0 1 0 0,0 8-1 0 0,-1 36 1862 0 0,-1 0-1 0 0,-16 94 1 0 0,-5-32 2064 0 0,22-110-3627 0 0,1-3-601 0 0,-1-1 1 0 0,1 1-1 0 0,0-1 1 0 0,-1 1-1 0 0,1-1 1 0 0,1 1-1 0 0,-1 0 1 0 0,0-1-1 0 0,0 1 0 0 0,1 0 1 0 0,-1 0-1 0 0,1 0 1 0 0,0 0-1 0 0,0 0 1 0 0,0 0-1 0 0,0 0 1 0 0,3-1-1 0 0,38-25-498 0 0,-31 21 387 0 0,1 1-1 0 0,0 1 0 0 0,0 0 0 0 0,0 1 0 0 0,0 0 0 0 0,1 1 1 0 0,24-3-1 0 0,-31 6 90 0 0,-1-1-1 0 0,0 1 1 0 0,0 0 0 0 0,1 1 0 0 0,-1 0 0 0 0,0 0-1 0 0,0 0 1 0 0,0 1 0 0 0,0 0 0 0 0,0 0-1 0 0,0 0 1 0 0,0 1 0 0 0,0 0 0 0 0,-1 0 0 0 0,0 0-1 0 0,1 1 1 0 0,-1-1 0 0 0,-1 1 0 0 0,8 7 0 0 0,-10-8 16 0 0,0-1 1 0 0,0 1 0 0 0,0 0 0 0 0,-1 0 0 0 0,1 0 0 0 0,0 0 0 0 0,-1 0 0 0 0,0 0 0 0 0,0 0 0 0 0,0 0 0 0 0,0 0 0 0 0,-1 1 0 0 0,1-1 0 0 0,-1 0-1 0 0,0 1 1 0 0,0-1 0 0 0,0 0 0 0 0,0 1 0 0 0,0-1 0 0 0,-1 0 0 0 0,0 1 0 0 0,1-1 0 0 0,-1 0 0 0 0,0 0 0 0 0,-1 0 0 0 0,1 0 0 0 0,0 0 0 0 0,-1 0 0 0 0,0 0-1 0 0,0 0 1 0 0,-4 4 0 0 0,0 1 32 0 0,0-1-1 0 0,-1 0 0 0 0,-1 0 1 0 0,1 0-1 0 0,-1-1 0 0 0,0 0 1 0 0,0-1-1 0 0,-1 0 1 0 0,-13 6-1 0 0,11-7-63 0 0,-1 0 0 0 0,1-1 0 0 0,-1-1 0 0 0,1 0 0 0 0,-1-1 0 0 0,0 0 0 0 0,-20-1 0 0 0,26 0-155 0 0,3 0-168 0 0,0-1 0 0 0,0 1 1 0 0,0 0-1 0 0,0-1 0 0 0,0 0 1 0 0,0 1-1 0 0,0-1 1 0 0,0 0-1 0 0,1-1 0 0 0,-1 1 1 0 0,0 0-1 0 0,1-1 0 0 0,-1 0 1 0 0,1 1-1 0 0,-1-1 1 0 0,-2-3-1 0 0</inkml:trace>
</inkml:ink>
</file>

<file path=ppt/ink/ink3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8:47.86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6 9 948 0 0,'4'-6'10056'0'0,"-3"5"-9908"0"0,-1 1-1 0 0,0 0 1 0 0,1 0 0 0 0,-1 0-1 0 0,1-1 1 0 0,29 1 371 0 0,-1 0 1 0 0,1 2-1 0 0,0 1 0 0 0,48 12 1 0 0,-12-3 22 0 0,-62-12-435 0 0,0 1 0 0 0,0 0 0 0 0,0 0 0 0 0,0 0 0 0 0,0 1-1 0 0,0-1 1 0 0,0 1 0 0 0,0 0 0 0 0,6 4 0 0 0,-8-4 14 0 0,0 0-1 0 0,0 0 1 0 0,0 1 0 0 0,0-1 0 0 0,-1 0 0 0 0,1 1 0 0 0,-1-1-1 0 0,0 1 1 0 0,1-1 0 0 0,-1 1 0 0 0,0 0 0 0 0,-1-1 0 0 0,1 1 0 0 0,0 0-1 0 0,-1 0 1 0 0,0-1 0 0 0,1 5 0 0 0,-1 34 433 0 0,-2-1 1 0 0,-2 0-1 0 0,-2 0 1 0 0,-15 58-1 0 0,14-68-76 0 0,-21 55 0 0 0,23-72-239 0 0,-1-1 0 0 0,0 0 0 0 0,-1-1 0 0 0,0 1 1 0 0,-1-1-1 0 0,-17 19 0 0 0,21-27-186 0 0,0 0 0 0 0,0 0 0 0 0,0-1-1 0 0,-1 0 1 0 0,1 1 0 0 0,-1-1 0 0 0,0-1 0 0 0,1 1 0 0 0,-1-1 0 0 0,0 0 0 0 0,0 0 0 0 0,0 0 0 0 0,0 0-1 0 0,0-1 1 0 0,0 0 0 0 0,0 0 0 0 0,-8-2 0 0 0,2 1-54 0 0,-1-1 0 0 0,1 0-1 0 0,0-1 1 0 0,0 0 0 0 0,0-1 0 0 0,-18-9-1 0 0,22 9-384 0 0,0 0-1 0 0,0-1 0 0 0,0 0 1 0 0,0-1-1 0 0,1 1 0 0 0,0-1 0 0 0,-6-8 1 0 0,9 10-303 0 0,0 0 0 0 0,0-1 0 0 0,0 1 1 0 0,1-1-1 0 0,-3-6 0 0 0,4 7-373 0 0,-1 0 0 0 0,1 0 1 0 0,1 0-1 0 0,-1 0 0 0 0,1 1 0 0 0,-1-1 0 0 0,1-8 0 0 0</inkml:trace>
</inkml:ink>
</file>

<file path=ppt/ink/ink3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8:48.23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86 1704 0 0,'4'0'1373'0'0,"81"0"4125"0"0,10 1-3645 0 0,-82-2-1687 0 0,-1 0-1 0 0,1-1 1 0 0,-1 0 0 0 0,0-1 0 0 0,18-7-1 0 0,-27 9-119 0 0,-1 0-1 0 0,1-1 1 0 0,-1 1-1 0 0,1-1 0 0 0,-1 0 1 0 0,1 0-1 0 0,-1 1 1 0 0,4-6-1 0 0,-5 7-32 0 0,0-1 0 0 0,-1 0 0 0 0,1 0 0 0 0,0 0-1 0 0,-1 0 1 0 0,1 0 0 0 0,-1 0 0 0 0,1 0 0 0 0,-1 0 0 0 0,0 0 0 0 0,1 0 0 0 0,-1 0-1 0 0,0 0 1 0 0,0 0 0 0 0,0 0 0 0 0,0 0 0 0 0,0 0 0 0 0,0-1 0 0 0,0 1 0 0 0,0 0-1 0 0,0 0 1 0 0,0 0 0 0 0,-1 0 0 0 0,1 0 0 0 0,-1-1 0 0 0,0 1 27 0 0,0-1-1 0 0,0 1 1 0 0,0 0 0 0 0,0 0 0 0 0,0 0 0 0 0,0 0 0 0 0,0 0-1 0 0,-1 0 1 0 0,1 0 0 0 0,0 1 0 0 0,-1-1 0 0 0,1 0 0 0 0,-1 1-1 0 0,1-1 1 0 0,-1 1 0 0 0,-2-1 0 0 0,-25-4 367 0 0,25 5-312 0 0,-8-1 103 0 0,0 1 0 0 0,0 0 1 0 0,0 1-1 0 0,0 0 0 0 0,0 1 0 0 0,1 0 0 0 0,-1 1 0 0 0,-16 6 0 0 0,23-8-161 0 0,-1 1 0 0 0,1 1 1 0 0,0-1-1 0 0,1 0 0 0 0,-1 1 0 0 0,0 0 0 0 0,1 0 0 0 0,-1 1 0 0 0,1-1 1 0 0,0 1-1 0 0,0 0 0 0 0,1 0 0 0 0,-1 0 0 0 0,1 1 0 0 0,0-1 0 0 0,0 1 1 0 0,0 0-1 0 0,1-1 0 0 0,-1 1 0 0 0,-2 9 0 0 0,5-11-28 0 0,-1 0 1 0 0,1 0-1 0 0,0 1 0 0 0,-1-1 0 0 0,1 0 1 0 0,1 1-1 0 0,-1-1 0 0 0,0 0 0 0 0,1 0 1 0 0,0 0-1 0 0,0 1 0 0 0,0-1 0 0 0,0 0 1 0 0,0 0-1 0 0,0 0 0 0 0,3 3 0 0 0,-1-1-143 0 0,1-1 0 0 0,0 1-1 0 0,-1-1 1 0 0,2 0-1 0 0,-1 0 1 0 0,0 0 0 0 0,1 0-1 0 0,8 4 1 0 0,-2-2-373 0 0,0 0 1 0 0,1-1-1 0 0,0 0 1 0 0,0-1-1 0 0,0 0 1 0 0,0-1-1 0 0,23 3 1 0 0,-12-5-977 0 0,0 0 0 0 0,0-1 0 0 0,38-6 0 0 0,-27-1-985 0 0</inkml:trace>
</inkml:ink>
</file>

<file path=ppt/ink/ink3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8:48.58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23 3540 0 0,'7'-3'483'0'0,"0"0"0"0"0,-1-1 0 0 0,1 0 0 0 0,-1 0 0 0 0,0 0-1 0 0,0-1 1 0 0,0 0 0 0 0,5-6 0 0 0,-9 9 170 0 0,-2 2-577 0 0,0-1 0 0 0,0 1-1 0 0,0-1 1 0 0,0 1 0 0 0,1 0-1 0 0,-1-1 1 0 0,0 1 0 0 0,-1-1 0 0 0,1 1-1 0 0,0 0 1 0 0,0-1 0 0 0,0 1-1 0 0,0-1 1 0 0,0 1 0 0 0,0 0-1 0 0,0-1 1 0 0,0 1 0 0 0,-1 0-1 0 0,1-1 1 0 0,0 1 0 0 0,0 0-1 0 0,0-1 1 0 0,-1 1 0 0 0,1 0-1 0 0,0 0 1 0 0,-1-1 0 0 0,1 1-1 0 0,0 0 1 0 0,-1 0 0 0 0,1-1-1 0 0,0 1 1 0 0,-1 0 0 0 0,1 0-1 0 0,0 0 1 0 0,-1 0 0 0 0,1-1-1 0 0,-1 1 1 0 0,-14 7 1236 0 0,-10 19-213 0 0,24-23-1033 0 0,0 0 1 0 0,0 0-1 0 0,0 0 1 0 0,0 1-1 0 0,1-1 0 0 0,0 0 1 0 0,-1 1-1 0 0,1-1 1 0 0,0 0-1 0 0,0 1 1 0 0,1-1-1 0 0,-1 0 0 0 0,1 1 1 0 0,-1-1-1 0 0,1 0 1 0 0,0 0-1 0 0,1 0 1 0 0,-1 1-1 0 0,0-1 0 0 0,1 0 1 0 0,0-1-1 0 0,-1 1 1 0 0,1 0-1 0 0,0 0 0 0 0,1-1 1 0 0,-1 1-1 0 0,0-1 1 0 0,5 4-1 0 0,3 2 1 0 0,1 0 0 0 0,0 0 0 0 0,0-2 0 0 0,1 1 0 0 0,21 8-1 0 0,-25-11-118 0 0,0-1 0 0 0,0-1-1 0 0,0 1 1 0 0,0-2-1 0 0,0 1 1 0 0,1-1-1 0 0,-1 0 1 0 0,1 0 0 0 0,-1-1-1 0 0,1 0 1 0 0,-1-1-1 0 0,0 0 1 0 0,1 0-1 0 0,-1-1 1 0 0,0 0-1 0 0,0 0 1 0 0,0-1 0 0 0,0 0-1 0 0,0-1 1 0 0,-1 0-1 0 0,1 0 1 0 0,-1 0-1 0 0,0-1 1 0 0,0 0-1 0 0,-1 0 1 0 0,1-1 0 0 0,-1 0-1 0 0,0 0 1 0 0,-1 0-1 0 0,0-1 1 0 0,8-12-1 0 0,4-12-13 0 0,-2-2-1 0 0,-1 0 1 0 0,12-42-1 0 0,16-107 5066 0 0,-42 182-4962 0 0,0 0-1 0 0,0 0 0 0 0,0-1 0 0 0,1 1 1 0 0,-1 0-1 0 0,0-1 0 0 0,0 1 0 0 0,0-1 0 0 0,0 1 1 0 0,0 0-1 0 0,0-1 0 0 0,0 1 0 0 0,0 0 1 0 0,0-1-1 0 0,0 1 0 0 0,0-1 0 0 0,0 1 0 0 0,0 0 1 0 0,0-1-1 0 0,0 1 0 0 0,0 0 0 0 0,0-1 0 0 0,-1 1 1 0 0,1 0-1 0 0,0-1 0 0 0,0 1 0 0 0,0 0 1 0 0,-1-1-1 0 0,1 1 0 0 0,0 0 0 0 0,-1-1 0 0 0,-8 8 539 0 0,-9 20 87 0 0,13-17-473 0 0,0 0 1 0 0,1 0-1 0 0,1 1 0 0 0,0 0 1 0 0,-3 19-1 0 0,-3 60 256 0 0,5-42-243 0 0,0-16-154 0 0,-8 87-1618 0 0,1-42-3741 0 0,5-50-692 0 0</inkml:trace>
</inkml:ink>
</file>

<file path=ppt/ink/ink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2:43.86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7 86 976 0 0,'-23'-57'4223'0'0,"23"57"-4228"0"0,-1-1 0 0 0,1 0-1 0 0,0 1 1 0 0,-1-1 0 0 0,1 0 0 0 0,0 1-1 0 0,-1-1 1 0 0,1 0 0 0 0,0 1 0 0 0,0-1-1 0 0,-1 0 1 0 0,1 0 0 0 0,0 1-1 0 0,0-1 1 0 0,0 0 0 0 0,0 0 0 0 0,0 1-1 0 0,0-1 1 0 0,0 0 0 0 0,0 0 0 0 0,1 1-1 0 0,-1-1 1 0 0,0 0 0 0 0,0 0 0 0 0,1 1-1 0 0,-1-1 1 0 0,1-1 0 0 0,0 1-52 0 0,0 0 1 0 0,0 1 0 0 0,1-1-1 0 0,-1 0 1 0 0,0 1-1 0 0,0-1 1 0 0,1 1-1 0 0,-1-1 1 0 0,0 1 0 0 0,0-1-1 0 0,1 1 1 0 0,-1 0-1 0 0,1 0 1 0 0,0 0-1 0 0,6-1-195 0 0,0 1 0 0 0,0 1-1 0 0,14 2 1 0 0,-13-1 399 0 0,0 1 0 0 0,0 0 1 0 0,0 1-1 0 0,0 0 0 0 0,-1 0 0 0 0,1 1 1 0 0,-1 0-1 0 0,-1 0 0 0 0,1 1 1 0 0,-1 0-1 0 0,0 0 0 0 0,0 1 0 0 0,0 0 1 0 0,-1 0-1 0 0,0 0 0 0 0,-1 1 1 0 0,1 0-1 0 0,-2 0 0 0 0,8 15 0 0 0,-4-4 392 0 0,-1 0-1 0 0,0 0 0 0 0,-1 1 0 0 0,-1 0 0 0 0,-1 0 0 0 0,-1 1 0 0 0,-1-1 0 0 0,0 22 0 0 0,-2 36 4373 0 0,-5-82-4624 0 0,5 4-281 0 0,-1 0 0 0 0,1 0 0 0 0,0 0-1 0 0,-1 0 1 0 0,1 0 0 0 0,0 0-1 0 0,0 0 1 0 0,-1 0 0 0 0,1 0-1 0 0,0-1 1 0 0,-1 1 0 0 0,1 0-1 0 0,0 0 1 0 0,0 0 0 0 0,-1 0-1 0 0,1-1 1 0 0,0 1 0 0 0,0 0 0 0 0,0 0-1 0 0,-1-1 1 0 0,1 1 0 0 0,0 0-1 0 0,0 0 1 0 0,0-1 0 0 0,0 1-1 0 0,-1 0 1 0 0,1-1 0 0 0,0 1-1 0 0,0 0 1 0 0,0 0 0 0 0,0-1-1 0 0,0 1 1 0 0,0 0 0 0 0,0-1 0 0 0,1-8-9 0 0,0 1 0 0 0,0 0 1 0 0,1-1-1 0 0,0 1 1 0 0,1 0-1 0 0,0 0 1 0 0,0 0-1 0 0,1 1 1 0 0,0-1-1 0 0,0 1 1 0 0,0-1-1 0 0,1 2 1 0 0,0-1-1 0 0,1 0 1 0 0,0 1-1 0 0,0 0 1 0 0,0 0-1 0 0,0 1 1 0 0,1 0-1 0 0,0 0 1 0 0,0 0-1 0 0,1 1 1 0 0,-1 0-1 0 0,1 0 1 0 0,0 1-1 0 0,11-3 0 0 0,-15 5-5 0 0,-1 0-1 0 0,1 1 0 0 0,0-1 0 0 0,-1 1 0 0 0,1 0 0 0 0,-1 0 0 0 0,1 0 0 0 0,0 1 0 0 0,-1-1 0 0 0,1 1 0 0 0,-1 0 0 0 0,1 0 0 0 0,-1 0 0 0 0,1 0 0 0 0,-1 1 0 0 0,0-1 0 0 0,0 1 1 0 0,0 0-1 0 0,0 0 0 0 0,0 0 0 0 0,0 0 0 0 0,4 5 0 0 0,0 0 3 0 0,-2 0 0 0 0,1 1-1 0 0,-1 0 1 0 0,0 0 0 0 0,-1 0 0 0 0,6 15 0 0 0,-10-21 15 0 0,1 0 0 0 0,-1 1 1 0 0,0-1-1 0 0,0 0 0 0 0,0 0 0 0 0,0 1 1 0 0,0-1-1 0 0,0 0 0 0 0,-1 0 0 0 0,1 0 1 0 0,-1 1-1 0 0,1-1 0 0 0,-1 0 0 0 0,0 0 1 0 0,-2 3-1 0 0,2-3 31 0 0,-2-1-7 0 0,2 0-28 0 0,1-1 0 0 0,-1 0 0 0 0,0 1 0 0 0,0-1 0 0 0,0 0 0 0 0,0 0 0 0 0,0 0 0 0 0,0 1 0 0 0,0-1 0 0 0,0 0 1 0 0,0 0-1 0 0,0 0 0 0 0,0-1 0 0 0,0 1 0 0 0,0 0 0 0 0,0 0 0 0 0,0 0 0 0 0,0-1 0 0 0,0 1 0 0 0,0-1 0 0 0,0 1 0 0 0,0-1 0 0 0,1 1 0 0 0,-1-1 0 0 0,0 1 0 0 0,0-1 0 0 0,0 0 0 0 0,1 1 0 0 0,-1-1 0 0 0,0 0 0 0 0,1 1 0 0 0,-1-1 0 0 0,1 0 0 0 0,-1-1 0 0 0,0-1-3 0 0,0 1 0 0 0,0-1 0 0 0,0 1 0 0 0,1-1 0 0 0,-1 0 0 0 0,1 0 0 0 0,0 1 0 0 0,0-1 0 0 0,0 0 0 0 0,0 0 0 0 0,0 1 0 0 0,2-6 0 0 0,0 0-10 0 0,0 0 1 0 0,1 1-1 0 0,0-1 0 0 0,1 0 1 0 0,0 1-1 0 0,0 0 0 0 0,0 0 1 0 0,1 0-1 0 0,0 1 0 0 0,0-1 1 0 0,1 1-1 0 0,10-9 0 0 0,-8 8-15 0 0,1 1 0 0 0,0 0 0 0 0,0 0 0 0 0,0 0 1 0 0,0 1-1 0 0,1 1 0 0 0,0 0 0 0 0,0 0 0 0 0,11-2 0 0 0,-15 5 12 0 0,0 1 0 0 0,0 0 0 0 0,-1 0 0 0 0,1 0 0 0 0,0 1 0 0 0,0-1 0 0 0,-1 2 0 0 0,1-1-1 0 0,-1 1 1 0 0,1-1 0 0 0,-1 1 0 0 0,1 1 0 0 0,-1-1 0 0 0,0 1 0 0 0,0 0 0 0 0,0 0 0 0 0,5 5 0 0 0,-5-2-7 0 0,0 1-1 0 0,0-1 1 0 0,0 1-1 0 0,-1 0 1 0 0,0 0-1 0 0,0 0 1 0 0,-1 1-1 0 0,0 0 1 0 0,-1-1-1 0 0,4 14 1 0 0,-4-9-1049 0 0,0 1 0 0 0,0 0 1 0 0,-1 14-1 0 0,0-20 219 0 0</inkml:trace>
</inkml:ink>
</file>

<file path=ppt/ink/ink3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8:48.91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3 126 1940 0 0,'-2'-2'465'0'0,"1"-1"0"0"0,-1 0 0 0 0,1 0 0 0 0,0 0 0 0 0,0 0 0 0 0,0 1 0 0 0,0-2 0 0 0,0 1 0 0 0,1 0 0 0 0,-1 0 0 0 0,1 0 1 0 0,0-4-1 0 0,0 5-356 0 0,1 0 0 0 0,0 0 0 0 0,-1 0 0 0 0,1 0 0 0 0,0 1 0 0 0,0-1 0 0 0,0 0 0 0 0,0 0 1 0 0,0 1-1 0 0,1-1 0 0 0,-1 0 0 0 0,0 1 0 0 0,1-1 0 0 0,-1 1 0 0 0,1 0 0 0 0,0-1 0 0 0,-1 1 1 0 0,1 0-1 0 0,0 0 0 0 0,2-1 0 0 0,10-4 143 0 0,-1 0 0 0 0,1 0 0 0 0,0 2 0 0 0,1-1 0 0 0,23-2 0 0 0,78-5 1395 0 0,-93 10-1194 0 0,-13 1-137 0 0,-1 1 1 0 0,0 0-1 0 0,0 0 0 0 0,1 1 0 0 0,-1 0 0 0 0,0 0 1 0 0,0 1-1 0 0,17 6 0 0 0,-22-6-151 0 0,0 0-1 0 0,0 0 1 0 0,-1 0-1 0 0,1 1 1 0 0,-1-1-1 0 0,1 1 1 0 0,-1 0-1 0 0,0 0 1 0 0,0 0-1 0 0,0 1 1 0 0,-1-1-1 0 0,1 0 1 0 0,-1 1-1 0 0,0 0 1 0 0,0 0-1 0 0,0-1 1 0 0,0 1-1 0 0,-1 0 1 0 0,1 1-1 0 0,-1-1 1 0 0,1 6 0 0 0,0 7-86 0 0,-1 1 1 0 0,0-1-1 0 0,-1 1 1 0 0,-1 0 0 0 0,-1-1-1 0 0,0 1 1 0 0,-6 20-1 0 0,1 0-2006 0 0,-6-8-3829 0 0</inkml:trace>
</inkml:ink>
</file>

<file path=ppt/ink/ink3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8:49.43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 136 2524 0 0,'-1'-36'6112'0'0,"0"-8"-1353"0"0,5 2-3429 0 0,-4 41-1444 0 0,0 0 0 0 0,1 1 0 0 0,-1-1 0 0 0,1 0 0 0 0,-1 0 0 0 0,1 1-1 0 0,-1-1 1 0 0,1 0 0 0 0,-1 1 0 0 0,1-1 0 0 0,0 0 0 0 0,-1 1 0 0 0,1-1 0 0 0,0 1-1 0 0,0-1 1 0 0,-1 1 0 0 0,1 0 0 0 0,0-1 0 0 0,0 1 0 0 0,0 0 0 0 0,0-1 0 0 0,-1 1-1 0 0,1 0 1 0 0,0 0 0 0 0,0 0 0 0 0,0 0 0 0 0,0 0 0 0 0,0 0 0 0 0,0 0 0 0 0,0 0-1 0 0,-1 0 1 0 0,1 0 0 0 0,0 0 0 0 0,0 0 0 0 0,0 1 0 0 0,0-1 0 0 0,1 1 0 0 0,28 10-1582 0 0,-21-6 1669 0 0,1 1-1 0 0,-1 0 1 0 0,-1 0-1 0 0,1 1 1 0 0,-1 0-1 0 0,0 0 0 0 0,-1 1 1 0 0,0 0-1 0 0,0 1 1 0 0,-1 0-1 0 0,0 0 0 0 0,0 0 1 0 0,5 12-1 0 0,3 10 1528 0 0,-2 1-1 0 0,16 60 1 0 0,-7-23 380 0 0,-5-15 2638 0 0,-16-53-4435 0 0,1 0 0 0 0,-1-1 0 0 0,0 1 0 0 0,0 0 0 0 0,0-1 0 0 0,1 1 0 0 0,-1 0 0 0 0,0-1 0 0 0,1 1 0 0 0,-1-1 0 0 0,0 1 0 0 0,1-1 0 0 0,-1 1 0 0 0,1-1 0 0 0,-1 1 0 0 0,1-1 0 0 0,-1 1 0 0 0,1-1 0 0 0,-1 0 0 0 0,1 1 0 0 0,0-1 0 0 0,-1 0 0 0 0,1 1 0 0 0,-1-1 0 0 0,1 0 0 0 0,0 0 0 0 0,-1 0 0 0 0,1 0 0 0 0,0 1 0 0 0,-1-1 0 0 0,1 0 0 0 0,0 0 0 0 0,-1 0 0 0 0,1 0 0 0 0,0 0 0 0 0,-1-1 0 0 0,1 1 0 0 0,0 0 0 0 0,-1 0 0 0 0,1-1 0 0 0,20-10 261 0 0,-6-2-626 0 0,0-2 1 0 0,-1 0 0 0 0,-1 0-1 0 0,0-2 1 0 0,14-23-1 0 0,-9 13-1263 0 0,-16 23 1337 0 0,5-6-1681 0 0,0 0 0 0 0,1 0-1 0 0,0 1 1 0 0,14-13 0 0 0,-20 21 1564 0 0,1 0 1 0 0,0-1-1 0 0,-1 1 1 0 0,1 1-1 0 0,0-1 0 0 0,0 0 1 0 0,0 1-1 0 0,0-1 1 0 0,0 1-1 0 0,0 0 0 0 0,0 0 1 0 0,0 0-1 0 0,0 1 1 0 0,-1-1-1 0 0,1 1 1 0 0,0-1-1 0 0,4 2 0 0 0,44 14-686 0 0,-22-6 2049 0 0,48 9-1 0 0,-69-18-800 0 0,1 0-1 0 0,-1 0 0 0 0,1-1 1 0 0,0 0-1 0 0,0 0 0 0 0,-1-1 1 0 0,1-1-1 0 0,-1 1 0 0 0,1-1 1 0 0,9-4-1 0 0,-14 5-118 0 0,-1-1-1 0 0,0 0 1 0 0,1 0-1 0 0,-1 0 1 0 0,0 0-1 0 0,0-1 1 0 0,0 1 0 0 0,0-1-1 0 0,-1 0 1 0 0,1 1-1 0 0,-1-1 1 0 0,0-1-1 0 0,1 1 1 0 0,-1 0-1 0 0,-1 0 1 0 0,1-1 0 0 0,2-5-1 0 0,-4 7-28 0 0,1 0 0 0 0,-1 1 0 0 0,1-1 0 0 0,-1 0-1 0 0,0 0 1 0 0,0 1 0 0 0,0-1 0 0 0,0 0 0 0 0,0 0 0 0 0,0 0-1 0 0,-1 1 1 0 0,1-1 0 0 0,0 0 0 0 0,-1 0 0 0 0,0 1 0 0 0,1-1-1 0 0,-1 0 1 0 0,0 1 0 0 0,0-1 0 0 0,0 1 0 0 0,0-1 0 0 0,0 1 0 0 0,0 0-1 0 0,0-1 1 0 0,0 1 0 0 0,-1 0 0 0 0,1 0 0 0 0,0-1 0 0 0,-1 1-1 0 0,1 0 1 0 0,-1 0 0 0 0,1 1 0 0 0,-1-1 0 0 0,0 0 0 0 0,1 1 0 0 0,-1-1-1 0 0,0 1 1 0 0,1-1 0 0 0,-3 0 0 0 0,-3 0 59 0 0,0 0 1 0 0,1 0-1 0 0,-1 1 1 0 0,0-1-1 0 0,0 2 1 0 0,0-1-1 0 0,1 1 1 0 0,-1 0-1 0 0,0 0 1 0 0,1 0-1 0 0,-1 1 1 0 0,1 0-1 0 0,-1 1 1 0 0,1-1-1 0 0,0 1 1 0 0,0 1-1 0 0,0-1 1 0 0,0 1-1 0 0,1 0 1 0 0,0 0-1 0 0,-1 0 1 0 0,1 1-1 0 0,1 0 1 0 0,-1 0-1 0 0,1 0 1 0 0,0 1-1 0 0,0-1 0 0 0,0 1 1 0 0,1 0-1 0 0,0 0 1 0 0,0 0-1 0 0,1 1 1 0 0,-3 7-1 0 0,3-7-220 0 0,1 0 1 0 0,0-1-1 0 0,0 1 0 0 0,1 0 0 0 0,0 0 0 0 0,0 0 0 0 0,0 0 0 0 0,1 0 0 0 0,0-1 0 0 0,1 1 1 0 0,-1 0-1 0 0,1 0 0 0 0,0-1 0 0 0,6 11 0 0 0,-6-13-524 0 0,1 1 1 0 0,0-1-1 0 0,0 1 0 0 0,1-1 1 0 0,-1 0-1 0 0,1 0 0 0 0,0 0 0 0 0,0-1 1 0 0,0 1-1 0 0,1-1 0 0 0,-1 0 1 0 0,1 0-1 0 0,0 0 0 0 0,0-1 1 0 0,0 0-1 0 0,0 0 0 0 0,0 0 1 0 0,10 1-1 0 0,3 1-3206 0 0</inkml:trace>
</inkml:ink>
</file>

<file path=ppt/ink/ink3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8:49.80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37 628 0 0,'5'-15'6708'0'0,"4"-6"2150"0"0,-6 37-7418 0 0,-2 0-1 0 0,0 29 0 0 0,-7 36-888 0 0,3-32-1748 0 0,-1-19-794 0 0,1-12-643 0 0,2-1-3946 0 0</inkml:trace>
</inkml:ink>
</file>

<file path=ppt/ink/ink3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8:50.16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3 178 804 0 0,'-3'-81'7189'0'0,"-4"3"-4307"0"0,4 59-3312 0 0</inkml:trace>
</inkml:ink>
</file>

<file path=ppt/ink/ink3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8:50.52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28 92 524 0 0,'5'0'476'0'0,"-4"0"-209"0"0,1 1 0 0 0,0-1 0 0 0,0 0 0 0 0,0 0 1 0 0,-1-1-1 0 0,1 1 0 0 0,0 0 0 0 0,0 0 0 0 0,-1-1 1 0 0,1 1-1 0 0,0-1 0 0 0,-1 0 0 0 0,1 1 0 0 0,-1-1 0 0 0,1 0 1 0 0,-1 0-1 0 0,1 0 0 0 0,-1 0 0 0 0,1 0 0 0 0,-1 0 1 0 0,0-1-1 0 0,0 1 0 0 0,1 0 0 0 0,0-3 0 0 0,-1 3 404 0 0,-7-11 667 0 0,4 11-1301 0 0,0 0 1 0 0,0 0-1 0 0,1 0 0 0 0,-1 1 1 0 0,0-1-1 0 0,0 0 0 0 0,0 1 0 0 0,0 0 1 0 0,0-1-1 0 0,0 1 0 0 0,-1 0 0 0 0,1 0 1 0 0,0 0-1 0 0,0 0 0 0 0,0 1 0 0 0,0-1 1 0 0,0 0-1 0 0,0 1 0 0 0,0 0 1 0 0,0-1-1 0 0,0 1 0 0 0,1 0 0 0 0,-1 0 1 0 0,0 0-1 0 0,0 0 0 0 0,0 0 0 0 0,-2 3 1 0 0,2-2-8 0 0,0 1-1 0 0,1-1 1 0 0,-1 1 0 0 0,1 0 0 0 0,0-1 0 0 0,-1 1 0 0 0,1 0 0 0 0,1 0 0 0 0,-1-1 0 0 0,0 1 0 0 0,1 0-1 0 0,-1 0 1 0 0,1 0 0 0 0,0 0 0 0 0,0 0 0 0 0,0 0 0 0 0,0 0 0 0 0,2 6 0 0 0,3 12 288 0 0,1 0 1 0 0,2 0 0 0 0,0 0 0 0 0,14 25-1 0 0,-12-27-134 0 0,-1 1-1 0 0,-1-1 0 0 0,0 2 0 0 0,7 35 0 0 0,-14-55-149 0 0,-1 1 1 0 0,0-1 0 0 0,1 1-1 0 0,-1-1 1 0 0,0 1 0 0 0,0-1 0 0 0,0 1-1 0 0,0-1 1 0 0,0 1 0 0 0,-1-1 0 0 0,1 1-1 0 0,0-1 1 0 0,-1 1 0 0 0,1-1-1 0 0,-1 0 1 0 0,1 1 0 0 0,-1-1 0 0 0,0 1-1 0 0,0-1 1 0 0,0 0 0 0 0,1 0-1 0 0,-1 1 1 0 0,0-1 0 0 0,0 0 0 0 0,-1 0-1 0 0,1 0 1 0 0,0 0 0 0 0,0 0-1 0 0,0-1 1 0 0,-1 1 0 0 0,1 0 0 0 0,0 0-1 0 0,-1-1 1 0 0,1 1 0 0 0,-1-1 0 0 0,1 1-1 0 0,-1-1 1 0 0,1 0 0 0 0,-1 1-1 0 0,1-1 1 0 0,-1 0 0 0 0,-1 0 0 0 0,-2 0-6 0 0,0 0 1 0 0,1 0-1 0 0,-1-1 1 0 0,0 0-1 0 0,0 0 0 0 0,1 0 1 0 0,-1 0-1 0 0,0 0 1 0 0,1-1-1 0 0,-1 0 1 0 0,-7-5-1 0 0,1-2-97 0 0,1-1-1 0 0,-1 0 0 0 0,2-1 0 0 0,-1 0 0 0 0,2-1 1 0 0,-11-18-1 0 0,-6-6-300 0 0,24 35 361 0 0,1 1 0 0 0,-1-1 0 0 0,0 0 0 0 0,0 0 0 0 0,0 0-1 0 0,0 0 1 0 0,0 1 0 0 0,-1-1 0 0 0,1 0 0 0 0,0 1 0 0 0,0-1 0 0 0,0 1-1 0 0,-1-1 1 0 0,1 1 0 0 0,0 0 0 0 0,0 0 0 0 0,-1-1 0 0 0,1 1 0 0 0,0 0-1 0 0,-1 0 1 0 0,1 0 0 0 0,0 0 0 0 0,0 1 0 0 0,-1-1 0 0 0,1 0-1 0 0,0 0 1 0 0,0 1 0 0 0,-1-1 0 0 0,1 1 0 0 0,0-1 0 0 0,0 1 0 0 0,0 0-1 0 0,-2 0 1 0 0,-3 3-110 0 0,-1 0-1 0 0,1 0 0 0 0,0 1 1 0 0,-5 5-1 0 0,8-8-43 0 0,-10 21-1888 0 0,13-22 1711 0 0,0-1-1 0 0,-1 1 0 0 0,1 0 0 0 0,0 0 0 0 0,0 0 0 0 0,-1 0 1 0 0,1 0-1 0 0,0 0 0 0 0,0-1 0 0 0,0 1 0 0 0,0 0 0 0 0,0 0 0 0 0,1 0 1 0 0,-1 0-1 0 0,0 1 0 0 0,7 10-3542 0 0</inkml:trace>
  <inkml:trace contextRef="#ctx0" brushRef="#br0" timeOffset="1">730 38 1220 0 0,'20'-14'3762'0'0,"-15"10"-2779"0"0,-1 1 1 0 0,2-1-1 0 0,-1 1 1 0 0,0 0-1 0 0,7-2 1 0 0,-9 4 15 0 0,2 3 81 0 0,-4-1-923 0 0,0-1 0 0 0,0 0-1 0 0,0 1 1 0 0,0-1 0 0 0,0 1 0 0 0,0-1 0 0 0,0 1 0 0 0,0 0 0 0 0,0-1 0 0 0,0 1 0 0 0,-1 0 0 0 0,1-1 0 0 0,0 1 0 0 0,0 0 0 0 0,-1 0-1 0 0,1 0 1 0 0,-1 0 0 0 0,1 0 0 0 0,-1 0 0 0 0,1 0 0 0 0,-1 0 0 0 0,1 0 0 0 0,-1 0 0 0 0,0 0 0 0 0,0 0 0 0 0,1 0 0 0 0,-1 0 0 0 0,0 0-1 0 0,0 0 1 0 0,0 2 0 0 0,2 61 3413 0 0,-6 73 0 0 0,0-12-2498 0 0,2-62-812 0 0,1-30-1885 0 0,1 0 1 0 0,7 57-1 0 0,-7-89 1358 0 0,1 4-269 0 0,0 0 1 0 0,0 0-1 0 0,0 0 0 0 0,5 8 1 0 0</inkml:trace>
</inkml:ink>
</file>

<file path=ppt/ink/ink3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8:50.90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8 87 836 0 0,'-77'-57'10450'0'0,"76"56"-10368"0"0,0 1 0 0 0,1 0 0 0 0,-1-1 0 0 0,1 1 0 0 0,-1-1 0 0 0,0 1 0 0 0,1 0 0 0 0,-1-1 0 0 0,1 0 0 0 0,-1 1 0 0 0,1-1 0 0 0,0 1 0 0 0,-1-1 0 0 0,1 0 1 0 0,0 1-1 0 0,-1-1 0 0 0,1 0 0 0 0,0 1 0 0 0,0-1 0 0 0,-1 0 0 0 0,1 1 0 0 0,0-1 0 0 0,0 0 0 0 0,0-1 0 0 0,0 2-38 0 0,1-1 1 0 0,-1 0-1 0 0,1 1 0 0 0,-1-1 0 0 0,1 1 1 0 0,-1-1-1 0 0,1 1 0 0 0,-1-1 0 0 0,1 1 1 0 0,0-1-1 0 0,-1 1 0 0 0,1-1 1 0 0,0 1-1 0 0,-1 0 0 0 0,1-1 0 0 0,0 1 1 0 0,-1 0-1 0 0,2 0 0 0 0,33-5 285 0 0,-34 5-301 0 0,147 6 776 0 0,-55 0-267 0 0,-33-5-209 0 0,71 5 1628 0 0,-131-6-1940 0 0,1 0-1 0 0,-1 0 1 0 0,1 0-1 0 0,-1 1 1 0 0,1-1-1 0 0,-1 0 1 0 0,1 0-1 0 0,-1 0 1 0 0,0 0 0 0 0,1 1-1 0 0,-1-1 1 0 0,1 0-1 0 0,-1 0 1 0 0,0 1-1 0 0,1-1 1 0 0,-1 0-1 0 0,0 1 1 0 0,1-1-1 0 0,-1 0 1 0 0,0 1-1 0 0,1-1 1 0 0,-1 0-1 0 0,0 1 1 0 0,0-1-1 0 0,0 1 1 0 0,1-1-1 0 0,-1 1 1 0 0,0-1-1 0 0,0 0 1 0 0,0 1-1 0 0,0-1 1 0 0,0 1-1 0 0,0-1 1 0 0,0 1-1 0 0,0-1 1 0 0,0 2 0 0 0,-4 16 401 0 0,3-15-417 0 0,-1 3 89 0 0,0 1 1 0 0,1 0-1 0 0,0-1 0 0 0,0 1 0 0 0,0 0 0 0 0,1 0 0 0 0,0 0 0 0 0,0 0 0 0 0,1-1 0 0 0,0 1 0 0 0,0 0 0 0 0,1 0 0 0 0,-1-1 0 0 0,1 1 1 0 0,1-1-1 0 0,-1 0 0 0 0,1 1 0 0 0,1-1 0 0 0,-1 0 0 0 0,1-1 0 0 0,0 1 0 0 0,0-1 0 0 0,0 1 0 0 0,7 5 0 0 0,-3-4-15 0 0,0 0 0 0 0,0-1-1 0 0,1 0 1 0 0,0 0 0 0 0,0-1-1 0 0,0 0 1 0 0,1 0 0 0 0,0-1-1 0 0,-1-1 1 0 0,2 0 0 0 0,-1 0-1 0 0,0-1 1 0 0,16 2 0 0 0,-21-3-51 0 0,0-1 0 0 0,0 0 0 0 0,0-1 0 0 0,1 1 0 0 0,-1-1-1 0 0,0 0 1 0 0,0 0 0 0 0,0 0 0 0 0,0-1 0 0 0,0 0 0 0 0,0 0 0 0 0,-1 0 0 0 0,1 0 0 0 0,-1-1 0 0 0,1 0 0 0 0,-1 0 0 0 0,0 0 0 0 0,0 0 0 0 0,0-1-1 0 0,-1 0 1 0 0,1 1 0 0 0,-1-1 0 0 0,0-1 0 0 0,0 1 0 0 0,0 0 0 0 0,0-1 0 0 0,-1 1 0 0 0,0-1 0 0 0,2-5 0 0 0,-2 5-32 0 0,-1-1-1 0 0,1 1 1 0 0,-1 0 0 0 0,0-1 0 0 0,-1 1 0 0 0,1-1 0 0 0,-1 0-1 0 0,0 1 1 0 0,-1-1 0 0 0,1 1 0 0 0,-1-1 0 0 0,0 1 0 0 0,0-1-1 0 0,-1 1 1 0 0,0 0 0 0 0,0-1 0 0 0,0 1 0 0 0,0 0 0 0 0,-1 0-1 0 0,0 1 1 0 0,-3-6 0 0 0,1 4-289 0 0,1 1 0 0 0,-1-1 0 0 0,0 1 0 0 0,-1-1-1 0 0,1 2 1 0 0,-1-1 0 0 0,0 1 0 0 0,0-1 0 0 0,-1 2 0 0 0,1-1 0 0 0,-1 1-1 0 0,0 0 1 0 0,0 0 0 0 0,0 1 0 0 0,-9-2 0 0 0,-3 0-2598 0 0,1 2-1 0 0,-27 0 1 0 0,13 2-4138 0 0</inkml:trace>
</inkml:ink>
</file>

<file path=ppt/ink/ink3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8:52.09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56 391 2060 0 0,'0'0'1481'0'0,"0"3"-261"0"0,-11 139 6308 0 0,2-50-5308 0 0,-11 202 717 0 0,16-266-1308 0 0,2-27-1263 0 0,2-1-351 0 0,-1 0 1 0 0,1 0-1 0 0,-1 0 0 0 0,1 1 0 0 0,-1-1 1 0 0,1 0-1 0 0,-1 0 0 0 0,1 0 0 0 0,-1 0 1 0 0,1 0-1 0 0,-1 0 0 0 0,1 0 0 0 0,-1 0 1 0 0,1 0-1 0 0,0 0 0 0 0,-1 0 0 0 0,1-1 1 0 0,-1 1-1 0 0,1 0 0 0 0,-1 0 0 0 0,1 0 1 0 0,-1 0-1 0 0,0-1 0 0 0,-10-14 31 0 0,1 0 0 0 0,1 0 0 0 0,0-1 0 0 0,1-1 0 0 0,1 1 0 0 0,0-1 0 0 0,1 0 0 0 0,1-1 0 0 0,-3-21 0 0 0,0-7-228 0 0,3 0 0 0 0,0-69-1 0 0,6 71 108 0 0,1 0-1 0 0,2 0 1 0 0,2 0-1 0 0,15-51 1 0 0,-16 75-23 0 0,2 0 1 0 0,0 0 0 0 0,1 1 0 0 0,1 0 0 0 0,1 0 0 0 0,0 1 0 0 0,2 0 0 0 0,0 1 0 0 0,1 0-1 0 0,28-28 1 0 0,-34 39-97 0 0,0 0-1 0 0,1 1 1 0 0,0 0-1 0 0,0 0 1 0 0,0 1-1 0 0,0 0 1 0 0,1 0-1 0 0,-1 1 1 0 0,1 0-1 0 0,0 0 1 0 0,0 1-1 0 0,0 0 1 0 0,15-1-1 0 0,-17 3-302 0 0,0 0-1 0 0,-1 1 1 0 0,1-1-1 0 0,0 1 0 0 0,0 0 1 0 0,0 1-1 0 0,0 0 1 0 0,-1 0-1 0 0,1 0 0 0 0,-1 1 1 0 0,1 0-1 0 0,-1 0 1 0 0,0 1-1 0 0,0-1 1 0 0,-1 1-1 0 0,1 1 0 0 0,-1-1 1 0 0,7 8-1 0 0,2 3-3195 0 0</inkml:trace>
</inkml:ink>
</file>

<file path=ppt/ink/ink3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8:52.45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10 0 1784 0 0,'-102'35'8317'0'0,"101"-35"-8256"0"0,1 0 0 0 0,0 0 0 0 0,-1 0 1 0 0,1 0-1 0 0,0 0 0 0 0,0 0 0 0 0,-1 0 0 0 0,1 0 1 0 0,0 0-1 0 0,0 1 0 0 0,-1-1 0 0 0,1 0 0 0 0,0 0 1 0 0,0 0-1 0 0,-1 0 0 0 0,1 1 0 0 0,0-1 0 0 0,0 0 0 0 0,-1 0 1 0 0,1 0-1 0 0,0 1 0 0 0,0-1 0 0 0,0 0 0 0 0,0 0 1 0 0,0 0-1 0 0,-1 1 0 0 0,1-1 0 0 0,0 0 0 0 0,0 1 1 0 0,0-1-1 0 0,0 0 0 0 0,0 0 0 0 0,0 1 0 0 0,8 4 469 0 0,18 1-200 0 0,461 32 2927 0 0,-442-37-1296 0 0,-16 0-510 0 0,40 6 1 0 0,-66-7-1418 0 0,-2 0-28 0 0,0 0 0 0 0,0 0 0 0 0,0 1-1 0 0,0-1 1 0 0,0 0 0 0 0,0 0 0 0 0,0 1 0 0 0,0-1 0 0 0,0 0 0 0 0,0 1-1 0 0,0-1 1 0 0,0 1 0 0 0,0-1 0 0 0,0 1 0 0 0,-1 0 0 0 0,1-1 0 0 0,0 1-1 0 0,0 0 1 0 0,-1-1 0 0 0,1 1 0 0 0,1 2 0 0 0,-1-1 2 0 0,0 1 1 0 0,1-1-1 0 0,-1 1 0 0 0,0 0 1 0 0,-1 0-1 0 0,1 0 0 0 0,0 4 1 0 0,1 5 13 0 0,-2-1 1 0 0,-1 22-1 0 0,-10 73-191 0 0,-1-39-6464 0 0</inkml:trace>
</inkml:ink>
</file>

<file path=ppt/ink/ink3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8:52.83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4 155 48 0 0,'-20'-48'8566'0'0,"11"28"-4401"0"0,-11-39 0 0 0,19 55-4313 0 0,0 3 27 0 0,1-1 0 0 0,-1 1 0 0 0,1 0 0 0 0,0 0 0 0 0,-1-1 0 0 0,1 1-1 0 0,0 0 1 0 0,0-1 0 0 0,0 1 0 0 0,0 0 0 0 0,0 0 0 0 0,0-1 0 0 0,0 1 0 0 0,1-3-1 0 0,0 4-130 0 0,0 0 0 0 0,1-1 0 0 0,-1 1 0 0 0,0 0 0 0 0,1 0-1 0 0,-1 0 1 0 0,0 0 0 0 0,0 0 0 0 0,1 0 0 0 0,-1 0 0 0 0,0 0-1 0 0,1 0 1 0 0,-1 1 0 0 0,0-1 0 0 0,0 0 0 0 0,0 1 0 0 0,1-1-1 0 0,0 2 1 0 0,34 7-4818 0 0,-21-5 2356 0 0</inkml:trace>
</inkml:ink>
</file>

<file path=ppt/ink/ink3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8:53.17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844 0 0,'7'7'641'0'0,"0"1"0"0"0,-1-1-1 0 0,0 1 1 0 0,-1 0 0 0 0,1 0 0 0 0,-2 0 0 0 0,1 1-1 0 0,-1 0 1 0 0,0 0 0 0 0,-1 0 0 0 0,0 0-1 0 0,3 18 1 0 0,-3-3 455 0 0,0-1 0 0 0,-2 1 0 0 0,0-1 1 0 0,-2 1-1 0 0,0-1 0 0 0,-2 0 0 0 0,-10 45 0 0 0,8-51 531 0 0,0-2 1204 0 0,8-24-1785 0 0,-2 4-994 0 0,1 0-1 0 0,0 0 0 0 0,1 0 1 0 0,-1 0-1 0 0,1 1 0 0 0,0-1 0 0 0,0 1 1 0 0,5-6-1 0 0,33-30-8 0 0,-34 34-39 0 0,2-2-28 0 0,1 0 1 0 0,0 1-1 0 0,0 0 1 0 0,0 1-1 0 0,1 0 1 0 0,-1 1-1 0 0,1 0 1 0 0,1 1-1 0 0,17-5 1 0 0,-25 9 18 0 0,0 0 0 0 0,0-1 1 0 0,0 1-1 0 0,0 1 0 0 0,0-1 1 0 0,0 1-1 0 0,-1-1 0 0 0,1 1 1 0 0,0 0-1 0 0,0 1 0 0 0,0-1 0 0 0,0 1 1 0 0,-1-1-1 0 0,6 4 0 0 0,-2-1-128 0 0,-1 0 1 0 0,0 1-1 0 0,0 0 0 0 0,0-1 0 0 0,-1 2 0 0 0,8 8 0 0 0,-10-10-84 0 0,0 1-1 0 0,0-1 1 0 0,-1 1 0 0 0,0-1-1 0 0,0 1 1 0 0,0 0 0 0 0,0 0-1 0 0,-1 0 1 0 0,1 0 0 0 0,-1 6-1 0 0,1 4-1717 0 0,-2-1-1 0 0,0 18 1 0 0,-1-6-3004 0 0</inkml:trace>
</inkml:ink>
</file>

<file path=ppt/ink/ink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2:44.25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3 299 68 0 0,'2'-2'1603'0'0,"-1"2"-1439"0"0,-1-1-1 0 0,1 0 0 0 0,0 1 0 0 0,0-1 1 0 0,-1 0-1 0 0,1 1 0 0 0,0-1 0 0 0,0 1 1 0 0,0-1-1 0 0,0 1 0 0 0,0 0 0 0 0,0-1 1 0 0,0 1-1 0 0,0 0 0 0 0,0 0 0 0 0,0-1 1 0 0,0 1-1 0 0,0 0 0 0 0,0 0 0 0 0,0 0 1 0 0,0 0-1 0 0,0 1 0 0 0,0-1 0 0 0,0 0 0 0 0,0 0 1 0 0,0 0-1 0 0,0 1 0 0 0,0-1 0 0 0,-1 1 1 0 0,1-1-1 0 0,1 1 0 0 0,0 2 56 0 0,0-1-1 0 0,0 0 1 0 0,0 1 0 0 0,-1-1-1 0 0,1 1 1 0 0,-1 0 0 0 0,0 0-1 0 0,1-1 1 0 0,-1 1 0 0 0,1 6-1 0 0,7 27 74 0 0,-1 1 0 0 0,3 44 0 0 0,-11-43-6196 0 0</inkml:trace>
  <inkml:trace contextRef="#ctx0" brushRef="#br0" timeOffset="1">17 171 208 0 0,'0'-18'1732'0'0,"-2"2"-508"0"0,2 0-180 0 0,-4 3-304 0 0,2-1-59 0 0,0 3-197 0 0,2 0 12 0 0,-2 2 144 0 0,-2-11-324 0 0,4 8-488 0 0,0-3-436 0 0,6 8-749 0 0,12-2-1667 0 0</inkml:trace>
</inkml:ink>
</file>

<file path=ppt/ink/ink3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8:53.56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21 7 1352 0 0,'12'-7'8210'0'0,"2"11"-7350"0"0,-9 0 70 0 0,3 17-112 0 0,-2-1-1 0 0,0 1 0 0 0,-2 0 0 0 0,0 1 0 0 0,-2-1 0 0 0,1 27 0 0 0,-3-29-627 0 0,0-1-1 0 0,-2 1 0 0 0,0 0 0 0 0,-1-1 0 0 0,-1 0 0 0 0,-1 1 1 0 0,-11 28-1 0 0,12-38-140 0 0,-1-1 1 0 0,0 0 0 0 0,0 0-1 0 0,-1-1 1 0 0,0 1 0 0 0,0-1-1 0 0,-1 0 1 0 0,0-1 0 0 0,0 0-1 0 0,0 0 1 0 0,-15 8 0 0 0,16-10-27 0 0,0-1-1 0 0,0 1 1 0 0,0-2 0 0 0,-1 1 0 0 0,1-1 0 0 0,-1 0 0 0 0,0 0 0 0 0,1-1 0 0 0,-1 0-1 0 0,0 0 1 0 0,0 0 0 0 0,0-1 0 0 0,0 0 0 0 0,1 0 0 0 0,-1-1 0 0 0,-12-3-1 0 0,16 4-48 0 0,1 0 0 0 0,0-1 0 0 0,0 0-1 0 0,0 1 1 0 0,0-1 0 0 0,1 0 0 0 0,-1 0-1 0 0,0 0 1 0 0,0 0 0 0 0,0 0-1 0 0,1 0 1 0 0,-1-1 0 0 0,1 1 0 0 0,-1-1-1 0 0,1 1 1 0 0,-1-1 0 0 0,1 1-1 0 0,0-1 1 0 0,0 0 0 0 0,0 0 0 0 0,0 0-1 0 0,0 1 1 0 0,0-1 0 0 0,0 0 0 0 0,1 0-1 0 0,-1 0 1 0 0,1 0 0 0 0,-1 0-1 0 0,1 0 1 0 0,0-1 0 0 0,0 1 0 0 0,0 0-1 0 0,0 0 1 0 0,0-3 0 0 0,1 2-7 0 0,0 0 1 0 0,0 0-1 0 0,0 0 1 0 0,1 0-1 0 0,-1 0 1 0 0,1 0-1 0 0,-1 1 1 0 0,1-1-1 0 0,0 1 1 0 0,0-1-1 0 0,0 1 1 0 0,0 0-1 0 0,1 0 1 0 0,-1 0-1 0 0,1 0 1 0 0,-1 0-1 0 0,1 1 1 0 0,0-1-1 0 0,-1 1 1 0 0,1-1-1 0 0,0 1 0 0 0,5-1 1 0 0,0 0 15 0 0,0 1 1 0 0,1 0-1 0 0,-1 1 1 0 0,0 0-1 0 0,0 0 1 0 0,1 0-1 0 0,-1 1 0 0 0,0 1 1 0 0,0 0-1 0 0,0 0 1 0 0,0 0-1 0 0,0 1 1 0 0,7 3-1 0 0,-2 0-366 0 0,-1 0 0 0 0,-1 0 1 0 0,1 1-1 0 0,-1 1 0 0 0,0 0 0 0 0,-1 0 0 0 0,12 13 1 0 0,-4 2-1726 0 0,-11-4-4315 0 0,-5-7 2749 0 0</inkml:trace>
</inkml:ink>
</file>

<file path=ppt/ink/ink3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8:56.77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92 34 1348 0 0,'-6'-34'7688'0'0,"-24"164"-4290"0"0,-9 105-846 0 0,30-203 478 0 0,9-32-2974 0 0,0 1 1 0 0,0-1-1 0 0,0 0 0 0 0,0 0 0 0 0,-1 0 1 0 0,1 0-1 0 0,0 1 0 0 0,0-1 0 0 0,0 0 1 0 0,0 0-1 0 0,0 0 0 0 0,0 1 0 0 0,0-1 1 0 0,0 0-1 0 0,0 0 0 0 0,0 0 0 0 0,-1 0 1 0 0,1 0-1 0 0,0 1 0 0 0,0-1 0 0 0,0 0 1 0 0,0 0-1 0 0,-1 0 0 0 0,1 0 0 0 0,0 0 1 0 0,0 0-1 0 0,0 0 0 0 0,0 0 0 0 0,-1 0 0 0 0,1 0 1 0 0,0 1-1 0 0,0-1 0 0 0,0 0 0 0 0,-1 0 1 0 0,1 0-1 0 0,0 0 0 0 0,0 0 0 0 0,-1 0 1 0 0,-1-17 304 0 0,3-4-326 0 0,0 1 1 0 0,2-1 0 0 0,0 0 0 0 0,1 1 0 0 0,1 0 0 0 0,1 0 0 0 0,1 0 0 0 0,1 1 0 0 0,0 0 0 0 0,1 0-1 0 0,1 1 1 0 0,16-22 0 0 0,-24 38-40 0 0,0-1-1 0 0,0 1 0 0 0,-1 0 0 0 0,1-1 1 0 0,1 1-1 0 0,-1 0 0 0 0,0 0 0 0 0,0 0 1 0 0,1 1-1 0 0,-1-1 0 0 0,1 1 0 0 0,-1-1 1 0 0,1 1-1 0 0,0 0 0 0 0,0 0 0 0 0,-1 0 1 0 0,1 0-1 0 0,0 1 0 0 0,0-1 1 0 0,0 1-1 0 0,0-1 0 0 0,0 1 0 0 0,0 0 1 0 0,0 0-1 0 0,0 1 0 0 0,0-1 0 0 0,0 0 1 0 0,0 1-1 0 0,-1 0 0 0 0,1 0 0 0 0,0 0 1 0 0,0 0-1 0 0,-1 0 0 0 0,1 0 0 0 0,4 4 1 0 0,0 0-5 0 0,0 0 1 0 0,0 0-1 0 0,-1 1 1 0 0,0-1-1 0 0,0 2 1 0 0,-1-1 0 0 0,0 0-1 0 0,0 1 1 0 0,0 0-1 0 0,-1 0 1 0 0,5 12-1 0 0,-1 2 98 0 0,-2 0 0 0 0,8 44 0 0 0,-11-45 1465 0 0,-4-21-1541 0 0,1-1 0 0 0,-1 1 0 0 0,0 0 1 0 0,1-1-1 0 0,0 1 0 0 0,-1 0 0 0 0,1-1 0 0 0,-1 1 0 0 0,1 0 0 0 0,0-1 1 0 0,0 1-1 0 0,0-1 0 0 0,0 1 0 0 0,0 0 0 0 0,0-1 0 0 0,0 1 0 0 0,1-1 0 0 0,0-1 1 0 0,8-26 82 0 0,-5 21-114 0 0,-1 0 0 0 0,1 0 0 0 0,1 1 1 0 0,0 0-1 0 0,0 0 0 0 0,0 0 0 0 0,1 0 0 0 0,0 1 0 0 0,0 0 0 0 0,8-6 0 0 0,-12 11 12 0 0,0 0 0 0 0,0 0 0 0 0,0 0-1 0 0,0 0 1 0 0,0 1 0 0 0,0-1-1 0 0,0 0 1 0 0,1 1 0 0 0,-1 0-1 0 0,0-1 1 0 0,0 1 0 0 0,1 0 0 0 0,-1 0-1 0 0,0 0 1 0 0,0 1 0 0 0,1-1-1 0 0,-1 1 1 0 0,0-1 0 0 0,0 1-1 0 0,0-1 1 0 0,0 1 0 0 0,0 0 0 0 0,0 0-1 0 0,0 0 1 0 0,0 0 0 0 0,0 1-1 0 0,0-1 1 0 0,0 0 0 0 0,-1 1-1 0 0,1 0 1 0 0,1 1 0 0 0,4 4-3 0 0,-1 0 1 0 0,0 1-1 0 0,0-1 0 0 0,-1 1 1 0 0,0 0-1 0 0,4 9 0 0 0,7 18 37 0 0,-10-21-32 0 0,0 0 0 0 0,1 0 0 0 0,0-1 1 0 0,1 0-1 0 0,19 24 0 0 0,-25-35 19 0 0,0 0 0 0 0,1 0 0 0 0,0 0 0 0 0,-1 0 0 0 0,1 0 0 0 0,0 0 0 0 0,0-1 0 0 0,0 1 0 0 0,0-1 0 0 0,0 0 0 0 0,0 0 0 0 0,0 0 0 0 0,0 0 0 0 0,0-1 0 0 0,1 1 0 0 0,4-1 0 0 0,-2 0-22 0 0,0 0 0 0 0,-1-1-1 0 0,1 0 1 0 0,-1-1 0 0 0,0 1 0 0 0,1-1 0 0 0,-1 0-1 0 0,0 0 1 0 0,5-3 0 0 0,6-4-116 0 0,-1-1 0 0 0,-1-1 0 0 0,0 0 1 0 0,25-26-1 0 0,-24 21-14 0 0,0-1 1 0 0,-1 0 0 0 0,0-1 0 0 0,19-37-1 0 0,-32 53 124 0 0,0 1 0 0 0,0-1-1 0 0,0 0 1 0 0,-1 0 0 0 0,1 0 0 0 0,-1 0-1 0 0,1 0 1 0 0,-1 0 0 0 0,0 0-1 0 0,0 0 1 0 0,1 0 0 0 0,-2-3 0 0 0,1 5 6 0 0,0-1 1 0 0,0 0-1 0 0,0 0 1 0 0,-1 1-1 0 0,1-1 1 0 0,0 0-1 0 0,-1 1 1 0 0,1-1-1 0 0,0 0 1 0 0,-1 1-1 0 0,1-1 1 0 0,-1 1-1 0 0,1-1 1 0 0,-1 1-1 0 0,1-1 1 0 0,-1 1-1 0 0,0-1 1 0 0,1 1-1 0 0,-1-1 1 0 0,1 1-1 0 0,-1 0 1 0 0,-1-1-1 0 0,0 0 1 0 0,0 1 0 0 0,0 0 0 0 0,0 0 0 0 0,1 0 0 0 0,-1 0 0 0 0,0 0 0 0 0,0 0 0 0 0,0 1 1 0 0,0-1-1 0 0,0 0 0 0 0,0 1 0 0 0,1 0 0 0 0,-1-1 0 0 0,0 1 0 0 0,0 0 0 0 0,1 0 0 0 0,-1 0 0 0 0,0 0 0 0 0,1 0 0 0 0,-1 0 0 0 0,1 1 0 0 0,-3 2 0 0 0,2-2 5 0 0,-1 1 0 0 0,0 0 1 0 0,1 1-1 0 0,0-1 0 0 0,-1 0 1 0 0,1 1-1 0 0,1 0 0 0 0,-1-1 1 0 0,0 1-1 0 0,1 0 0 0 0,0 0 0 0 0,0 0 1 0 0,0-1-1 0 0,0 1 0 0 0,1 0 1 0 0,-1 0-1 0 0,1 1 0 0 0,0-1 0 0 0,0 0 1 0 0,1 0-1 0 0,-1 0 0 0 0,1 0 1 0 0,0 0-1 0 0,2 5 0 0 0,1 2 76 0 0,1-1 0 0 0,0 0-1 0 0,0 0 1 0 0,1 0 0 0 0,0 0 0 0 0,1-1-1 0 0,11 11 1 0 0,-17-18-57 0 0,0-1-1 0 0,-1 0 1 0 0,1 0-1 0 0,0 0 1 0 0,1 0-1 0 0,-1-1 1 0 0,0 1-1 0 0,0 0 1 0 0,0 0 0 0 0,0-1-1 0 0,1 1 1 0 0,-1-1-1 0 0,0 1 1 0 0,1-1-1 0 0,-1 1 1 0 0,0-1-1 0 0,1 0 1 0 0,-1 0-1 0 0,0 0 1 0 0,1 1 0 0 0,-1-1-1 0 0,1-1 1 0 0,-1 1-1 0 0,0 0 1 0 0,1 0-1 0 0,-1 0 1 0 0,0-1-1 0 0,1 1 1 0 0,-1-1 0 0 0,0 1-1 0 0,1-1 1 0 0,-1 1-1 0 0,0-1 1 0 0,0 0-1 0 0,0 0 1 0 0,0 1-1 0 0,0-1 1 0 0,2-2 0 0 0,0 0-7 0 0,0 0 1 0 0,-1 0 0 0 0,1 0 0 0 0,-1 0-1 0 0,0 0 1 0 0,0 0 0 0 0,0-1 0 0 0,0 1-1 0 0,0-1 1 0 0,-1 1 0 0 0,0-1 0 0 0,1-5-1 0 0,-1 2-21 0 0,-1-1 0 0 0,0 1 0 0 0,0-1 0 0 0,-1 0 0 0 0,0 1 0 0 0,-1-1 0 0 0,1 1 0 0 0,-1-1 0 0 0,-1 1 0 0 0,0 0 0 0 0,-5-10 0 0 0,-19-28-1900 0 0,-5 9-3754 0 0</inkml:trace>
</inkml:ink>
</file>

<file path=ppt/ink/ink3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8:57.12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1680 0 0,'5'0'344'0'0,"0"0"0"0"0,-1 1 0 0 0,1 0 0 0 0,0 0 0 0 0,-1 0 0 0 0,1 0 0 0 0,-1 1 0 0 0,1 0 0 0 0,-1-1 0 0 0,0 2 1 0 0,0-1-1 0 0,0 0 0 0 0,0 1 0 0 0,0 0 0 0 0,0 0 0 0 0,-1 0 0 0 0,1 0 0 0 0,-1 1 0 0 0,0-1 0 0 0,0 1 0 0 0,0 0 0 0 0,-1 0 0 0 0,1 0 0 0 0,-1 0 0 0 0,0 0 0 0 0,0 1 0 0 0,2 7 0 0 0,6 22 842 0 0,-2 1 1 0 0,7 54-1 0 0,-2-6-110 0 0,-8-54-821 0 0,4 17 3833 0 0,-9-46-4059 0 0,0 1 0 0 0,0-1 1 0 0,1 0-1 0 0,-1 0 0 0 0,0 1 0 0 0,0-1 0 0 0,0 0 0 0 0,1 1 0 0 0,-1-1 0 0 0,0 0 0 0 0,0 0 0 0 0,1 0 1 0 0,-1 1-1 0 0,0-1 0 0 0,0 0 0 0 0,1 0 0 0 0,-1 0 0 0 0,0 0 0 0 0,1 1 0 0 0,-1-1 0 0 0,0 0 0 0 0,1 0 1 0 0,-1 0-1 0 0,0 0 0 0 0,1 0 0 0 0,-1 0 0 0 0,0 0 0 0 0,1 0 0 0 0,-1 0 0 0 0,0 0 0 0 0,1 0 0 0 0,-1 0 1 0 0,0 0-1 0 0,1 0 0 0 0,-1 0 0 0 0,0-1 0 0 0,0 1 0 0 0,1 0 0 0 0,-1 0 0 0 0,0 0 0 0 0,1 0 1 0 0,-1-1-1 0 0,0 1 0 0 0,0 0 0 0 0,1 0 0 0 0,-1 0 0 0 0,0-1 0 0 0,0 1 0 0 0,0 0 0 0 0,1-1 0 0 0,-1 1 1 0 0,14-14 391 0 0,13-26 71 0 0,37-77 0 0 0,-25 42-1352 0 0,-27 53 73 0 0,31-51-6724 0 0,-40 70 6847 0 0,0 1 0 0 0,-1 0 0 0 0,1 0 0 0 0,0 0 0 0 0,0 0 0 0 0,1 0 1 0 0,-1 1-1 0 0,0 0 0 0 0,1 0 0 0 0,-1-1 0 0 0,0 2 0 0 0,1-1 0 0 0,6 0 0 0 0,12-2-1689 0 0</inkml:trace>
</inkml:ink>
</file>

<file path=ppt/ink/ink3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8:57.53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86 3288 0 0,'9'3'614'0'0,"0"1"0"0"0,0 0 1 0 0,0 0-1 0 0,0 1 0 0 0,-1 0 0 0 0,11 10 0 0 0,-15-11-202 0 0,0 0 1 0 0,0 1-1 0 0,0-1 0 0 0,-1 1 1 0 0,1 0-1 0 0,-1 0 1 0 0,-1 1-1 0 0,1-1 0 0 0,-1 0 1 0 0,0 1-1 0 0,0-1 0 0 0,1 7 1 0 0,2 10 331 0 0,-2 1 0 0 0,0-1-1 0 0,-2 0 1 0 0,0 1 0 0 0,-3 26 0 0 0,-2-13-1264 0 0,-1 0-1 0 0,-15 49 1 0 0,13-58-2161 0 0</inkml:trace>
  <inkml:trace contextRef="#ctx0" brushRef="#br0" timeOffset="1">72 252 1552 0 0,'1'-40'3467'0'0,"-1"-1"0"0"0,-8-52 0 0 0,5 57-2883 0 0,-1-6-2050 0 0</inkml:trace>
</inkml:ink>
</file>

<file path=ppt/ink/ink3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8:57.89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6 616 0 0,'10'9'1299'0'0,"-1"-1"468"0"0,-1 0 0 0 0,18 11 0 0 0,-22-17-1462 0 0,1 0 0 0 0,-1 0 0 0 0,0 0 0 0 0,1 0 0 0 0,-1-1 0 0 0,1 0 0 0 0,-1 0 0 0 0,1 0 0 0 0,0 0 0 0 0,7-1 0 0 0,-4 0-132 0 0,-1 0 0 0 0,0-1 0 0 0,1 0-1 0 0,-1 0 1 0 0,0 0 0 0 0,1-1 0 0 0,-1-1 0 0 0,0 1 0 0 0,0-1 0 0 0,-1 0 0 0 0,1-1 0 0 0,0 1-1 0 0,-1-1 1 0 0,0-1 0 0 0,0 1 0 0 0,9-10 0 0 0,-9 8 44 0 0,-3 4-138 0 0,-1 0-1 0 0,0 0 0 0 0,0-1 1 0 0,0 1-1 0 0,0-1 1 0 0,0 1-1 0 0,-1-1 1 0 0,1 1-1 0 0,1-6 0 0 0,-3 8-74 0 0,0-1 0 0 0,0 1 0 0 0,0-1 0 0 0,0 1-1 0 0,0 0 1 0 0,0-1 0 0 0,-1 1 0 0 0,1-1 0 0 0,0 1-1 0 0,0 0 1 0 0,0-1 0 0 0,-1 1 0 0 0,1 0 0 0 0,0-1 0 0 0,-1 1-1 0 0,1 0 1 0 0,0 0 0 0 0,-1-1 0 0 0,1 1 0 0 0,0 0-1 0 0,-1 0 1 0 0,1-1 0 0 0,0 1 0 0 0,-1 0 0 0 0,1 0 0 0 0,-1 0-1 0 0,1 0 1 0 0,0 0 0 0 0,-1 0 0 0 0,1 0 0 0 0,-1 0-1 0 0,1 0 1 0 0,0 0 0 0 0,-1 0 0 0 0,1 0 0 0 0,-1 0 0 0 0,1 0-1 0 0,-1 0 1 0 0,1 0 0 0 0,-1 0 0 0 0,-17 1 25 0 0,18-1-27 0 0,-7 2 66 0 0,0-1 0 0 0,0 1 1 0 0,1 1-1 0 0,-1-1 0 0 0,1 1 0 0 0,0 1 0 0 0,0-1 0 0 0,0 1 0 0 0,0 0 0 0 0,0 0 0 0 0,1 1 0 0 0,0-1 0 0 0,0 1 0 0 0,0 0 0 0 0,1 1 1 0 0,-1-1-1 0 0,-5 11 0 0 0,3-5 98 0 0,1 0 0 0 0,1 1 0 0 0,-1-1 0 0 0,2 1 1 0 0,0 0-1 0 0,0 0 0 0 0,1 0 0 0 0,-2 23 0 0 0,4-25-35 0 0,1-1 0 0 0,0 0-1 0 0,1 1 1 0 0,0-1 0 0 0,0 0 0 0 0,1 0-1 0 0,0 0 1 0 0,1 0 0 0 0,0 0-1 0 0,0 0 1 0 0,1 0 0 0 0,0-1 0 0 0,1 0-1 0 0,0 0 1 0 0,11 14 0 0 0,-12-17-92 0 0,0-1 1 0 0,1 1 0 0 0,-1-1 0 0 0,1 0-1 0 0,1 0 1 0 0,-1-1 0 0 0,0 0-1 0 0,1 0 1 0 0,-1 0 0 0 0,1 0-1 0 0,0-1 1 0 0,0 0 0 0 0,0 0-1 0 0,0-1 1 0 0,0 0 0 0 0,1 0-1 0 0,-1 0 1 0 0,0-1 0 0 0,0 1-1 0 0,1-2 1 0 0,-1 1 0 0 0,0-1 0 0 0,0 0-1 0 0,9-2 1 0 0,-6 0-41 0 0,0-1 0 0 0,-1 1 1 0 0,1-2-1 0 0,-1 1 0 0 0,0-1 0 0 0,0 0 1 0 0,-1-1-1 0 0,0 0 0 0 0,0 0 1 0 0,0 0-1 0 0,0-1 0 0 0,-1 0 0 0 0,9-13 1 0 0,6-12-74 0 0,-2-1 0 0 0,16-35 0 0 0,-25 47 52 0 0,-1 4 22 0 0,-2 1-112 0 0,18-26-1 0 0,-24 40 74 0 0,0 2 1 0 0,-1 0 35 0 0,1 1 0 0 0,0-1 0 0 0,-1 0 0 0 0,1 1 0 0 0,-1-1 1 0 0,1 0-1 0 0,0 1 0 0 0,-1-1 0 0 0,1 1 0 0 0,-1-1 0 0 0,0 1 0 0 0,1 0 0 0 0,-1-1 0 0 0,1 1 0 0 0,-1-1 0 0 0,0 1 0 0 0,1 0 0 0 0,-1-1 0 0 0,0 1 0 0 0,0 0 0 0 0,1-1 0 0 0,-1 1 0 0 0,0 0 1 0 0,0-1-1 0 0,0 1 0 0 0,0 0 0 0 0,0 1 0 0 0,1 25-43 0 0,-1-21 41 0 0,3 42 18 0 0,3 86-19 0 0,-6-109 84 0 0,-1 1 0 0 0,-2-1 0 0 0,-6 29 1 0 0,8-49-130 0 0,0-1 1 0 0,-1 0 0 0 0,0 0 0 0 0,1 0 0 0 0,-1 0 0 0 0,-1 0 0 0 0,1 0 0 0 0,-1 0 0 0 0,1-1 0 0 0,-1 1 0 0 0,0-1 0 0 0,0 0 0 0 0,0 0 0 0 0,-1 0 0 0 0,1 0 0 0 0,-1 0 0 0 0,0-1 0 0 0,0 0-1 0 0,1 0 1 0 0,-7 3 0 0 0,3-3-766 0 0,0 1 0 0 0,0-1 0 0 0,0-1 0 0 0,-13 2-1 0 0,11-2-1096 0 0,1 0 0 0 0,-1-1-1 0 0,-12-2 1 0 0,5-1-3032 0 0</inkml:trace>
</inkml:ink>
</file>

<file path=ppt/ink/ink3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8:59.02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38 50 932 0 0,'-9'-12'3398'0'0,"-12"-26"587"0"0,1 39-3613 0 0,17 0-313 0 0,0 0-1 0 0,0 0 1 0 0,0 1 0 0 0,1-1 0 0 0,-1 1 0 0 0,1-1-1 0 0,-1 1 1 0 0,1 0 0 0 0,0 0 0 0 0,-1 0-1 0 0,1 1 1 0 0,0-1 0 0 0,0 0 0 0 0,1 1 0 0 0,-1-1-1 0 0,0 1 1 0 0,-1 4 0 0 0,1-3 34 0 0,1 1-1 0 0,0-1 1 0 0,1 0 0 0 0,-1 0-1 0 0,1 1 1 0 0,-1-1 0 0 0,1 0-1 0 0,1 0 1 0 0,-1 1 0 0 0,1-1-1 0 0,1 6 1 0 0,2 5 146 0 0,2 1 1 0 0,-1-1-1 0 0,2 0 0 0 0,0-1 0 0 0,15 23 0 0 0,80 97 418 0 0,-52-73-495 0 0,-48-58-169 0 0,10 16 371 0 0,-12-19-355 0 0,0 0 0 0 0,1 1-1 0 0,-1-1 1 0 0,0 0 0 0 0,0 1-1 0 0,0-1 1 0 0,0 1 0 0 0,0-1-1 0 0,0 0 1 0 0,1 1 0 0 0,-1-1-1 0 0,0 0 1 0 0,0 1 0 0 0,0-1-1 0 0,0 1 1 0 0,-1-1 0 0 0,1 0-1 0 0,0 1 1 0 0,0-1 0 0 0,0 1 0 0 0,0-1-1 0 0,0 0 1 0 0,0 1 0 0 0,-1-1-1 0 0,1 0 1 0 0,0 1 0 0 0,0-1-1 0 0,0 0 1 0 0,-1 1 0 0 0,1-1-1 0 0,0 0 1 0 0,-1 0 0 0 0,1 1-1 0 0,0-1 1 0 0,0 0 0 0 0,-1 0-1 0 0,1 0 1 0 0,0 1 0 0 0,-1-1-1 0 0,1 0 1 0 0,-1 0 0 0 0,1 0-1 0 0,0 0 1 0 0,-1 0 0 0 0,1 0-1 0 0,0 1 1 0 0,-1-1 0 0 0,1 0-1 0 0,-1 0 1 0 0,0-1 0 0 0,-5 2 13 0 0,-1-1 1 0 0,0-1-1 0 0,0 0 1 0 0,0 0-1 0 0,1 0 1 0 0,-1 0 0 0 0,0-1-1 0 0,1 0 1 0 0,-1-1-1 0 0,1 0 1 0 0,0 0-1 0 0,0 0 1 0 0,0 0 0 0 0,0-1-1 0 0,1 0 1 0 0,0 0-1 0 0,-1-1 1 0 0,1 0-1 0 0,-5-6 1 0 0,0 0-87 0 0,1-1 1 0 0,0 0 0 0 0,0 0-1 0 0,2 0 1 0 0,-1-1-1 0 0,2-1 1 0 0,-11-27 0 0 0,9 24 20 0 0,-2-8-187 0 0,7 26 278 0 0,2-1-46 0 0,1 0 1 0 0,0 0 0 0 0,-1 0-1 0 0,1 0 1 0 0,-1 0 0 0 0,1 0-1 0 0,0 0 1 0 0,-1 0 0 0 0,1 0 0 0 0,0 0-1 0 0,-1 0 1 0 0,1 0 0 0 0,0 0-1 0 0,-1 0 1 0 0,1 0 0 0 0,0 0-1 0 0,-1 0 1 0 0,1 1 0 0 0,0-1 0 0 0,0 0-1 0 0,-1 0 1 0 0,1 0 0 0 0,0 1-1 0 0,-1-1 1 0 0,1 0 0 0 0,0 0-1 0 0,0 1 1 0 0,0-1 0 0 0,-1 1 0 0 0,-6 18 317 0 0,-89 220 658 0 0,83-200-4483 0 0,12-37 2457 0 0</inkml:trace>
</inkml:ink>
</file>

<file path=ppt/ink/ink3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8:59.39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 1636 0 0,'5'-1'664'0'0,"0"1"-1"0"0,0 0 1 0 0,-1-1 0 0 0,1 2-1 0 0,0-1 1 0 0,7 2 0 0 0,-10-2-464 0 0,0 1 1 0 0,-1-1 0 0 0,1 1 0 0 0,0 0 0 0 0,-1-1-1 0 0,1 1 1 0 0,-1 0 0 0 0,1 0 0 0 0,-1 0 0 0 0,1 0-1 0 0,-1 1 1 0 0,0-1 0 0 0,1 0 0 0 0,-1 0 0 0 0,0 1-1 0 0,0-1 1 0 0,0 1 0 0 0,0-1 0 0 0,0 1 0 0 0,-1-1-1 0 0,1 1 1 0 0,0 0 0 0 0,-1-1 0 0 0,1 1 0 0 0,0 2-1 0 0,22 124 2128 0 0,-11-43-8315 0 0,-6-71 548 0 0</inkml:trace>
</inkml:ink>
</file>

<file path=ppt/ink/ink3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9:00.00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 127 1444 0 0,'-3'-48'4571'0'0,"2"32"-3317"0"0,0 0 0 0 0,2-20 0 0 0,-1 36-1243 0 0,0-1 1 0 0,0 1-1 0 0,0-1 1 0 0,0 1-1 0 0,1-1 0 0 0,-1 1 1 0 0,0-1-1 0 0,0 1 1 0 0,1-1-1 0 0,-1 1 0 0 0,0-1 1 0 0,1 1-1 0 0,-1-1 1 0 0,1 1-1 0 0,-1 0 0 0 0,0-1 1 0 0,1 1-1 0 0,-1 0 1 0 0,1-1-1 0 0,-1 1 0 0 0,1 0 1 0 0,-1 0-1 0 0,1-1 1 0 0,-1 1-1 0 0,1 0 0 0 0,-1 0 1 0 0,1 0-1 0 0,1 0 1 0 0,18 2 65 0 0,-10 3-68 0 0,-1 0-1 0 0,0 0 1 0 0,0 1 0 0 0,0 0 0 0 0,0 1 0 0 0,-1 0-1 0 0,0 0 1 0 0,-1 0 0 0 0,0 1 0 0 0,0 1-1 0 0,-1-1 1 0 0,1 1 0 0 0,-2 0 0 0 0,7 14-1 0 0,1 4 257 0 0,-1 0-1 0 0,-2 0 1 0 0,-1 1 0 0 0,7 36-1 0 0,-11-36 372 0 0,-1 1-1 0 0,-1 38 1 0 0,-3-16 2575 0 0,0-42-2228 0 0,-2 1 1248 0 0,-3-14-1651 0 0,-2-13-412 0 0,7 12-138 0 0,0-1 1 0 0,0 1-1 0 0,1 0 0 0 0,0 0 1 0 0,-1-1-1 0 0,2 1 0 0 0,-1 0 0 0 0,1 0 1 0 0,-1 0-1 0 0,2 0 0 0 0,-1 0 0 0 0,0 1 1 0 0,1-1-1 0 0,0 1 0 0 0,4-6 0 0 0,-3 5-39 0 0,1-1-1 0 0,0 1 0 0 0,1 0 1 0 0,-1 0-1 0 0,1 1 0 0 0,0 0 0 0 0,0 0 1 0 0,0 0-1 0 0,1 1 0 0 0,7-4 1 0 0,-10 7-1 0 0,0-1 1 0 0,0 1 0 0 0,0 0 0 0 0,1 0 0 0 0,-1 0-1 0 0,0 0 1 0 0,0 1 0 0 0,0 0 0 0 0,1 0 0 0 0,-1 0-1 0 0,0 0 1 0 0,0 0 0 0 0,0 1 0 0 0,-1 0-1 0 0,1 0 1 0 0,0 0 0 0 0,-1 0 0 0 0,1 1 0 0 0,-1-1-1 0 0,6 6 1 0 0,-4-2 2 0 0,0 1-1 0 0,0-1 1 0 0,0 1-1 0 0,-1 0 1 0 0,1 0-1 0 0,4 13 1 0 0,-4-6 12 0 0,-1 0 0 0 0,-1 0 1 0 0,3 24-1 0 0,-5-31 166 0 0,-2-6 359 0 0,-2-6-494 0 0,3 4-34 0 0,0 0 0 0 0,-1 0-1 0 0,1 0 1 0 0,0 0 0 0 0,0 0-1 0 0,-1 0 1 0 0,1 0 0 0 0,0 0-1 0 0,0 1 1 0 0,0-1 0 0 0,0 0-1 0 0,0 0 1 0 0,1 0 0 0 0,-1 0 0 0 0,0 0-1 0 0,0 0 1 0 0,1 0 0 0 0,-1-1-1 0 0,1 0 1 0 0,2-9-25 0 0,-1 1 1 0 0,2 0 0 0 0,0 0 0 0 0,0 0-1 0 0,1 0 1 0 0,0 0 0 0 0,1 1-1 0 0,0 0 1 0 0,0 0 0 0 0,1 1-1 0 0,0 0 1 0 0,0 0 0 0 0,13-10 0 0 0,-18 16 13 0 0,-1 1 1 0 0,1 0 0 0 0,0 0-1 0 0,-1 0 1 0 0,1 0 0 0 0,0 0 0 0 0,0 0-1 0 0,-1 1 1 0 0,1-1 0 0 0,0 0-1 0 0,0 1 1 0 0,0 0 0 0 0,0-1-1 0 0,0 1 1 0 0,0 0 0 0 0,0 0 0 0 0,0 0-1 0 0,0 0 1 0 0,2 1 0 0 0,-1-1 8 0 0,0 1 0 0 0,0 0-1 0 0,1 1 1 0 0,-1-1 0 0 0,0 0 0 0 0,-1 1 0 0 0,1 0 0 0 0,0-1 0 0 0,0 1 0 0 0,-1 0 0 0 0,1 0 0 0 0,-1 1 0 0 0,1-1 0 0 0,-1 1 0 0 0,0-1 0 0 0,0 1 0 0 0,0 0 0 0 0,-1-1 0 0 0,1 1 0 0 0,-1 0 0 0 0,1 0-1 0 0,1 5 1 0 0,4 7-33 0 0,-4-7-307 0 0,0 0 0 0 0,0 0 0 0 0,-1 0-1 0 0,0 0 1 0 0,2 11 0 0 0,-4-12-667 0 0,2 0 0 0 0,-1 0 0 0 0,1 0 0 0 0,0 0 0 0 0,1 0 0 0 0,6 13 0 0 0,-4-19-193 0 0,-1-1 863 0 0,0-1-1 0 0,0 0 1 0 0,0 0 0 0 0,0 0 0 0 0,0-1-1 0 0,0 1 1 0 0,0-1 0 0 0,-1 0 0 0 0,1 0-1 0 0,-1 0 1 0 0,1-1 0 0 0,3-2 0 0 0,7-8 882 0 0,21-23 0 0 0,-7 8 2852 0 0,-27 27-3231 0 0,0-1 1 0 0,0 1-1 0 0,0 0 0 0 0,0 0 1 0 0,0 0-1 0 0,1 0 0 0 0,-1 0 1 0 0,1 0-1 0 0,-1 0 0 0 0,0 0 1 0 0,1 1-1 0 0,0-1 1 0 0,-1 0-1 0 0,1 1 0 0 0,-1-1 1 0 0,1 1-1 0 0,0 0 0 0 0,-1-1 1 0 0,1 1-1 0 0,1 0 0 0 0,-1 1-34 0 0,-1 0 0 0 0,0 0 0 0 0,1 1 1 0 0,-1-1-1 0 0,0 0 0 0 0,0 0 0 0 0,0 1 0 0 0,0-1 0 0 0,0 1 0 0 0,0-1 0 0 0,0 1 0 0 0,-1-1 0 0 0,1 1 0 0 0,-1 0 0 0 0,1-1 0 0 0,-1 1 0 0 0,1 2 1 0 0,3 9 93 0 0,-1 1 1 0 0,-1 0 0 0 0,0 0 0 0 0,0 15-1 0 0,-1 27-3782 0 0,-1-38 770 0 0,-4-10 453 0 0</inkml:trace>
</inkml:ink>
</file>

<file path=ppt/ink/ink3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9:00.37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9 262 1832 0 0,'-9'-126'10094'0'0,"0"6"-6282"0"0,9 119-3926 0 0,1 0-1 0 0,-1 0 1 0 0,0 0-1 0 0,1 1 1 0 0,-1-1-1 0 0,0 0 1 0 0,1 0-1 0 0,-1 1 1 0 0,1-1-1 0 0,0 0 1 0 0,-1 1-1 0 0,1-1 1 0 0,0 0-1 0 0,-1 1 1 0 0,1-1-1 0 0,0 1 1 0 0,-1-1-1 0 0,1 1 0 0 0,0 0 1 0 0,0-1-1 0 0,0 1 1 0 0,0 0-1 0 0,-1-1 1 0 0,1 1-1 0 0,0 0 1 0 0,0 0-1 0 0,0 0 1 0 0,0 0-1 0 0,0 0 1 0 0,0 0-1 0 0,-1 0 1 0 0,1 0-1 0 0,0 0 1 0 0,1 0-1 0 0,19 3-2581 0 0,34 8-1 0 0,-40-7 2484 0 0,0 1 0 0 0,-1 0 0 0 0,17 10 0 0 0,-23-12 518 0 0,-1 2 1 0 0,0-1 0 0 0,0 1-1 0 0,0 0 1 0 0,0 0 0 0 0,-1 1-1 0 0,0 0 1 0 0,0 0 0 0 0,0 1-1 0 0,-1-1 1 0 0,0 1 0 0 0,0 0-1 0 0,-1 1 1 0 0,0-1 0 0 0,0 1-1 0 0,4 12 1 0 0,1 17 395 0 0,-2 0-1 0 0,-1 1 1 0 0,-2-1-1 0 0,-2 1 1 0 0,-2 53 0 0 0,-6-10-204 0 0,0 43-4314 0 0,6-123 3640 0 0,0 0-1 0 0,0 0 0 0 0,1-1 1 0 0,-1 1-1 0 0,0 0 1 0 0,0-1-1 0 0,1 1 1 0 0,-1 0-1 0 0,0 0 1 0 0,1-1-1 0 0,-1 1 0 0 0,1-1 1 0 0,-1 1-1 0 0,1 0 1 0 0,-1-1-1 0 0,1 1 1 0 0,0-1-1 0 0,-1 0 1 0 0,1 1-1 0 0,-1-1 1 0 0,1 1-1 0 0,0-1 0 0 0,-1 0 1 0 0,1 1-1 0 0,0-1 1 0 0,0 0-1 0 0,-1 0 1 0 0,1 0-1 0 0,0 1 1 0 0,0-1-1 0 0,-1 0 1 0 0,1 0-1 0 0,1 0 0 0 0</inkml:trace>
</inkml:ink>
</file>

<file path=ppt/ink/ink3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9:00.72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80 83 1012 0 0,'2'-2'365'0'0,"0"0"-1"0"0,-1-1 1 0 0,1 1-1 0 0,-1-1 0 0 0,1 1 1 0 0,-1-1-1 0 0,0 0 1 0 0,0 1-1 0 0,0-1 1 0 0,0 0-1 0 0,-1 0 1 0 0,1 0-1 0 0,-1 0 1 0 0,1 0-1 0 0,-1 0 1 0 0,0 1-1 0 0,0-1 1 0 0,-1 0-1 0 0,1 0 1 0 0,-1-4-1 0 0,0 5-244 0 0,0 1 0 0 0,0 0 0 0 0,-1-1 0 0 0,1 1 0 0 0,0 0 0 0 0,0-1 1 0 0,-1 1-1 0 0,1 0 0 0 0,-1 0 0 0 0,1 0 0 0 0,-1 0 0 0 0,1 1 0 0 0,-1-1 0 0 0,0 0 0 0 0,1 1 0 0 0,-1-1 0 0 0,0 1 0 0 0,1-1 0 0 0,-4 1 0 0 0,-30-2 986 0 0,29 2-1038 0 0,1 0 0 0 0,-1 1 0 0 0,0 0 0 0 0,1 0 0 0 0,-1 0-1 0 0,0 1 1 0 0,1-1 0 0 0,-1 1 0 0 0,1 1 0 0 0,0-1 0 0 0,0 1 0 0 0,0 0 0 0 0,0 0-1 0 0,0 0 1 0 0,1 1 0 0 0,-1 0 0 0 0,1 0 0 0 0,0 0 0 0 0,0 0 0 0 0,1 0 0 0 0,-1 1 0 0 0,1 0-1 0 0,0 0 1 0 0,0 0 0 0 0,0 0 0 0 0,-1 6 0 0 0,3-8-44 0 0,0 0-1 0 0,1-1 1 0 0,0 1 0 0 0,0 0 0 0 0,-1 0-1 0 0,2 0 1 0 0,-1 0 0 0 0,1 3-1 0 0,-1-4-3 0 0,0-1-11 0 0,0 0 0 0 0,0 0-1 0 0,1 0 1 0 0,-1 0-1 0 0,0-1 1 0 0,1 1 0 0 0,-1 0-1 0 0,0 0 1 0 0,1 0 0 0 0,-1-1-1 0 0,1 1 1 0 0,-1 0 0 0 0,1-1-1 0 0,0 1 1 0 0,-1-1-1 0 0,1 1 1 0 0,-1 0 0 0 0,1-1-1 0 0,0 1 1 0 0,0-1 0 0 0,-1 0-1 0 0,1 1 1 0 0,0-1-1 0 0,0 0 1 0 0,-1 1 0 0 0,1-1-1 0 0,0 0 1 0 0,0 0 0 0 0,0 1-1 0 0,0-1 1 0 0,0 0 0 0 0,-1 0-1 0 0,1 0 1 0 0,2-1-1 0 0,17 0 26 0 0,-8-1 51 0 0,-1 0 1 0 0,0-1-1 0 0,0 0 1 0 0,15-7-1 0 0,-22 9 3 0 0,-2 0-7 0 0,10-1-31 0 0,-11 2-45 0 0,-1-1-1 0 0,1 1 0 0 0,0 0 0 0 0,0 0 0 0 0,-1 0 0 0 0,1-1 0 0 0,0 1 0 0 0,0 0 1 0 0,-1 0-1 0 0,1 0 0 0 0,0 0 0 0 0,0 0 0 0 0,0 0 0 0 0,-1 1 0 0 0,1-1 1 0 0,0 0-1 0 0,0 0 0 0 0,-1 0 0 0 0,1 1 0 0 0,0-1 0 0 0,-1 0 0 0 0,1 1 1 0 0,0-1-1 0 0,-1 1 0 0 0,1-1 0 0 0,-1 1 0 0 0,1-1 0 0 0,0 1 0 0 0,-1-1 0 0 0,1 1 1 0 0,-1-1-1 0 0,1 1 0 0 0,-1 0 0 0 0,0-1 0 0 0,1 1 0 0 0,-1 0 0 0 0,0-1 1 0 0,1 2-1 0 0,6 15-147 0 0,0 0 1 0 0,-1 1-1 0 0,-1-1 0 0 0,3 22 1 0 0,-1-9-3187 0 0,-6-26 3151 0 0,-1-3-76 0 0,0-1 1 0 0,0 1 0 0 0,0 0-1 0 0,1 0 1 0 0,-1-1 0 0 0,0 1 0 0 0,0 0-1 0 0,0-1 1 0 0,1 1 0 0 0,-1 0-1 0 0,0-1 1 0 0,1 1 0 0 0,-1 0-1 0 0,1-1 1 0 0,-1 1 0 0 0,6 4-2027 0 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05:34.60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180 0 0,'5'0'1699'0'0,"3"2"-1135"0"0,1 0 1 0 0,-1 1 0 0 0,0 0-1 0 0,1 0 1 0 0,-1 1-1 0 0,-1 0 1 0 0,1 0 0 0 0,0 1-1 0 0,-1 0 1 0 0,0 0-1 0 0,0 1 1 0 0,-1 0 0 0 0,8 8-1 0 0,11 15 1276 0 0,39 58-1 0 0,-30-39-430 0 0,48 58 1451 0 0,-60-79 1794 0 0,-19-28-4141 0 0,-1 0-463 0 0,0 0 0 0 0,-1 0 1 0 0,1 0-1 0 0,-1 0 0 0 0,1 0 0 0 0,-1-1 0 0 0,0 1 1 0 0,1 0-1 0 0,-1-1 0 0 0,0 1 0 0 0,0-1 0 0 0,0 1 1 0 0,0-1-1 0 0,0 1 0 0 0,1-3 0 0 0,7-33 480 0 0,12-119-293 0 0,-16 53-6409 0 0,-5 101 5629 0 0,0 0-1 0 0,0 0 0 0 0,0 0 0 0 0,0 0 0 0 0,1 1 1 0 0,-1-1-1 0 0,0 0 0 0 0,1 0 0 0 0,-1 0 1 0 0,1 0-1 0 0,0 1 0 0 0,0-1 0 0 0,0 0 0 0 0,0 1 1 0 0,0-1-1 0 0,0 1 0 0 0,0-1 0 0 0,0 1 0 0 0,3-3 1 0 0</inkml:trace>
</inkml:ink>
</file>

<file path=ppt/ink/ink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2:44.58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 1528 0 0,'12'75'5632'0'0,"-5"1"-3304"0"0,4 29-994 0 0,-6-57-1087 0 0,-4-30-381 0 0,1 0 0 0 0,1 0-1 0 0,0-1 1 0 0,1 1 0 0 0,1-1-1 0 0,9 21 1 0 0,-12-35-324 0 0,0 0-1 0 0,0 1 1 0 0,1-1 0 0 0,-1 0-1 0 0,1 0 1 0 0,0 0 0 0 0,0-1 0 0 0,0 1-1 0 0,0-1 1 0 0,1 1 0 0 0,-1-1-1 0 0,6 3 1 0 0</inkml:trace>
</inkml:ink>
</file>

<file path=ppt/ink/ink4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9:01.08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21 2452 0 0,'6'-5'2093'0'0,"10"-9"1331"0"0,-15 14-3312 0 0,0 0 0 0 0,-1-1-1 0 0,1 1 1 0 0,0 0 0 0 0,-1 0-1 0 0,1 0 1 0 0,-1 0 0 0 0,1 0-1 0 0,0 0 1 0 0,-1 0 0 0 0,1 0-1 0 0,0 0 1 0 0,0 0 0 0 0,-1 0-1 0 0,1 0 1 0 0,-1 0 0 0 0,1 0 0 0 0,0 1-1 0 0,-1-1 1 0 0,1 0 0 0 0,0 0-1 0 0,-1 1 1 0 0,1-1 0 0 0,-1 0-1 0 0,1 1 1 0 0,-1-1 0 0 0,2 1-1 0 0,-1 2 104 0 0,1 0 0 0 0,-1 0 0 0 0,0 0-1 0 0,0 0 1 0 0,0 0 0 0 0,0 0-1 0 0,0 0 1 0 0,-1 0 0 0 0,1 0 0 0 0,-1 0-1 0 0,0 0 1 0 0,0 0 0 0 0,0 0-1 0 0,-1 4 1 0 0,1 0 37 0 0,-6 49 808 0 0,0-6 4202 0 0,6-48-4520 0 0,19-5 308 0 0,7-4-377 0 0,35-14 0 0 0,19-6-1434 0 0,-73 25 138 0 0,0 1 1 0 0,1 0-1 0 0,-1 0 0 0 0,0 1 0 0 0,1 0 0 0 0,-1 0 1 0 0,1 1-1 0 0,10 2 0 0 0,-17-2 382 0 0,0-1 1 0 0,0 1-1 0 0,-1-1 0 0 0,1 1 0 0 0,0 0 1 0 0,0-1-1 0 0,0 1 0 0 0,0 0 0 0 0,-1 0 1 0 0,1 0-1 0 0,0 0 0 0 0,-1 0 1 0 0,1 0-1 0 0,-1 0 0 0 0,1 0 0 0 0,-1 0 1 0 0,1 0-1 0 0,-1 0 0 0 0,0 0 1 0 0,1 0-1 0 0,-1 1 0 0 0</inkml:trace>
</inkml:ink>
</file>

<file path=ppt/ink/ink4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9:01.74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5 1 2148 0 0,'-1'1'4145'0'0,"-6"12"-3249"0"0,1-1 0 0 0,1 1-1 0 0,0 0 1 0 0,1 1 0 0 0,-4 17-1 0 0,3-11-224 0 0,-13 50 1466 0 0,-12 103 1 0 0,15 74-1875 0 0,15-240-854 0 0,0-1-1 0 0,0 0 1 0 0,1 1-1 0 0,0-1 0 0 0,0 0 1 0 0,0 0-1 0 0,4 10 1 0 0</inkml:trace>
</inkml:ink>
</file>

<file path=ppt/ink/ink4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9:02.18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9 89 792 0 0,'-30'-25'4488'0'0,"19"17"-2025"0"0,1-1 0 0 0,-18-18 0 0 0,28 26-2437 0 0,0 1-1 0 0,0-1 1 0 0,1 1-1 0 0,-1-1 0 0 0,0 1 1 0 0,0 0-1 0 0,0-1 1 0 0,0 1-1 0 0,1-1 1 0 0,-1 1-1 0 0,0 0 1 0 0,0-1-1 0 0,1 1 0 0 0,-1-1 1 0 0,0 1-1 0 0,1 0 1 0 0,-1-1-1 0 0,0 1 1 0 0,1 0-1 0 0,-1 0 1 0 0,1-1-1 0 0,-1 1 0 0 0,0 0 1 0 0,1 0-1 0 0,-1 0 1 0 0,1-1-1 0 0,-1 1 1 0 0,1 0-1 0 0,-1 0 1 0 0,1 0-1 0 0,-1 0 0 0 0,0 0 1 0 0,1 0-1 0 0,-1 0 1 0 0,1 0-1 0 0,0 0 1 0 0,16-3 116 0 0,26-1 145 0 0,1 1 0 0 0,-1 3 1 0 0,45 5-1 0 0,-21 0-22 0 0,32-2 27 0 0,105 8 854 0 0,-203-11-1133 0 0,-1 0-1 0 0,0 0 1 0 0,1 0 0 0 0,-1 0 0 0 0,0 0 0 0 0,1 0 0 0 0,-1 0-1 0 0,1 0 1 0 0,-1 0 0 0 0,0 1 0 0 0,1-1 0 0 0,-1 0-1 0 0,0 0 1 0 0,1 1 0 0 0,-1-1 0 0 0,0 0 0 0 0,0 0 0 0 0,1 1-1 0 0,-1-1 1 0 0,0 0 0 0 0,0 0 0 0 0,1 1 0 0 0,-1-1-1 0 0,0 0 1 0 0,0 1 0 0 0,0-1 0 0 0,0 1 0 0 0,1-1 0 0 0,-1 0-1 0 0,0 1 1 0 0,0-1 0 0 0,0 0 0 0 0,0 1 0 0 0,0-1-1 0 0,0 1 1 0 0,0-1 0 0 0,0 0 0 0 0,0 1 0 0 0,0-1-1 0 0,0 0 1 0 0,0 1 0 0 0,0-1 0 0 0,-1 1 0 0 0,1-1 0 0 0,0 0-1 0 0,0 1 1 0 0,-9 15 195 0 0,2-8-160 0 0,1 0 0 0 0,0 1 0 0 0,1 0 0 0 0,-1 0 0 0 0,2 0 0 0 0,-5 11 0 0 0,7-14 59 0 0,0 0-1 0 0,0 0 0 0 0,1 1 0 0 0,0-1 0 0 0,0 0 0 0 0,0 1 0 0 0,1-1 0 0 0,0 1 0 0 0,0-1 0 0 0,0 0 0 0 0,2 7 0 0 0,0-9-34 0 0,-1 0-1 0 0,1 0 0 0 0,-1 0 0 0 0,1 0 0 0 0,1-1 0 0 0,-1 1 0 0 0,0-1 0 0 0,1 1 0 0 0,0-1 0 0 0,0 0 0 0 0,0 0 0 0 0,0 0 1 0 0,0 0-1 0 0,0-1 0 0 0,1 1 0 0 0,0-1 0 0 0,-1 0 0 0 0,1 0 0 0 0,0 0 0 0 0,7 2 0 0 0,-2-1 57 0 0,0-1-1 0 0,0 1 1 0 0,0-1 0 0 0,0-1-1 0 0,0 0 1 0 0,0 0-1 0 0,0-1 1 0 0,17-1-1 0 0,-19 0-66 0 0,0-1 0 0 0,0 0 0 0 0,0 0 0 0 0,0 0 0 0 0,0-1 0 0 0,0 0 0 0 0,0 0 0 0 0,-1 0 0 0 0,0-1 0 0 0,0 0 0 0 0,0-1 0 0 0,0 1 0 0 0,7-9 0 0 0,-10 11-66 0 0,-1-1 0 0 0,0 1 1 0 0,0-1-1 0 0,0 0 0 0 0,-1 0 1 0 0,1 0-1 0 0,-1 0 0 0 0,1 0 1 0 0,-1 0-1 0 0,0-1 0 0 0,0 1 1 0 0,-1 0-1 0 0,1 0 0 0 0,0-1 0 0 0,-1 1 1 0 0,0-1-1 0 0,0 1 0 0 0,0 0 1 0 0,0-1-1 0 0,-1 1 0 0 0,0 0 1 0 0,1-1-1 0 0,-1 1 0 0 0,0 0 1 0 0,0 0-1 0 0,-1 0 0 0 0,1-1 1 0 0,-1 1-1 0 0,1 1 0 0 0,-1-1 0 0 0,-3-4 1 0 0,0 1-290 0 0,0 0 0 0 0,0 0 1 0 0,-1 1-1 0 0,1-1 0 0 0,-1 1 1 0 0,-1 0-1 0 0,1 1 0 0 0,-1 0 1 0 0,0 0-1 0 0,0 0 0 0 0,0 1 1 0 0,0 0-1 0 0,-1 0 0 0 0,1 0 1 0 0,-14-1-1 0 0,14 2-698 0 0,-1 1 0 0 0,1 1-1 0 0,0 0 1 0 0,-1 0 0 0 0,1 0 0 0 0,-1 1-1 0 0,1 0 1 0 0,0 0 0 0 0,-1 1 0 0 0,-9 3-1 0 0,4 1-3358 0 0</inkml:trace>
</inkml:ink>
</file>

<file path=ppt/ink/ink4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9:02.91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6 30 136 0 0,'7'-11'6299'0'0,"7"-8"95"0"0,-13 29-5275 0 0,-40 204 4080 0 0,12-84-4416 0 0,7-23-748 0 0,9-44-4976 0 0</inkml:trace>
</inkml:ink>
</file>

<file path=ppt/ink/ink4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9:03.29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84 14 1644 0 0,'-8'-8'3922'0'0,"4"7"-3698"0"0,-1 0 0 0 0,1 0 0 0 0,0 0 0 0 0,0 0 0 0 0,-1 1 0 0 0,1 0 0 0 0,0 0 0 0 0,-1 0 0 0 0,1 0 0 0 0,0 1 0 0 0,-1 0 0 0 0,1-1 0 0 0,0 2 0 0 0,0-1 0 0 0,0 0 1 0 0,0 1-1 0 0,0 0 0 0 0,0 0 0 0 0,0 0 0 0 0,0 0 0 0 0,1 1 0 0 0,-1-1 0 0 0,1 1 0 0 0,0 0 0 0 0,-5 5 0 0 0,0 0-503 0 0,1 0 0 0 0,1 1 1 0 0,-12 17-1 0 0,12-15-1553 0 0,0 0-1 0 0,-6 20 1 0 0,8-22-543 0 0</inkml:trace>
</inkml:ink>
</file>

<file path=ppt/ink/ink4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9:03.62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5 0 2188 0 0,'-23'49'9976'0'0,"23"-48"-9856"0"0,0-1 0 0 0,-1 1 0 0 0,1 0 0 0 0,0-1 0 0 0,0 1 0 0 0,0 0 0 0 0,0-1 0 0 0,0 1 0 0 0,0 0 0 0 0,0-1 0 0 0,0 1 0 0 0,0 0 0 0 0,0-1 0 0 0,0 1 0 0 0,0 0 0 0 0,1-1 0 0 0,-1 1 0 0 0,0 0-1 0 0,0-1 1 0 0,1 1 0 0 0,-1 0 0 0 0,0-1 0 0 0,1 1 0 0 0,-1-1 0 0 0,1 1 0 0 0,-1-1 0 0 0,0 1 0 0 0,1-1 0 0 0,0 1 0 0 0,-1-1 0 0 0,1 0 0 0 0,-1 1 0 0 0,1-1 0 0 0,-1 1 0 0 0,1-1 0 0 0,0 0 0 0 0,-1 0-1 0 0,1 1 1 0 0,0-1 0 0 0,-1 0 0 0 0,1 0 0 0 0,1 0 0 0 0,369 47 5306 0 0,-346-45-5259 0 0,-4-1-473 0 0,-17-1-130 0 0,0 0-288 0 0,0-1 39 0 0,3 1 601 0 0</inkml:trace>
</inkml:ink>
</file>

<file path=ppt/ink/ink4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9:04.00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78 0 1080 0 0,'0'0'6524'0'0,"-2"1"-5837"0"0,-82 22 3418 0 0,64-16-4716 0 0,1 1 0 0 0,-21 11 0 0 0,27-10-3807 0 0</inkml:trace>
</inkml:ink>
</file>

<file path=ppt/ink/ink4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9:04.81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2 1 1772 0 0,'0'0'5311'0'0,"-8"7"-3260"0"0,3 1-1583 0 0,-1 0 0 0 0,1 0 1 0 0,0 0-1 0 0,1 1 1 0 0,0 0-1 0 0,0 0 1 0 0,1 0-1 0 0,0 0 1 0 0,-3 18-1 0 0,2-1 374 0 0,1 0 1 0 0,1 36-1 0 0,3-42-456 0 0,0 0 1 0 0,1-1 0 0 0,9 36-1 0 0,-8-44-286 0 0,0 0 0 0 0,1 0-1 0 0,0-1 1 0 0,1 1 0 0 0,0-1 0 0 0,1 0 0 0 0,0 0-1 0 0,8 9 1 0 0,-12-17-98 0 0,0 1-1 0 0,1-1 1 0 0,-1 0 0 0 0,1 0 0 0 0,-1 0-1 0 0,1 0 1 0 0,0 0 0 0 0,0-1-1 0 0,-1 1 1 0 0,1-1 0 0 0,0 0 0 0 0,1 1-1 0 0,-1-2 1 0 0,0 1 0 0 0,0 0-1 0 0,0-1 1 0 0,1 1 0 0 0,-1-1 0 0 0,0 0-1 0 0,0 0 1 0 0,1 0 0 0 0,-1 0-1 0 0,0-1 1 0 0,0 0 0 0 0,1 1 0 0 0,-1-1-1 0 0,0 0 1 0 0,0 0 0 0 0,5-3-1 0 0,0-1-137 0 0,0 1 0 0 0,0-1-1 0 0,-1 0 1 0 0,1-1 0 0 0,-1 1-1 0 0,-1-2 1 0 0,1 1 0 0 0,-1-1-1 0 0,10-13 1 0 0,-4-1-103 0 0,-10 16 150 0 0,0 1 0 0 0,0-1 0 0 0,1 1 1 0 0,0-1-1 0 0,5-5 0 0 0,-5 5-49 0 0,-4 3 4 0 0,0 3 138 0 0,1-1 1 0 0,0 0-1 0 0,0 1 1 0 0,-1-1 0 0 0,1 0-1 0 0,0 0 1 0 0,0 1-1 0 0,0-1 1 0 0,-1 0-1 0 0,1 1 1 0 0,0-1 0 0 0,0 0-1 0 0,0 1 1 0 0,0-1-1 0 0,0 0 1 0 0,0 1-1 0 0,0-1 1 0 0,0 0 0 0 0,0 1-1 0 0,0-1 1 0 0,0 1-1 0 0,0-1 1 0 0,0 0-1 0 0,0 1 1 0 0,0-1 0 0 0,0 0-1 0 0,0 1 1 0 0,0-1-1 0 0,0 0 1 0 0,1 1 0 0 0,-1-1-1 0 0,0 0 1 0 0,0 0-1 0 0,1 1 1 0 0,1 3 148 0 0,0 0 0 0 0,1 0 0 0 0,-1-1 0 0 0,1 1 0 0 0,0-1 0 0 0,0 0 0 0 0,0 1 0 0 0,1-1 0 0 0,-1-1 0 0 0,1 1 0 0 0,0-1 0 0 0,0 1 0 0 0,-1-1 0 0 0,1 0 0 0 0,1 0 0 0 0,-1-1 0 0 0,0 1 1 0 0,0-1-1 0 0,1 0 0 0 0,-1 0 0 0 0,0 0 0 0 0,1-1 0 0 0,-1 1 0 0 0,6-1 0 0 0,-5 0-38 0 0,1 0 1 0 0,-1-1-1 0 0,1 1 1 0 0,-1-1-1 0 0,0 0 0 0 0,1 0 1 0 0,-1 0-1 0 0,0-1 1 0 0,0 0-1 0 0,0 0 1 0 0,0 0-1 0 0,0-1 0 0 0,0 0 1 0 0,-1 0-1 0 0,1 0 1 0 0,-1 0-1 0 0,0-1 1 0 0,0 1-1 0 0,5-7 0 0 0,-5 4-82 0 0,0-1 0 0 0,-1 1-1 0 0,0-1 1 0 0,0 0-1 0 0,0 0 1 0 0,-1 0 0 0 0,0-1-1 0 0,0 1 1 0 0,-1-1 0 0 0,0 1-1 0 0,0-1 1 0 0,-1 1-1 0 0,0-1 1 0 0,0 1 0 0 0,-1-1-1 0 0,-2-12 1 0 0,0 9-392 0 0,0-1 0 0 0,0 1 0 0 0,-1 1 1 0 0,0-1-1 0 0,-1 0 0 0 0,-1 1 0 0 0,1 0 0 0 0,-2 0 1 0 0,1 1-1 0 0,-11-11 0 0 0,-15-18-6203 0 0,31 37 6153 0 0,1 0 0 0 0,-1 0 0 0 0,0-1 0 0 0,0 1 0 0 0,0 0-1 0 0,1 0 1 0 0,-1-1 0 0 0,0 1 0 0 0,1 0 0 0 0,-1-1 0 0 0,1 1 0 0 0,0 0 0 0 0,-1-3-1 0 0</inkml:trace>
</inkml:ink>
</file>

<file path=ppt/ink/ink4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9:05.20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268 0 0,'5'3'458'0'0,"-1"0"-1"0"0,0 0 1 0 0,1 0-1 0 0,-1 0 1 0 0,0 1-1 0 0,-1-1 1 0 0,1 1-1 0 0,-1 0 1 0 0,1 0-1 0 0,-1 0 1 0 0,0 1-1 0 0,-1-1 1 0 0,1 1-1 0 0,-1 0 1 0 0,0-1-1 0 0,0 1 1 0 0,0 0-1 0 0,-1 0 1 0 0,0 0-1 0 0,1 7 1 0 0,2 12 774 0 0,-2 1 0 0 0,-1 50 1 0 0,-1-50-405 0 0,-1 16 813 0 0,-2 0 1 0 0,-14 70-1 0 0,16-108-1172 0 0,-1 3 955 0 0,4-13-1413 0 0,0 0 0 0 0,1 0-1 0 0,0 1 1 0 0,0-1 0 0 0,0 1 0 0 0,0-1 0 0 0,1 1 0 0 0,0 0 0 0 0,1 0-1 0 0,-1 1 1 0 0,1 0 0 0 0,0-1 0 0 0,1 1 0 0 0,10-8 0 0 0,-14 12-23 0 0,-1 0 0 0 0,1 0 0 0 0,-1 0-1 0 0,1 0 1 0 0,-1 1 0 0 0,1-1 0 0 0,0 0 0 0 0,0 1 0 0 0,-1-1 0 0 0,1 1 0 0 0,0-1 0 0 0,0 1 0 0 0,-1 0 0 0 0,1 0 0 0 0,0 0 0 0 0,0 0 0 0 0,-1 0 0 0 0,1 0 0 0 0,0 0 0 0 0,2 1 0 0 0,-2 0 5 0 0,1 0 1 0 0,-1 1-1 0 0,1-1 1 0 0,-1 0-1 0 0,0 1 1 0 0,0 0-1 0 0,1-1 1 0 0,-1 1-1 0 0,0 0 0 0 0,-1 0 1 0 0,4 4-1 0 0,1 2 5 0 0,-1 0 0 0 0,-1 0 0 0 0,0 1 0 0 0,0-1 0 0 0,0 1 0 0 0,2 12 0 0 0,-1 2-570 0 0,3 35 0 0 0,-7-39-1841 0 0,2 1-1 0 0,7 28 0 0 0,-9-47 2307 0 0,-1 0-1 0 0,0-1 0 0 0,1 1 0 0 0,-1-1 1 0 0,0 1-1 0 0,1-1 0 0 0,-1 1 0 0 0,1-1 1 0 0,-1 1-1 0 0,1-1 0 0 0,-1 1 0 0 0,1-1 1 0 0,-1 0-1 0 0,1 1 0 0 0,-1-1 0 0 0,1 0 0 0 0,0 1 1 0 0,-1-1-1 0 0,1 0 0 0 0,0 0 0 0 0,-1 1 1 0 0,1-1-1 0 0,0 0 0 0 0,-1 0 0 0 0,1 0 1 0 0,0 0-1 0 0,-1 0 0 0 0,1 0 0 0 0,0 0 1 0 0,-1 0-1 0 0,1 0 0 0 0,-1-1 0 0 0,2 1 0 0 0,19-9-3410 0 0,-11-1 454 0 0</inkml:trace>
</inkml:ink>
</file>

<file path=ppt/ink/ink4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9:05.53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32 728 0 0,'50'-51'8962'0'0,"-50"50"-8912"0"0,0 1-1 0 0,1-1 1 0 0,-1 1-1 0 0,0-1 1 0 0,0 1-1 0 0,0 0 1 0 0,1-1-1 0 0,-1 1 1 0 0,0-1-1 0 0,0 1 1 0 0,1 0-1 0 0,-1-1 1 0 0,0 1 0 0 0,1 0-1 0 0,-1-1 1 0 0,1 1-1 0 0,-1 0 1 0 0,0 0-1 0 0,1-1 1 0 0,-1 1-1 0 0,1 0 1 0 0,-1 0-1 0 0,0 0 1 0 0,1 0-1 0 0,-1 0 1 0 0,1-1-1 0 0,-1 1 1 0 0,1 0-1 0 0,-1 0 1 0 0,1 0-1 0 0,-1 0 1 0 0,1 0-1 0 0,-1 0 1 0 0,1 1-1 0 0,-1-1 1 0 0,0 0-1 0 0,1 0 1 0 0,-1 0 0 0 0,1 0-1 0 0,-1 0 1 0 0,1 1-1 0 0,-1-1 1 0 0,0 0-1 0 0,1 0 1 0 0,-1 1-1 0 0,1-1 1 0 0,-1 0-1 0 0,0 1 1 0 0,0-1-1 0 0,1 0 1 0 0,-1 1-1 0 0,0-1 1 0 0,1 1-1 0 0,-1-1 1 0 0,0 0-1 0 0,0 1 1 0 0,0-1-1 0 0,1 1 1 0 0,-1-1-1 0 0,0 1 1 0 0,0-1-1 0 0,0 0 1 0 0,0 2-1 0 0,5 29 707 0 0,-5-29-574 0 0,1 16 61 0 0,0 1 0 0 0,-2-1 0 0 0,-5 36-1 0 0,-11 17-3924 0 0,17-67 3181 0 0,-8 19-7680 0 0</inkml:trace>
  <inkml:trace contextRef="#ctx0" brushRef="#br0" timeOffset="1">110 150 524 0 0,'-2'-19'2104'0'0,"2"4"-564"0"0,-2 1-207 0 0,0 1-281 0 0,0-1-200 0 0,0 1-176 0 0,-2 1-128 0 0,4 3 228 0 0,-4-9-404 0 0,0 5-552 0 0,-2 4-1440 0 0</inkml:trace>
</inkml:ink>
</file>

<file path=ppt/ink/ink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2:44.93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42 157 580 0 0,'8'-10'1009'0'0,"0"1"-1"0"0,0-1 1 0 0,-1 0-1 0 0,10-19 1 0 0,-15 27-893 0 0,-1-1 0 0 0,0 0 1 0 0,1 1-1 0 0,-1-1 0 0 0,0 0 1 0 0,-1 0-1 0 0,1 0 0 0 0,0 0 1 0 0,-1 0-1 0 0,1 1 0 0 0,-1-1 1 0 0,0 0-1 0 0,0 0 0 0 0,0 0 1 0 0,-1 0-1 0 0,1 0 0 0 0,-1 0 1 0 0,1 0-1 0 0,-1 0 0 0 0,0 0 0 0 0,0 1 1 0 0,0-1-1 0 0,-1 0 0 0 0,-2-4 1 0 0,2 5-65 0 0,-1 1 1 0 0,1-1 0 0 0,0 1 0 0 0,-1 0-1 0 0,0 0 1 0 0,1 0 0 0 0,-1 0-1 0 0,1 0 1 0 0,-1 0 0 0 0,0 1 0 0 0,0-1-1 0 0,1 1 1 0 0,-6 0 0 0 0,7 0-41 0 0,-6-1 21 0 0,1 2 1 0 0,-1-1-1 0 0,1 1 1 0 0,0-1-1 0 0,-1 2 0 0 0,1-1 1 0 0,0 1-1 0 0,0 0 1 0 0,0 0-1 0 0,0 0 0 0 0,0 1 1 0 0,1 0-1 0 0,-1 0 1 0 0,1 1-1 0 0,-1 0 0 0 0,1 0 1 0 0,0 0-1 0 0,1 0 1 0 0,-1 1-1 0 0,1 0 1 0 0,0-1-1 0 0,0 2 0 0 0,0-1 1 0 0,1 0-1 0 0,-4 9 1 0 0,6-12-23 0 0,0 1 0 0 0,0-1 0 0 0,1 1 0 0 0,-1 0 0 0 0,1-1 1 0 0,0 1-1 0 0,-1 0 0 0 0,1-1 0 0 0,0 1 0 0 0,1 0 0 0 0,-1-1 1 0 0,0 1-1 0 0,1 0 0 0 0,0-1 0 0 0,-1 1 0 0 0,1-1 1 0 0,0 1-1 0 0,0-1 0 0 0,0 1 0 0 0,1-1 0 0 0,-1 0 0 0 0,1 0 1 0 0,-1 1-1 0 0,1-1 0 0 0,0 0 0 0 0,-1 0 0 0 0,1-1 0 0 0,0 1 1 0 0,0 0-1 0 0,1-1 0 0 0,-1 1 0 0 0,0-1 0 0 0,1 0 0 0 0,2 2 1 0 0,2 1 21 0 0,1-1 0 0 0,0 0 0 0 0,-1 0 0 0 0,1 0 0 0 0,0-1 1 0 0,0-1-1 0 0,0 1 0 0 0,1-1 0 0 0,11 0 0 0 0,-9-3 22 0 0,0 0 0 0 0,0-1-1 0 0,-1 0 1 0 0,1 0 0 0 0,-1-1-1 0 0,0-1 1 0 0,0 0 0 0 0,0 0-1 0 0,17-13 1 0 0,-6 5 402 0 0,-19 11 38 0 0,-2 25-237 0 0,-1-11-220 0 0,0 0 1 0 0,0-1-1 0 0,1 1 0 0 0,1 0 0 0 0,0-1 1 0 0,0 1-1 0 0,1-1 0 0 0,1 1 0 0 0,7 20 1 0 0,-7-25-477 0 0,0 0 0 0 0,1 0 0 0 0,0 0 0 0 0,0-1 0 0 0,6 8 0 0 0,-10-13 227 0 0,1-1 0 0 0,-1 1 0 0 0,1-1-1 0 0,-1 1 1 0 0,1-1 0 0 0,-1 1 0 0 0,1-1 0 0 0,0 1-1 0 0,-1-1 1 0 0,1 1 0 0 0,-1-1 0 0 0,1 0 0 0 0,0 1-1 0 0,-1-1 1 0 0,1 0 0 0 0,0 0 0 0 0,0 1 0 0 0,-1-1-1 0 0,1 0 1 0 0,0 0 0 0 0,0 0 0 0 0,1 0 0 0 0,11-2-2912 0 0</inkml:trace>
</inkml:ink>
</file>

<file path=ppt/ink/ink4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9:06.04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78 28 420 0 0,'1'0'245'0'0,"0"0"0"0"0,0 0 1 0 0,0-1-1 0 0,-1 1 0 0 0,1-1 0 0 0,0 1 0 0 0,0 0 1 0 0,0-1-1 0 0,-1 0 0 0 0,1 1 0 0 0,0-1 0 0 0,-1 1 1 0 0,1-1-1 0 0,0 0 0 0 0,-1 1 0 0 0,1-1 0 0 0,-1 0 1 0 0,1 0-1 0 0,-1 1 0 0 0,1-1 0 0 0,-1 0 0 0 0,0 0 1 0 0,1 0-1 0 0,-1 0 0 0 0,0 0 0 0 0,0 0 0 0 0,0 1 0 0 0,1-1 1 0 0,-1 0-1 0 0,0 0 0 0 0,0 0 0 0 0,-1-1 0 0 0,1 1-137 0 0,-1 1 0 0 0,0-1 0 0 0,1 1-1 0 0,-1 0 1 0 0,0-1 0 0 0,0 1-1 0 0,1 0 1 0 0,-1-1 0 0 0,0 1-1 0 0,0 0 1 0 0,0 0 0 0 0,0 0 0 0 0,1 0-1 0 0,-1 0 1 0 0,0 0 0 0 0,0 0-1 0 0,0 0 1 0 0,0 0 0 0 0,1 0 0 0 0,-1 0-1 0 0,0 1 1 0 0,0-1 0 0 0,-1 1-1 0 0,-16 3 564 0 0,9-1-408 0 0,-1 0-1 0 0,1 1 1 0 0,0 0 0 0 0,0 0-1 0 0,1 1 1 0 0,-1 1 0 0 0,1-1-1 0 0,0 1 1 0 0,1 1-1 0 0,-1-1 1 0 0,1 1 0 0 0,0 0-1 0 0,1 1 1 0 0,0 0 0 0 0,0 0-1 0 0,-6 12 1 0 0,9-15-200 0 0,1 0 0 0 0,-1 0 1 0 0,1 1-1 0 0,0-1 0 0 0,1 1 1 0 0,-1 0-1 0 0,1-1 0 0 0,0 1 0 0 0,1 0 1 0 0,-1 0-1 0 0,1-1 0 0 0,0 1 1 0 0,0 0-1 0 0,1 0 0 0 0,0 0 0 0 0,0-1 1 0 0,0 1-1 0 0,1 0 0 0 0,0-1 0 0 0,0 1 1 0 0,0-1-1 0 0,1 0 0 0 0,0 0 1 0 0,0 0-1 0 0,0 0 0 0 0,0 0 0 0 0,1-1 1 0 0,5 7-1 0 0,-2-5-159 0 0,0 1 0 0 0,1-1 0 0 0,-1 0 0 0 0,1 0 0 0 0,0-1 0 0 0,0 0 0 0 0,1-1 0 0 0,-1 0 0 0 0,1 0 0 0 0,17 4 0 0 0,-20-6-153 0 0,0-1 1 0 0,0 0-1 0 0,1-1 1 0 0,-1 0-1 0 0,0 0 1 0 0,1 0-1 0 0,-1 0 1 0 0,0-1 0 0 0,1 0-1 0 0,-1-1 1 0 0,0 1-1 0 0,0-1 1 0 0,0 0-1 0 0,0-1 1 0 0,-1 1-1 0 0,1-1 1 0 0,7-5-1 0 0,4-5-308 0 0,-1 0-1 0 0,0-1 1 0 0,-1-1-1 0 0,-1-1 0 0 0,22-28 1 0 0,52-94 2888 0 0,-81 126-1714 0 0,-4 6-263 0 0,1-1 1 0 0,0 1 0 0 0,0 0 0 0 0,9-10 0 0 0,-12 15-155 0 0,0 1-171 0 0,-1 1 0 0 0,1-1 0 0 0,0 0 1 0 0,-1 1-1 0 0,1-1 0 0 0,0 1 1 0 0,-1-1-1 0 0,1 1 0 0 0,-1-1 0 0 0,1 1 1 0 0,-1 0-1 0 0,1-1 0 0 0,-1 1 1 0 0,0-1-1 0 0,1 1 0 0 0,-1 0 0 0 0,0 0 1 0 0,1-1-1 0 0,-1 1 0 0 0,0 0 1 0 0,0-1-1 0 0,0 1 0 0 0,1 0 0 0 0,-1 0 1 0 0,0 0-1 0 0,0-1 0 0 0,0 2 1 0 0,1 23 555 0 0,-1-24-543 0 0,12 261 3318 0 0,-12-227-2008 0 0,0-32-975 0 0,0-3-343 0 0,0 0 0 0 0,0 1-1 0 0,0-1 1 0 0,0 1 0 0 0,0-1-1 0 0,0 0 1 0 0,0 1 0 0 0,0-1-1 0 0,0 0 1 0 0,0 1 0 0 0,0-1-1 0 0,0 1 1 0 0,0-1 0 0 0,1 0-1 0 0,-1 1 1 0 0,0-1 0 0 0,0 0 0 0 0,0 1-1 0 0,0-1 1 0 0,1 0 0 0 0,-1 0-1 0 0,0 1 1 0 0,0-1 0 0 0,1 0-1 0 0,-1 0 1 0 0,1 1 0 0 0,8-9-11 0 0,0 1 1 0 0,0 0 0 0 0,1 1-1 0 0,0 0 1 0 0,0 0-1 0 0,1 1 1 0 0,0 0 0 0 0,0 1-1 0 0,0 1 1 0 0,18-5 0 0 0,-24 8-184 0 0,1 0 0 0 0,-1 1 0 0 0,1-1 0 0 0,-1 1 0 0 0,0 0 0 0 0,1 0 0 0 0,-1 1 0 0 0,0 0 0 0 0,0 0 0 0 0,0 0 0 0 0,0 0-1 0 0,0 1 1 0 0,0 0 0 0 0,0 0 0 0 0,-1 0 0 0 0,0 0 0 0 0,0 1 0 0 0,0 0 0 0 0,0 0 0 0 0,6 7 0 0 0,-8-8-238 0 0,-1 1 0 0 0,1-1 0 0 0,-1 1-1 0 0,1-1 1 0 0,-1 1 0 0 0,0 0 0 0 0,0-1 0 0 0,-1 1-1 0 0,1 0 1 0 0,-1 7 0 0 0,-4 21-6449 0 0,2-21 2018 0 0</inkml:trace>
</inkml:ink>
</file>

<file path=ppt/ink/ink4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9:07.10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16 105 1380 0 0,'1'-4'495'0'0,"1"1"-1"0"0,-1-1 1 0 0,0 1 0 0 0,-1-1-1 0 0,1 0 1 0 0,-1 1 0 0 0,0-1-1 0 0,1 0 1 0 0,-2 0 0 0 0,1 1-1 0 0,0-1 1 0 0,-2-5 0 0 0,1 6-367 0 0,0 0-1 0 0,0 0 1 0 0,-1 1 0 0 0,1-1 0 0 0,-1 0 0 0 0,0 1 0 0 0,1-1 0 0 0,-1 1 0 0 0,0 0-1 0 0,0 0 1 0 0,-1-1 0 0 0,1 1 0 0 0,0 1 0 0 0,-1-1 0 0 0,1 0 0 0 0,-1 1 0 0 0,0-1-1 0 0,0 1 1 0 0,1 0 0 0 0,-1 0 0 0 0,0 0 0 0 0,0 0 0 0 0,-4-1 0 0 0,-4 1 126 0 0,0-1 0 0 0,0 1 0 0 0,-1 1 0 0 0,1 0 0 0 0,0 1 0 0 0,-1 0 0 0 0,1 1 0 0 0,0 0 0 0 0,0 0-1 0 0,-14 6 1 0 0,4 0 67 0 0,1 0 0 0 0,0 1-1 0 0,1 1 1 0 0,-25 18 0 0 0,35-22-194 0 0,0 1 1 0 0,0 0 0 0 0,1 1-1 0 0,0 0 1 0 0,1 1-1 0 0,0-1 1 0 0,0 1-1 0 0,1 1 1 0 0,0-1 0 0 0,1 1-1 0 0,-8 17 1 0 0,12-23-74 0 0,-1 1 0 0 0,1-1 0 0 0,0 1 0 0 0,0-1 0 0 0,0 1 0 0 0,0 0 0 0 0,1-1-1 0 0,0 1 1 0 0,0 0 0 0 0,0 0 0 0 0,0-1 0 0 0,1 1 0 0 0,0 0 0 0 0,0-1 0 0 0,0 1 0 0 0,1-1 0 0 0,-1 1 0 0 0,1-1 0 0 0,0 0 0 0 0,1 1 0 0 0,-1-1 0 0 0,1 0 0 0 0,-1-1 0 0 0,1 1 0 0 0,0 0 0 0 0,1-1 0 0 0,-1 1-1 0 0,0-1 1 0 0,8 5 0 0 0,-6-5-24 0 0,0 1 0 0 0,0-1-1 0 0,1 0 1 0 0,-1-1 0 0 0,1 1 0 0 0,-1-1-1 0 0,1 0 1 0 0,0 0 0 0 0,0-1-1 0 0,0 1 1 0 0,0-2 0 0 0,0 1 0 0 0,13-1-1 0 0,-10 0-28 0 0,0-2 0 0 0,0 1 0 0 0,-1-1 0 0 0,1-1 0 0 0,0 0 0 0 0,-1 0 0 0 0,1 0-1 0 0,11-8 1 0 0,5-5-84 0 0,-1-2 0 0 0,-1 0 0 0 0,-1-1 0 0 0,35-38 0 0 0,-43 41 50 0 0,3-1-251 0 0,-15 21 172 0 0,-5 15 106 0 0,2-12 50 0 0,0 0-1 0 0,0-1 0 0 0,1 1 1 0 0,-1 0-1 0 0,1 0 0 0 0,1-1 1 0 0,-1 1-1 0 0,1 0 0 0 0,1-1 1 0 0,-1 1-1 0 0,1 0 0 0 0,0-1 1 0 0,1 0-1 0 0,-1 1 0 0 0,1-1 1 0 0,0 0-1 0 0,1 0 0 0 0,-1-1 1 0 0,1 1-1 0 0,8 7 0 0 0,-10-11-19 0 0,0-1-1 0 0,0 1 0 0 0,1-1 0 0 0,-1 0 0 0 0,1 1 0 0 0,-1-1 1 0 0,1 0-1 0 0,-1-1 0 0 0,1 1 0 0 0,0 0 0 0 0,-1-1 1 0 0,1 0-1 0 0,0 1 0 0 0,-1-1 0 0 0,1 0 0 0 0,0 0 0 0 0,0-1 1 0 0,-1 1-1 0 0,1 0 0 0 0,0-1 0 0 0,-1 0 0 0 0,1 1 0 0 0,4-3 1 0 0,3-1-30 0 0,-1-1 0 0 0,1 0 0 0 0,-1-1-1 0 0,14-10 1 0 0,3-4-85 0 0,23-26-1 0 0,-30 27-60 0 0,2 0 0 0 0,23-16 1 0 0,-43 34 99 0 0,2 4 42 0 0,-1-1 0 0 0,0 1-1 0 0,1 0 1 0 0,-1 0 0 0 0,0 0-1 0 0,-1 0 1 0 0,1 0-1 0 0,0 0 1 0 0,-1 0 0 0 0,2 7-1 0 0,0-4 23 0 0,2 6 42 0 0,0 0-1 0 0,1-1 1 0 0,1 1-1 0 0,0-2 1 0 0,0 1-1 0 0,1-1 1 0 0,1 0-1 0 0,0-1 0 0 0,14 13 1 0 0,-17-17-21 0 0,1-1 0 0 0,0 1 0 0 0,-1-1 1 0 0,2-1-1 0 0,-1 0 0 0 0,0 0 0 0 0,1 0 0 0 0,-1-1 0 0 0,1 0 0 0 0,0 0 1 0 0,-1-1-1 0 0,1 0 0 0 0,0 0 0 0 0,0-1 0 0 0,0 0 0 0 0,14-2 0 0 0,-12 0-68 0 0,1 0-1 0 0,-1-1 1 0 0,0 0-1 0 0,-1-1 1 0 0,1 0-1 0 0,-1-1 1 0 0,1 0-1 0 0,-1 0 0 0 0,-1-1 1 0 0,1 0-1 0 0,-1-1 1 0 0,0 0-1 0 0,0 0 1 0 0,7-10-1 0 0,1-2-81 0 0,-1-1 0 0 0,-1-1-1 0 0,0 0 1 0 0,19-43 0 0 0,-32 63 105 0 0,-1-1 0 0 0,1 0 0 0 0,0 1 0 0 0,-1-1 0 0 0,1 0 0 0 0,-1 0 0 0 0,1 1 0 0 0,-1-1 0 0 0,0 0 0 0 0,0 0 0 0 0,1 0 0 0 0,-1 0 0 0 0,-1 0 0 0 0,1 1 0 0 0,0-1 0 0 0,0 0 0 0 0,-1 0 0 0 0,1 0 0 0 0,-1 0 0 0 0,0 1 0 0 0,1-1 0 0 0,-1 0 0 0 0,0 1 0 0 0,-1-3 0 0 0,1 3 5 0 0,0 0 0 0 0,-1 0 0 0 0,1 1 1 0 0,0-1-1 0 0,-1 0 0 0 0,1 0 0 0 0,0 1 0 0 0,-1-1 0 0 0,1 1 0 0 0,0-1 0 0 0,-1 1 0 0 0,1 0 0 0 0,-1-1 0 0 0,1 1 0 0 0,-1 0 0 0 0,1 0 0 0 0,-1 0 0 0 0,1 0 0 0 0,-1 0 0 0 0,1 0 0 0 0,-1 1 1 0 0,1-1-1 0 0,-1 0 0 0 0,1 1 0 0 0,-1-1 0 0 0,1 1 0 0 0,0 0 0 0 0,-1-1 0 0 0,-1 3 0 0 0,1-2 10 0 0,-1 0 0 0 0,1 0 0 0 0,0 1 0 0 0,0-1 0 0 0,-1 1 0 0 0,1-1 0 0 0,0 1 0 0 0,1 0 0 0 0,-1 0 0 0 0,0 0 0 0 0,1 0 1 0 0,-1 0-1 0 0,1 0 0 0 0,-1 1 0 0 0,1-1 0 0 0,0 0 0 0 0,0 1 0 0 0,0-1 0 0 0,0 1 0 0 0,0-1 0 0 0,1 1 0 0 0,-1-1 0 0 0,1 1 0 0 0,0 0 0 0 0,0-1 0 0 0,0 1 0 0 0,0 0 0 0 0,0-1 0 0 0,0 1 0 0 0,1-1 0 0 0,-1 1 0 0 0,1 0 0 0 0,1 3 1 0 0,2 3 20 0 0,-1-1 0 0 0,1 0 0 0 0,1 0 1 0 0,-1 0-1 0 0,1 0 0 0 0,1-1 0 0 0,-1 0 1 0 0,10 9-1 0 0,2 0-472 0 0,1-1-1 0 0,1 0 1 0 0,35 21 0 0 0,-32-24-4377 0 0,37 15 1 0 0,-45-23 233 0 0</inkml:trace>
</inkml:ink>
</file>

<file path=ppt/ink/ink4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9:14.04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3 504 0 0,'14'-16'7494'0'0,"-6"10"-6244"0"0,-7 7-1141 0 0,0 0 0 0 0,1 1 1 0 0,-1 0-1 0 0,0-1 1 0 0,0 1-1 0 0,-1-1 0 0 0,1 1 1 0 0,0 0-1 0 0,0 0 1 0 0,-1 0-1 0 0,1-1 0 0 0,-1 1 1 0 0,0 0-1 0 0,1 2 1 0 0,2 37 743 0 0,-2-20-171 0 0,3 8-55 0 0,0 0 0 0 0,3 0 0 0 0,0-1 0 0 0,14 37 0 0 0,-13-47-361 0 0,0 0 0 0 0,1-1 0 0 0,1 0 0 0 0,1 0 0 0 0,0-1 0 0 0,1-1 0 0 0,20 21 0 0 0,-29-33-198 0 0,0 0 1 0 0,0 0 0 0 0,0 0-1 0 0,1-1 1 0 0,-1 1-1 0 0,1-1 1 0 0,0 0-1 0 0,-1 0 1 0 0,1-1-1 0 0,0 1 1 0 0,0-1-1 0 0,0 1 1 0 0,0-1-1 0 0,0-1 1 0 0,1 1-1 0 0,5 0 1 0 0,-5-1-36 0 0,0-1-1 0 0,1 0 1 0 0,-1 0 0 0 0,0 0 0 0 0,0-1 0 0 0,-1 1-1 0 0,1-1 1 0 0,0 0 0 0 0,0-1 0 0 0,-1 1-1 0 0,8-6 1 0 0,3-4-72 0 0,-1-1-1 0 0,0 0 0 0 0,-1-1 1 0 0,0-1-1 0 0,19-29 1 0 0,-8 4-101 0 0,-1-1 1 0 0,26-66-1 0 0,-29 61-29 0 0,-17 36 64 0 0,-8 14-22 0 0,-6 12 31 0 0,6-2 104 0 0,1 1 0 0 0,1 0 0 0 0,0-1 1 0 0,1 1-1 0 0,0 0 0 0 0,2 0 0 0 0,-1 0 0 0 0,2 0 0 0 0,0 1 0 0 0,1-2 0 0 0,0 1 0 0 0,1 0 0 0 0,1 0 0 0 0,6 15 0 0 0,-7-24 11 0 0,-1 0-1 0 0,1 0 1 0 0,0 0 0 0 0,0 0 0 0 0,1 0-1 0 0,0-1 1 0 0,0 0 0 0 0,0 1-1 0 0,1-2 1 0 0,0 1 0 0 0,0 0-1 0 0,0-1 1 0 0,0 0 0 0 0,1 0 0 0 0,-1-1-1 0 0,1 1 1 0 0,0-1 0 0 0,0 0-1 0 0,0-1 1 0 0,1 1 0 0 0,-1-1-1 0 0,1-1 1 0 0,-1 1 0 0 0,1-1 0 0 0,-1 0-1 0 0,1-1 1 0 0,0 0 0 0 0,-1 0-1 0 0,1 0 1 0 0,0 0 0 0 0,-1-1-1 0 0,1-1 1 0 0,0 1 0 0 0,-1-1 0 0 0,0 0-1 0 0,1 0 1 0 0,-1-1 0 0 0,0 0-1 0 0,10-6 1 0 0,-6 3-13 0 0,-1-1 1 0 0,0 0-1 0 0,0-1 0 0 0,0 0 1 0 0,-1 0-1 0 0,-1-1 0 0 0,1 0 0 0 0,-1 0 1 0 0,-1-1-1 0 0,0 0 0 0 0,0 0 1 0 0,5-14-1 0 0,-6 12-12 0 0,-1 1-1 0 0,0-1 1 0 0,0 0 0 0 0,-2-1 0 0 0,1 1-1 0 0,-2 0 1 0 0,1-1 0 0 0,-2 1-1 0 0,0-1 1 0 0,0 1 0 0 0,-3-17 0 0 0,3 27-7 0 0,-1 0 1 0 0,1-1-1 0 0,-1 1 0 0 0,0 0 1 0 0,1 0-1 0 0,-1-1 1 0 0,0 1-1 0 0,0 0 1 0 0,-1 0-1 0 0,0-2 0 0 0,1 3 10 0 0,1 1 0 0 0,-1-1 1 0 0,0 1-1 0 0,1-1 0 0 0,-1 1 0 0 0,0-1 0 0 0,0 1 0 0 0,1 0 0 0 0,-1-1 0 0 0,0 1 0 0 0,0 0 0 0 0,0 0 0 0 0,1-1 0 0 0,-1 1 0 0 0,0 0 0 0 0,0 0 0 0 0,0 0 0 0 0,1 0 0 0 0,-1 0 0 0 0,0 0 0 0 0,0 0 0 0 0,0 1 0 0 0,0-1 0 0 0,0 0 0 0 0,0 0 1 0 0,1 1 1 0 0,-1-1-1 0 0,0 1 0 0 0,1-1 1 0 0,-1 0-1 0 0,1 1 0 0 0,-1-1 1 0 0,1 1-1 0 0,-1-1 1 0 0,1 1-1 0 0,-1-1 0 0 0,1 1 1 0 0,0-1-1 0 0,-1 1 0 0 0,1 0 1 0 0,0-1-1 0 0,0 1 0 0 0,-1 0 1 0 0,1-1-1 0 0,0 1 0 0 0,0 0 1 0 0,0-1-1 0 0,0 1 0 0 0,-1 0 1 0 0,1-1-1 0 0,0 1 0 0 0,0 0 1 0 0,1 0-1 0 0,1 23-13 0 0,-2-20 13 0 0,6 24-24 0 0,0-1-1 0 0,2 0 1 0 0,19 45 0 0 0,-15-44 8 0 0,-1 2 1 0 0,12 51-1 0 0,-22-74 38 0 0,0-1 0 0 0,0 0 1 0 0,-1 1-1 0 0,0-1 0 0 0,0 1 1 0 0,0-1-1 0 0,-1 1 0 0 0,-1 6 1 0 0,1-10 3 0 0,0 0 1 0 0,0 0-1 0 0,-1-1 1 0 0,1 1-1 0 0,0 0 1 0 0,-1-1-1 0 0,0 1 1 0 0,0-1-1 0 0,1 0 1 0 0,-1 1-1 0 0,-1-1 1 0 0,1 0-1 0 0,0 0 1 0 0,0-1 0 0 0,-1 1-1 0 0,1 0 1 0 0,-1-1-1 0 0,1 1 1 0 0,-6 1-1 0 0,-3 0-235 0 0,0-1 0 0 0,-1 0 0 0 0,1-1 0 0 0,0 0 0 0 0,-1-1 0 0 0,1 0-1 0 0,0-1 1 0 0,-1 0 0 0 0,-21-5 0 0 0,32 6 90 0 0,1 0 0 0 0,0 0 0 0 0,-1 0 0 0 0,1 0 0 0 0,-1-1 0 0 0,1 1 0 0 0,-1 0-1 0 0,1 0 1 0 0,-1 0 0 0 0,1 0 0 0 0,0 0 0 0 0,-1 0 0 0 0,1-1 0 0 0,-1 1 0 0 0,1 0 0 0 0,0 0-1 0 0,-1-1 1 0 0,1 1 0 0 0,0 0 0 0 0,-1-1 0 0 0,1 1 0 0 0,0 0 0 0 0,-1-1 0 0 0,1 1 0 0 0,0 0 0 0 0,0-1-1 0 0,0 1 1 0 0,-1-1 0 0 0,1 1 0 0 0,0 0 0 0 0,0-1 0 0 0,0 1 0 0 0,0-1 0 0 0,0 1 0 0 0,0-1 0 0 0,0 1-1 0 0,0 0 1 0 0,0-1 0 0 0,0 1 0 0 0,0-1 0 0 0,0 1 0 0 0,0-1 0 0 0,0 1 0 0 0,0-1 0 0 0,0 1 0 0 0,0 0-1 0 0,0-1 1 0 0,1 1 0 0 0,-1-1 0 0 0,0 1 0 0 0,0 0 0 0 0,1-1 0 0 0,-1 1 0 0 0,0 0 0 0 0,0-1-1 0 0,1 1 1 0 0,-1 0 0 0 0,0-1 0 0 0,1 1 0 0 0,-1 0 0 0 0,1 0 0 0 0,-1-1 0 0 0,0 1 0 0 0,1 0 0 0 0,0 0-1 0 0,22-17-3510 0 0,-9 10 567 0 0</inkml:trace>
</inkml:ink>
</file>

<file path=ppt/ink/ink4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9:14.55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70 1176 0 0,'49'-14'2363'0'0,"7"-2"935"0"0,91-39 0 0 0,-132 48-2884 0 0,-1 0 0 0 0,0-1 0 0 0,0-1 0 0 0,-1 0 0 0 0,0 0 0 0 0,0-2 0 0 0,-1 1 0 0 0,-1-2 0 0 0,1 0 0 0 0,17-25 0 0 0,-16 11 142 0 0,-13 25-543 0 0,0 0 1 0 0,0 0-1 0 0,0 0 0 0 0,1 0 0 0 0,-1 0 0 0 0,0 0 0 0 0,0 0 1 0 0,-1 0-1 0 0,1 0 0 0 0,0 0 0 0 0,0 0 0 0 0,0 0 0 0 0,-1 0 0 0 0,1 1 1 0 0,0-1-1 0 0,-1 0 0 0 0,1 0 0 0 0,-1 0 0 0 0,1 0 0 0 0,-1 1 0 0 0,1-1 1 0 0,-1 0-1 0 0,0 0 0 0 0,0 0 0 0 0,0 0-6 0 0,-1 0 0 0 0,1 1 0 0 0,-1-1 0 0 0,1 1-1 0 0,0-1 1 0 0,-1 1 0 0 0,1 0 0 0 0,-1-1 0 0 0,1 1 0 0 0,-1 0-1 0 0,1 0 1 0 0,-1 0 0 0 0,1 0 0 0 0,-1 0 0 0 0,1 1 0 0 0,-1-1 0 0 0,1 0-1 0 0,-3 2 1 0 0,-26 9 58 0 0,22-6 26 0 0,1 1 1 0 0,0-1 0 0 0,0 1-1 0 0,0 0 1 0 0,0 1 0 0 0,1 0-1 0 0,0 0 1 0 0,0 0-1 0 0,1 0 1 0 0,0 1 0 0 0,1 0-1 0 0,-1 0 1 0 0,1 0 0 0 0,1 1-1 0 0,0 0 1 0 0,0-1-1 0 0,-2 14 1 0 0,3-14-70 0 0,1-1-1 0 0,0 1 0 0 0,1 0 1 0 0,0-1-1 0 0,0 1 1 0 0,1-1-1 0 0,0 1 1 0 0,0-1-1 0 0,0 1 1 0 0,1-1-1 0 0,1 0 1 0 0,-1 0-1 0 0,1 0 1 0 0,0 0-1 0 0,0 0 1 0 0,1 0-1 0 0,0-1 0 0 0,0 0 1 0 0,1 1-1 0 0,0-2 1 0 0,10 11-1 0 0,-12-13-180 0 0,0 0 0 0 0,1 0 0 0 0,0 0 0 0 0,-1-1 1 0 0,1 1-1 0 0,0-1 0 0 0,0 0 0 0 0,0 0 0 0 0,0-1 0 0 0,1 1 0 0 0,-1-1 0 0 0,0 0 0 0 0,1 0 0 0 0,-1 0 0 0 0,1-1 0 0 0,-1 1 0 0 0,1-1 0 0 0,-1 0 0 0 0,1-1 0 0 0,5 0 0 0 0,1-2-211 0 0,0 0 0 0 0,0-2 1 0 0,0 1-1 0 0,-1-1 0 0 0,1 0 0 0 0,18-14 0 0 0,-10 6 104 0 0,56-33-46 0 0,-67 41 369 0 0,1 1-1 0 0,0 0 1 0 0,0 1-1 0 0,0 0 1 0 0,0 0-1 0 0,16-2 1 0 0,-21 5-3 0 0,-1 0-1 0 0,1 0 1 0 0,-1 0 0 0 0,1 0 0 0 0,-1 1-1 0 0,1-1 1 0 0,-1 1 0 0 0,1 0-1 0 0,-1 0 1 0 0,1 0 0 0 0,-1 1-1 0 0,0-1 1 0 0,0 1 0 0 0,0-1 0 0 0,0 1-1 0 0,0 0 1 0 0,0 1 0 0 0,0-1-1 0 0,-1 0 1 0 0,1 1 0 0 0,-1-1-1 0 0,1 1 1 0 0,-1 0 0 0 0,0 0 0 0 0,0 0-1 0 0,0 0 1 0 0,-1 0 0 0 0,1 0-1 0 0,-1 0 1 0 0,0 1 0 0 0,2 6-1 0 0,0 1 187 0 0,0 1 0 0 0,-1 0 0 0 0,0 0 0 0 0,-1 0 0 0 0,-1 0 0 0 0,0 1 0 0 0,-2 20 0 0 0,1-25-167 0 0,0 3 1211 0 0,-1 0 0 0 0,0 0 0 0 0,-7 18 1041 0 0,9-29-2272 0 0,-1-1 0 0 0,1 0 0 0 0,-1 1 0 0 0,1-1 0 0 0,-1 0 0 0 0,1 0 0 0 0,0 1 0 0 0,-1-1 0 0 0,1 0 0 0 0,0 0 0 0 0,0 1 0 0 0,-1-1 0 0 0,1 0 0 0 0,0 0 0 0 0,0-1 0 0 0,5-9-132 0 0,0 0 1 0 0,1 0 0 0 0,1 0-1 0 0,-1 1 1 0 0,2 0 0 0 0,-1 0-1 0 0,1 1 1 0 0,1 0-1 0 0,0 0 1 0 0,14-10 0 0 0,-4 4-1687 0 0,1 2 1 0 0,36-19-1 0 0,-45 26-548 0 0,1 2 1 0 0,0-1-1 0 0,24-4 1 0 0,-18 7-2395 0 0</inkml:trace>
</inkml:ink>
</file>

<file path=ppt/ink/ink4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9:14.92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8 9 2616 0 0,'1'-8'6500'0'0,"-10"37"-3960"0"0,1 0 0 0 0,-9 59 0 0 0,4 101 1529 0 0,13-188-4013 0 0,0-1-1 0 0,0 1 1 0 0,0 0-1 0 0,0 0 0 0 0,1 0 1 0 0,-1 0-1 0 0,0-1 1 0 0,0 1-1 0 0,0 0 1 0 0,1 0-1 0 0,-1 0 0 0 0,0-1 1 0 0,1 1-1 0 0,-1 0 1 0 0,0-1-1 0 0,1 1 1 0 0,-1 0-1 0 0,1-1 1 0 0,0 1-1 0 0,-1 0 0 0 0,1-1 1 0 0,-1 1-1 0 0,1-1 1 0 0,0 1-1 0 0,-1-1 1 0 0,1 1-1 0 0,0-1 0 0 0,0 0 1 0 0,-1 1-1 0 0,1-1 1 0 0,0 0-1 0 0,0 0 1 0 0,0 1-1 0 0,-1-1 0 0 0,1 0 1 0 0,0 0-1 0 0,0 0 1 0 0,0 0-1 0 0,0 0 1 0 0,-1 0-1 0 0,2 0 1 0 0,7-1-64 0 0,0 1 1 0 0,-1-1 0 0 0,12-3 0 0 0,-5 1 165 0 0,-3 2-174 0 0,1 1-1 0 0,-1 0 1 0 0,0 0 0 0 0,1 1 0 0 0,-1 1 0 0 0,22 5-1 0 0,-28-5 13 0 0,0 0-1 0 0,0 0 1 0 0,0 1-1 0 0,-1-1 1 0 0,1 1-1 0 0,-1 1 0 0 0,1-1 1 0 0,-1 1-1 0 0,0 0 1 0 0,-1 0-1 0 0,1 0 0 0 0,-1 1 1 0 0,0-1-1 0 0,0 1 1 0 0,4 7-1 0 0,-6-9 17 0 0,0 0-1 0 0,-1 0 0 0 0,1 0 1 0 0,-1 0-1 0 0,0 0 1 0 0,0 0-1 0 0,0 1 0 0 0,0-1 1 0 0,-1 0-1 0 0,1 0 1 0 0,-1 1-1 0 0,0-1 0 0 0,0 1 1 0 0,0-1-1 0 0,0 0 1 0 0,-1 1-1 0 0,0 3 0 0 0,-1-2 9 0 0,0-1-1 0 0,0 1 1 0 0,0-1-1 0 0,0 0 0 0 0,-1 0 1 0 0,0 0-1 0 0,1-1 1 0 0,-1 1-1 0 0,-1 0 1 0 0,1-1-1 0 0,-5 4 0 0 0,-2 0-216 0 0,0 1 0 0 0,-1-2 0 0 0,0 1 0 0 0,0-2 0 0 0,0 1 0 0 0,-1-1 0 0 0,0-1 0 0 0,-16 4 0 0 0,13-5-748 0 0,1 0 0 0 0,-1-1 0 0 0,0-1 0 0 0,-23-1 0 0 0,33 0 287 0 0,-1 0 0 0 0,0-1 0 0 0,1 0 0 0 0,-1 0 0 0 0,1-1 0 0 0,-1 1 0 0 0,1-1 0 0 0,0 0 0 0 0,-1-1 0 0 0,1 1 0 0 0,0-1 0 0 0,0 0 1 0 0,1-1-1 0 0,-9-6 0 0 0,-1-5-4085 0 0</inkml:trace>
</inkml:ink>
</file>

<file path=ppt/ink/ink4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9:15.25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29 1832 0 0,'17'-15'2344'0'0,"1"1"-1"0"0,30-19 0 0 0,-30 23-1611 0 0,0 1 0 0 0,1 0 0 0 0,0 2 0 0 0,0 0-1 0 0,31-6 1 0 0,-30 9-530 0 0,1 0 0 0 0,0 2 0 0 0,0 1 0 0 0,-1 0 0 0 0,1 1 0 0 0,30 5-1 0 0,6 8-2536 0 0,-1 8-3829 0 0,-44-16 2401 0 0</inkml:trace>
</inkml:ink>
</file>

<file path=ppt/ink/ink4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9:17.99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2 10 1676 0 0,'0'0'10789'0'0,"-16"-4"-6949"0"0,10-1-2931 0 0</inkml:trace>
</inkml:ink>
</file>

<file path=ppt/ink/ink4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9:24.67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56 53 376 0 0,'-2'-23'4690'0'0,"1"21"-4620"0"0,1 1 0 0 0,-1-1 0 0 0,1 1 0 0 0,-1-1-1 0 0,0 1 1 0 0,0-1 0 0 0,0 1 0 0 0,1 0 0 0 0,-1-1-1 0 0,-1 1 1 0 0,1 0 0 0 0,0 0 0 0 0,0 0 0 0 0,0-1-1 0 0,-1 1 1 0 0,1 0 0 0 0,0 1 0 0 0,-1-1 0 0 0,1 0-1 0 0,-1 0 1 0 0,1 1 0 0 0,-1-1 0 0 0,1 1 0 0 0,-1-1-1 0 0,1 1 1 0 0,-1-1 0 0 0,0 1 0 0 0,1 0 0 0 0,-1 0-1 0 0,0 0 1 0 0,1 0 0 0 0,-1 0 0 0 0,1 0 0 0 0,-1 1 0 0 0,0-1-1 0 0,1 0 1 0 0,-1 1 0 0 0,-1 0 0 0 0,-8 2 52 0 0,-1 1 1 0 0,1 0 0 0 0,1 1 0 0 0,-1 0-1 0 0,1 1 1 0 0,0 0 0 0 0,0 0 0 0 0,0 1-1 0 0,1 0 1 0 0,0 1 0 0 0,1 0 0 0 0,-1 1-1 0 0,2-1 1 0 0,-1 1 0 0 0,1 1 0 0 0,1 0-1 0 0,0 0 1 0 0,0 0 0 0 0,1 0 0 0 0,0 1-1 0 0,0 0 1 0 0,2 0 0 0 0,-1 1 0 0 0,1-1-1 0 0,1 0 1 0 0,0 1 0 0 0,0 13 0 0 0,2-20-65 0 0,0 1 0 0 0,0-1 0 0 0,1 0 1 0 0,-1 0-1 0 0,1 1 0 0 0,1-1 0 0 0,-1 0 1 0 0,1 0-1 0 0,0 0 0 0 0,0 0 0 0 0,0 0 1 0 0,1-1-1 0 0,-1 1 0 0 0,1-1 0 0 0,0 1 1 0 0,1-1-1 0 0,-1 0 0 0 0,1 0 0 0 0,-1-1 1 0 0,1 1-1 0 0,8 4 0 0 0,-10-7-32 0 0,1 0 0 0 0,-1 0 0 0 0,1 0-1 0 0,0-1 1 0 0,-1 1 0 0 0,1-1 0 0 0,0 0-1 0 0,0 1 1 0 0,-1-1 0 0 0,1-1 0 0 0,0 1 0 0 0,0 0-1 0 0,3-2 1 0 0,34-11 134 0 0,-34 9-143 0 0,0 1-1 0 0,-1-1 1 0 0,1 0 0 0 0,-1-1 0 0 0,0 1-1 0 0,0-1 1 0 0,-1 0 0 0 0,1 0 0 0 0,-1-1-1 0 0,0 1 1 0 0,-1-1 0 0 0,1 0 0 0 0,2-7-1 0 0,5-13 15 0 0,15-51-1 0 0,-17 47-48 0 0,5-11-220 0 0,-14 38 197 0 0,2 5 17 0 0,0 1 108 0 0,0 0 1 0 0,0 0-1 0 0,0 1 1 0 0,0-1-1 0 0,-1 0 1 0 0,1 1-1 0 0,-1-1 0 0 0,0 1 1 0 0,0-1-1 0 0,0 1 1 0 0,0 6-1 0 0,4 52 246 0 0,-4-47-257 0 0,-1-14-130 0 0,6 146 696 0 0,-6-115-3734 0 0,-2-1-3394 0 0</inkml:trace>
</inkml:ink>
</file>

<file path=ppt/ink/ink4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9:25.00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1068 0 0,'0'0'4076'0'0,"1"1"-3945"0"0,0-1-1 0 0,-1 0 1 0 0,1 0-1 0 0,0 0 0 0 0,0 1 1 0 0,-1-1-1 0 0,1 0 0 0 0,0 1 1 0 0,-1-1-1 0 0,1 1 0 0 0,0-1 1 0 0,-1 1-1 0 0,1-1 0 0 0,-1 1 1 0 0,1-1-1 0 0,-1 1 0 0 0,2 1 1 0 0,5 107 3961 0 0,-9 61-2502 0 0,1-133-1446 0 0,-1 10 84 0 0,-8 60 0 0 0,5-75-1127 0 0</inkml:trace>
</inkml:ink>
</file>

<file path=ppt/ink/ink4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9:25.54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53 71 288 0 0,'1'-2'1441'0'0,"-1"1"-1352"0"0,3-8 1058 0 0,-1 0 0 0 0,0 0 0 0 0,0-13-1 0 0,-2 21-1117 0 0,0 0-1 0 0,0 0 1 0 0,0 0 0 0 0,-1 0-1 0 0,1 1 1 0 0,0-1-1 0 0,-1 0 1 0 0,1 0-1 0 0,-1 0 1 0 0,1 0 0 0 0,-1 1-1 0 0,1-1 1 0 0,-1 0-1 0 0,1 1 1 0 0,-1-1-1 0 0,0 0 1 0 0,1 1 0 0 0,-1-1-1 0 0,0 1 1 0 0,0-1-1 0 0,1 1 1 0 0,-1-1 0 0 0,0 1-1 0 0,0 0 1 0 0,0-1-1 0 0,0 1 1 0 0,0 0-1 0 0,1-1 1 0 0,-1 1 0 0 0,0 0-1 0 0,0 0 1 0 0,0 0-1 0 0,0 0 1 0 0,0 0-1 0 0,-1 0 1 0 0,-23 2 376 0 0,23-1-369 0 0,1-1 0 0 0,-1 1 0 0 0,0-1 0 0 0,1 1 0 0 0,-1 0 0 0 0,1 0 0 0 0,-1 0 0 0 0,1 0 0 0 0,0 0 0 0 0,-1 0 0 0 0,1 0 0 0 0,0 0 0 0 0,0 1 1 0 0,0-1-1 0 0,0 0 0 0 0,0 1 0 0 0,0-1 0 0 0,0 1 0 0 0,0-1 0 0 0,0 1 0 0 0,1 0 0 0 0,-1-1 0 0 0,1 1 0 0 0,-1-1 0 0 0,1 1 0 0 0,0 0 0 0 0,-1 0 0 0 0,1-1 0 0 0,0 1 0 0 0,0 0 1 0 0,0 0-1 0 0,0-1 0 0 0,1 4 0 0 0,1 4 95 0 0,-1-1 0 0 0,1 1 0 0 0,0-1 1 0 0,7 17-1 0 0,45 79 615 0 0,-38-77-563 0 0,-2 0 1 0 0,-1 1-1 0 0,16 47 1 0 0,-28-72-145 0 0,0-1 0 0 0,-1 1 0 0 0,1 0 0 0 0,-1 0 0 0 0,0 0 0 0 0,0-1 1 0 0,0 1-1 0 0,0 0 0 0 0,0 0 0 0 0,-1 0 0 0 0,1 0 0 0 0,-1-1 0 0 0,0 1 0 0 0,0 0 0 0 0,0-1 0 0 0,0 1 0 0 0,0-1 0 0 0,-1 1 0 0 0,1-1 0 0 0,-1 1 1 0 0,1-1-1 0 0,-1 0 0 0 0,0 0 0 0 0,0 0 0 0 0,0 0 0 0 0,0 0 0 0 0,0 0 0 0 0,-1 0 0 0 0,1-1 0 0 0,-1 1 0 0 0,1-1 0 0 0,-1 0 0 0 0,1 0 1 0 0,-1 0-1 0 0,0 0 0 0 0,1 0 0 0 0,-1 0 0 0 0,0-1 0 0 0,0 1 0 0 0,1-1 0 0 0,-1 0 0 0 0,0 0 0 0 0,0 0 0 0 0,0 0 0 0 0,0 0 0 0 0,1-1 0 0 0,-5 0 1 0 0,3 0-126 0 0,0 0 1 0 0,0 0 0 0 0,0 0 0 0 0,0-1 0 0 0,0 1 0 0 0,0-1 0 0 0,0 0 0 0 0,1 0 0 0 0,-1 0 0 0 0,1 0 0 0 0,-1-1 0 0 0,1 0 0 0 0,0 1 0 0 0,0-1 0 0 0,0 0 0 0 0,1 0 0 0 0,-1-1 0 0 0,1 1 0 0 0,-1-1 0 0 0,1 1 0 0 0,0-1 0 0 0,1 0 0 0 0,-1 1 0 0 0,1-1 0 0 0,-1 0 0 0 0,1 0-1 0 0,0 0 1 0 0,0-1 0 0 0,1 1 0 0 0,-1 0 0 0 0,1 0 0 0 0,1-7 0 0 0,0-2-343 0 0,2-1 0 0 0,0 0 0 0 0,1 0 0 0 0,0 1 0 0 0,1 0 1 0 0,0 0-1 0 0,11-18 1446 0 0,-21 38-391 0 0,-3 1-186 0 0,-20 23 373 0 0,-41 36 1 0 0,18-18-1627 0 0,6 1-4678 0 0</inkml:trace>
</inkml:ink>
</file>

<file path=ppt/ink/ink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2:45.29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32 1360 0 0,'3'-3'558'0'0,"0"0"1"0"0,0 1-1 0 0,0-1 0 0 0,0 1 1 0 0,0 0-1 0 0,5-2 0 0 0,-6 3 91 0 0,11 8 998 0 0,-11-4-1461 0 0,0 1 0 0 0,0-1 0 0 0,0 1 0 0 0,0-1 0 0 0,-1 1 0 0 0,0 0 0 0 0,0 0 0 0 0,0 0 0 0 0,0 0 0 0 0,0-1 0 0 0,-1 1 0 0 0,0 0 0 0 0,0 0 0 0 0,0 8 0 0 0,-2 5 418 0 0,-7 34 0 0 0,8-46-271 0 0,0 0-1 0 0,-1 0 0 0 0,0-1 0 0 0,0 1 0 0 0,0 0 1 0 0,-3 4-1 0 0,4-8-81 0 0,-9-10 217 0 0,9 4-437 0 0,1-1 0 0 0,1 1-1 0 0,-1 0 1 0 0,1 0-1 0 0,0-1 1 0 0,0 1 0 0 0,0 0-1 0 0,1 0 1 0 0,0 0-1 0 0,0 0 1 0 0,0 1 0 0 0,0-1-1 0 0,1 0 1 0 0,5-6 0 0 0,2-3-16 0 0,1 1 0 0 0,0 0 0 0 0,18-15 0 0 0,-25 24-205 0 0,0 1 0 0 0,1 0-1 0 0,-1 0 1 0 0,1 0 0 0 0,-1 1 0 0 0,1 0 0 0 0,0 0 0 0 0,0 0 0 0 0,0 1 0 0 0,10-3 0 0 0,-9 3-1151 0 0,1 1 1 0 0,-1-1-1 0 0,1 1 1 0 0,7 1-1 0 0</inkml:trace>
</inkml:ink>
</file>

<file path=ppt/ink/ink4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9:25.90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120 0 0,'1'0'135'0'0,"0"0"1"0"0,0 0-1 0 0,-1 0 0 0 0,1 1 0 0 0,0-1 1 0 0,0 0-1 0 0,0 0 0 0 0,-1 1 0 0 0,1-1 1 0 0,0 0-1 0 0,-1 1 0 0 0,1-1 0 0 0,0 1 1 0 0,-1-1-1 0 0,1 1 0 0 0,0-1 0 0 0,-1 1 1 0 0,1 0-1 0 0,-1-1 0 0 0,1 1 0 0 0,-1 0 1 0 0,1-1-1 0 0,-1 1 0 0 0,0 0 0 0 0,1 0 1 0 0,-1-1-1 0 0,0 1 0 0 0,1 0 0 0 0,-1 0 1 0 0,0-1-1 0 0,0 1 0 0 0,0 0 0 0 0,0 0 1 0 0,0 0-1 0 0,0 0 0 0 0,0-1 0 0 0,0 1 1 0 0,0 0-1 0 0,0 1 0 0 0,1 8 362 0 0,1 11 259 0 0,1-1 0 0 0,1 1-1 0 0,1-1 1 0 0,11 29 0 0 0,-11-37-418 0 0,0-1 1 0 0,1 1-1 0 0,0-1 1 0 0,1 0-1 0 0,1-1 1 0 0,0 1-1 0 0,0-1 0 0 0,15 13 1 0 0,-21-22-288 0 0,-1 0 0 0 0,1 0 0 0 0,0 0 0 0 0,0 0 0 0 0,0-1 0 0 0,0 1 0 0 0,0-1 0 0 0,0 1 0 0 0,0-1 0 0 0,1 0 0 0 0,-1 0 0 0 0,0 0 0 0 0,0 0 0 0 0,0 0 0 0 0,0 0 0 0 0,0 0 0 0 0,2-1 1 0 0,0 0-21 0 0,-1 0 1 0 0,0 1 0 0 0,1-1 0 0 0,-1-1 0 0 0,0 1 0 0 0,0 0 0 0 0,0-1 0 0 0,0 1 0 0 0,0-1 0 0 0,4-4 0 0 0,-3 2-13 0 0,0-1-1 0 0,-1 1 1 0 0,1-1 0 0 0,-1 0 0 0 0,0 0-1 0 0,-1 0 1 0 0,1-1 0 0 0,-1 1 0 0 0,0 0-1 0 0,0-1 1 0 0,-1 0 0 0 0,0 1 0 0 0,0-1-1 0 0,0 0 1 0 0,0 0 0 0 0,-1 0 0 0 0,0 1-1 0 0,-1-1 1 0 0,-1-10 0 0 0,1 6 3 0 0,-1 1 1 0 0,-1-1 0 0 0,0 0-1 0 0,0 1 1 0 0,-1 0-1 0 0,0-1 1 0 0,-1 2 0 0 0,0-1-1 0 0,0 0 1 0 0,-10-12-1 0 0,12 19-54 0 0,1-1 0 0 0,-1 1 0 0 0,0-1 0 0 0,1 1 0 0 0,-1 0-1 0 0,0 0 1 0 0,0 0 0 0 0,0 0 0 0 0,-1 1 0 0 0,1-1 0 0 0,0 1-1 0 0,-1 0 1 0 0,1 0 0 0 0,-1 0 0 0 0,1 0 0 0 0,-1 1 0 0 0,1-1 0 0 0,-1 1-1 0 0,1 0 1 0 0,-1 0 0 0 0,1 0 0 0 0,-1 1 0 0 0,0-1 0 0 0,-4 2-1 0 0,5-1-449 0 0,-1 0-1 0 0,0 1 0 0 0,1-1 0 0 0,-1 1 0 0 0,1 0 0 0 0,0 0 0 0 0,-1 0 0 0 0,1 1 0 0 0,0-1 0 0 0,0 1 1 0 0,1-1-1 0 0,-1 1 0 0 0,0 0 0 0 0,-2 4 0 0 0,-3 4-3811 0 0</inkml:trace>
</inkml:ink>
</file>

<file path=ppt/ink/ink4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9:27.12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4 74 1492 0 0,'2'-12'3055'0'0,"1"3"-857"0"0,1 19-1821 0 0,0 0-1 0 0,-1 0 0 0 0,-1 0 0 0 0,0 0 0 0 0,0 1 1 0 0,0 10-1 0 0,0 69 1290 0 0,-2-68-1411 0 0,0-6 34 0 0,0 1 0 0 0,-1-1-1 0 0,-1 0 1 0 0,-4 17-1 0 0,4-28-67 0 0,1 0-1 0 0,0-1 0 0 0,-1 1 0 0 0,0-1 0 0 0,0 1 0 0 0,-1-1 0 0 0,1 0 1 0 0,-1 0-1 0 0,0 0 0 0 0,0 0 0 0 0,0 0 0 0 0,-1-1 0 0 0,1 1 1 0 0,-1-1-1 0 0,0 0 0 0 0,0 0 0 0 0,-5 3 0 0 0,7-5-155 0 0,1 0-1 0 0,-1-1 0 0 0,1 1 1 0 0,-1 0-1 0 0,0-1 1 0 0,1 1-1 0 0,-1-1 0 0 0,0 1 1 0 0,1-1-1 0 0,-1 0 1 0 0,0 0-1 0 0,1 1 0 0 0,-1-2 1 0 0,0 1-1 0 0,0 0 0 0 0,1 0 1 0 0,-1 0-1 0 0,0-1 1 0 0,1 1-1 0 0,-1-1 0 0 0,0 1 1 0 0,1-1-1 0 0,-1 0 1 0 0,1 1-1 0 0,-1-1 0 0 0,1 0 1 0 0,-1 0-1 0 0,1 0 1 0 0,0 0-1 0 0,-1-1 0 0 0,0 0 1 0 0,0 0-38 0 0,1 0 0 0 0,-1 0 0 0 0,1 0 0 0 0,0-1 0 0 0,0 1-1 0 0,0 0 1 0 0,0-1 0 0 0,0 1 0 0 0,0 0 0 0 0,1-1 0 0 0,-1 1 0 0 0,1-1 0 0 0,-1 1 0 0 0,1-1 0 0 0,0 1 0 0 0,0-1 0 0 0,0 1 0 0 0,1-1 0 0 0,0-4 0 0 0,1-1-2 0 0,1 0 1 0 0,0 0-1 0 0,0 0 1 0 0,1 1-1 0 0,0-1 1 0 0,0 1-1 0 0,1 0 1 0 0,0 1-1 0 0,0-1 1 0 0,0 1-1 0 0,1 0 1 0 0,9-8-1 0 0,-6 7-237 0 0,0 1 0 0 0,0 0 0 0 0,1 1 1 0 0,0 0-1 0 0,0 1 0 0 0,0-1 0 0 0,0 2 0 0 0,16-4 0 0 0,2 2-552 0 0,0 2 0 0 0,0 1 0 0 0,0 1-1 0 0,0 1 1 0 0,0 1 0 0 0,40 8 0 0 0,-33-3 173 0 0,61 1 0 0 0,-86-7 579 0 0,0 0 0 0 0,0-1 0 0 0,-1 0 0 0 0,1-1 0 0 0,-1 0 0 0 0,1 0 0 0 0,-1-1 0 0 0,0 0 0 0 0,0-1 0 0 0,0 0 0 0 0,11-7 0 0 0,-18 10 16 0 0,-1 1-2 0 0,0-1 1 0 0,0 0-1 0 0,0 0 0 0 0,0 0 1 0 0,0 0-1 0 0,0 0 0 0 0,0 0 1 0 0,0 0-1 0 0,0 0 0 0 0,-1 0 1 0 0,1 0-1 0 0,0 0 0 0 0,0-2 1 0 0,0 2 0 0 0,-1 0 1 0 0,0 0 0 0 0,1 0 0 0 0,-1 1-1 0 0,0-1 1 0 0,0 0 0 0 0,1 0 0 0 0,-1 0-1 0 0,0 0 1 0 0,0 0 0 0 0,0 0-1 0 0,0 0 1 0 0,0 1 0 0 0,0-1 0 0 0,0 0-1 0 0,-1 0 1 0 0,1 0 0 0 0,0 0 0 0 0,0 0-1 0 0,-1 0 1 0 0,1 1 0 0 0,-1-1 0 0 0,1 0-1 0 0,0 0 1 0 0,-1 1 0 0 0,1-1-1 0 0,-1 0 1 0 0,0 0 0 0 0,1 1 0 0 0,-1-1-1 0 0,0 1 1 0 0,1-1 0 0 0,-1 0 0 0 0,0 1-1 0 0,0-1 1 0 0,1 1 0 0 0,-1 0 0 0 0,0-1-1 0 0,-2 0 1 0 0,0 0 18 0 0,0 0-1 0 0,-1 0 1 0 0,1 0 0 0 0,-1 0-1 0 0,0 1 1 0 0,1-1-1 0 0,-1 1 1 0 0,1 0 0 0 0,-1 0-1 0 0,0 0 1 0 0,1 1 0 0 0,-1-1-1 0 0,-4 2 1 0 0,5-2-19 0 0,-7 2 63 0 0,1 0 0 0 0,-1 1 0 0 0,1-1 0 0 0,0 2 0 0 0,0-1 0 0 0,0 1 0 0 0,0 1 0 0 0,1 0 0 0 0,0 0 0 0 0,0 0-1 0 0,0 1 1 0 0,0 0 0 0 0,1 1 0 0 0,0 0 0 0 0,1 0 0 0 0,-1 0 0 0 0,1 1 0 0 0,1 0 0 0 0,-1 0 0 0 0,1 0 0 0 0,-7 17 0 0 0,11-22-40 0 0,1 1-1 0 0,-1-1 1 0 0,0 0 0 0 0,1 1 0 0 0,-1-1 0 0 0,1 1 0 0 0,0-1-1 0 0,0 0 1 0 0,1 1 0 0 0,-1-1 0 0 0,1 1 0 0 0,-1-1-1 0 0,1 0 1 0 0,0 0 0 0 0,0 1 0 0 0,1-1 0 0 0,-1 0 0 0 0,1 0-1 0 0,-1 0 1 0 0,1 0 0 0 0,0 0 0 0 0,0-1 0 0 0,0 1-1 0 0,1-1 1 0 0,-1 1 0 0 0,1-1 0 0 0,-1 0 0 0 0,4 3 0 0 0,-1-2-72 0 0,-1 0 1 0 0,1 0 0 0 0,0 0 0 0 0,1 0 0 0 0,-1-1-1 0 0,0 0 1 0 0,1 0 0 0 0,-1 0 0 0 0,1-1-1 0 0,0 0 1 0 0,-1 0 0 0 0,1 0 0 0 0,0-1 0 0 0,0 1-1 0 0,8-2 1 0 0,-6-1-109 0 0,-1 1 0 0 0,0-1-1 0 0,1-1 1 0 0,-1 1 0 0 0,0-1-1 0 0,0-1 1 0 0,-1 1 0 0 0,1-1-1 0 0,8-7 1 0 0,3-3-247 0 0,27-30-1 0 0,-9 8 347 0 0,-34 34 664 0 0,-3 4-519 0 0,-1 2-12 0 0,0 0 0 0 0,1 0 0 0 0,-1 0-1 0 0,1 0 1 0 0,0 0 0 0 0,0 0 0 0 0,1 0 0 0 0,-1 0 0 0 0,1 0 0 0 0,0 1-1 0 0,0-1 1 0 0,0 0 0 0 0,0 0 0 0 0,1 0 0 0 0,0 0 0 0 0,0 0 0 0 0,0 0-1 0 0,0 0 1 0 0,4 7 0 0 0,-1-1 54 0 0,1 0-1 0 0,0-1 1 0 0,1 0 0 0 0,0 0-1 0 0,0 0 1 0 0,14 14-1 0 0,-17-20-114 0 0,-1-1 0 0 0,1 0 1 0 0,-1 0-1 0 0,1 0 0 0 0,0 0 0 0 0,0-1 0 0 0,0 1 0 0 0,0-1 0 0 0,0 0 0 0 0,0 1 1 0 0,0-1-1 0 0,0-1 0 0 0,1 1 0 0 0,-1 0 0 0 0,0-1 0 0 0,0 0 0 0 0,1 1 0 0 0,-1-1 0 0 0,0-1 1 0 0,1 1-1 0 0,-1 0 0 0 0,0-1 0 0 0,1 0 0 0 0,-1 0 0 0 0,0 0 0 0 0,0 0 0 0 0,4-2 0 0 0,-1 0-37 0 0,0 0 0 0 0,0-1 0 0 0,-1 1 0 0 0,1-1 0 0 0,-1-1 0 0 0,0 1-1 0 0,0-1 1 0 0,0 0 0 0 0,-1 0 0 0 0,0 0 0 0 0,0-1 0 0 0,5-8 0 0 0,22-50-559 0 0,26-84 0 0 0,-10 24 1581 0 0,-29 79-517 0 0,-17 43-250 0 0,-8 23 672 0 0,-1 6-152 0 0,0 0 0 0 0,2 1 0 0 0,-5 45 0 0 0,2 88 252 0 0,8-152-968 0 0,1 71 208 0 0,-2 28-2001 0 0,-6-40-3955 0 0</inkml:trace>
</inkml:ink>
</file>

<file path=ppt/ink/ink4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9:27.58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63 1012 0 0,'0'-2'1772'0'0,"0"-9"115"0"0,-1 7-1469 0 0,1 1 0 0 0,0-1 0 0 0,0 1 0 0 0,1-1 0 0 0,-1 1 0 0 0,1-1 1 0 0,1-4-1 0 0,-1 6-336 0 0,-1 0 0 0 0,1 1 0 0 0,0-1 0 0 0,0 1 0 0 0,0-1 0 0 0,1 1 0 0 0,-1-1 0 0 0,0 1 0 0 0,1 0 0 0 0,-1 0 0 0 0,0 0 0 0 0,1 0 0 0 0,0 0 0 0 0,-1 0 0 0 0,1 0 0 0 0,-1 0 0 0 0,1 0 0 0 0,0 1 0 0 0,3-2 0 0 0,22-3 485 0 0,0 2 0 0 0,0 0 1 0 0,1 2-1 0 0,39 2 0 0 0,-12 0 86 0 0,11-5-12 0 0,-60 3-575 0 0,2 0 14 0 0,1-1 1 0 0,-1 1-1 0 0,13-6 0 0 0,-19 6-70 0 0,1 0 0 0 0,-1 0 0 0 0,0 0-1 0 0,0 0 1 0 0,0-1 0 0 0,0 1 0 0 0,0 0 0 0 0,0-1-1 0 0,0 0 1 0 0,0 0 0 0 0,-1 1 0 0 0,1-1 0 0 0,-1 0-1 0 0,1 0 1 0 0,-1 0 0 0 0,0 0 0 0 0,0-1 0 0 0,2-2-1 0 0,-3 4-12 0 0,1 0 0 0 0,-1 0 0 0 0,0 1 0 0 0,0-1-1 0 0,1 0 1 0 0,-1 0 0 0 0,0 0 0 0 0,0 0 0 0 0,0 1-1 0 0,0-1 1 0 0,0 0 0 0 0,0 0 0 0 0,0 0 0 0 0,0 0 0 0 0,0 0-1 0 0,0 1 1 0 0,-1-1 0 0 0,1 0 0 0 0,0 0 0 0 0,-1 0-1 0 0,1 1 1 0 0,0-1 0 0 0,-1 0 0 0 0,1 0 0 0 0,-1 1 0 0 0,1-1-1 0 0,-1 0 1 0 0,1 1 0 0 0,-1-1 0 0 0,-1 0 0 0 0,0 0-3 0 0,0 0 0 0 0,1 0 0 0 0,-1 0 0 0 0,0 1 1 0 0,0-1-1 0 0,0 1 0 0 0,0 0 0 0 0,0-1 0 0 0,-2 1 1 0 0,-5 0 56 0 0,1 0 0 0 0,0 0 0 0 0,-1 1 1 0 0,1 0-1 0 0,0 1 0 0 0,-1 0 1 0 0,1 0-1 0 0,0 0 0 0 0,1 1 0 0 0,-1 1 1 0 0,0-1-1 0 0,1 1 0 0 0,0 0 0 0 0,-10 8 1 0 0,8-5 105 0 0,0 1 1 0 0,1-1-1 0 0,1 1 1 0 0,-1 1 0 0 0,1 0-1 0 0,0 0 1 0 0,1 0-1 0 0,0 1 1 0 0,1 0-1 0 0,-8 18 1 0 0,10-19-34 0 0,1 0-1 0 0,0 1 1 0 0,0-1 0 0 0,1 1-1 0 0,0 0 1 0 0,1-1 0 0 0,0 1-1 0 0,0 0 1 0 0,1-1-1 0 0,0 1 1 0 0,1-1 0 0 0,0 1-1 0 0,4 9 1 0 0,-2-8-121 0 0,0 0-1 0 0,0-1 1 0 0,1 0-1 0 0,0 1 1 0 0,1-2 0 0 0,0 1-1 0 0,1-1 1 0 0,0 0-1 0 0,0 0 1 0 0,16 14-1 0 0,-19-20-259 0 0,0 0-1 0 0,0 0 1 0 0,0 0-1 0 0,0-1 0 0 0,0 0 1 0 0,1 0-1 0 0,0 0 0 0 0,-1 0 1 0 0,1-1-1 0 0,0 1 1 0 0,0-1-1 0 0,-1 0 0 0 0,1-1 1 0 0,0 1-1 0 0,0-1 0 0 0,0 0 1 0 0,0-1-1 0 0,10-1 1 0 0,-6 0-658 0 0,0-1 1 0 0,0 0-1 0 0,-1 0 1 0 0,1-1-1 0 0,-1 0 0 0 0,0-1 1 0 0,0 0-1 0 0,0 0 1 0 0,7-7-1 0 0,-6 3-1105 0 0</inkml:trace>
</inkml:ink>
</file>

<file path=ppt/ink/ink4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9:27.98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86 83 956 0 0,'29'-38'4255'0'0,"4"-5"-418"0"0,-32 43-3814 0 0,-1-1-1 0 0,1 1 1 0 0,-1 0-1 0 0,1 0 1 0 0,-1 0-1 0 0,1 0 1 0 0,-1 0-1 0 0,1 0 0 0 0,-1 0 1 0 0,1 0-1 0 0,-1 0 1 0 0,1 0-1 0 0,-1 0 1 0 0,1 0-1 0 0,-1 0 1 0 0,1 0-1 0 0,-1 0 1 0 0,1 1-1 0 0,-1-1 1 0 0,1 0-1 0 0,-1 0 1 0 0,1 1-1 0 0,-1-1 1 0 0,1 0-1 0 0,-1 0 1 0 0,0 1-1 0 0,1-1 1 0 0,-1 1-1 0 0,0-1 1 0 0,1 0-1 0 0,-1 1 0 0 0,1 0 1 0 0,10 14 633 0 0,-7-7-413 0 0,-1 0 1 0 0,-1 0 0 0 0,1 0 0 0 0,-1 0 0 0 0,-1 1 0 0 0,0-1-1 0 0,1 10 1 0 0,-4 60 1189 0 0,0-46-1000 0 0,-2 0 0 0 0,-1-1 0 0 0,-2 1 0 0 0,-17 50 0 0 0,18-68-353 0 0,1 0 0 0 0,-2 0-1 0 0,0-1 1 0 0,-1 0-1 0 0,0 0 1 0 0,0-1 0 0 0,-2 0-1 0 0,1 0 1 0 0,-2-1 0 0 0,1-1-1 0 0,-1 1 1 0 0,-14 8 0 0 0,21-16-54 0 0,-1-1 0 0 0,1 0 1 0 0,-1 0-1 0 0,0 0 1 0 0,0-1-1 0 0,0 0 0 0 0,0 1 1 0 0,0-2-1 0 0,0 1 0 0 0,0-1 1 0 0,0 1-1 0 0,-5-2 1 0 0,7 1-22 0 0,1 0 1 0 0,-1 0 0 0 0,1 0-1 0 0,0-1 1 0 0,-1 1 0 0 0,1-1-1 0 0,0 1 1 0 0,-1-1 0 0 0,1 0-1 0 0,0 0 1 0 0,0 0-1 0 0,0 0 1 0 0,-1-1 0 0 0,1 1-1 0 0,1 0 1 0 0,-1-1 0 0 0,0 0-1 0 0,0 1 1 0 0,0-1 0 0 0,1 0-1 0 0,-1 0 1 0 0,1 0 0 0 0,0 0-1 0 0,-1 0 1 0 0,1 0 0 0 0,0 0-1 0 0,-1-4 1 0 0,2 4-8 0 0,0 0-1 0 0,-1 0 1 0 0,1-1-1 0 0,0 1 1 0 0,1 0-1 0 0,-1 0 1 0 0,0-1 0 0 0,1 1-1 0 0,-1 0 1 0 0,1 0-1 0 0,0 0 1 0 0,0-1-1 0 0,-1 1 1 0 0,1 0 0 0 0,1 0-1 0 0,-1 0 1 0 0,0 1-1 0 0,0-1 1 0 0,1 0 0 0 0,-1 0-1 0 0,1 1 1 0 0,0-1-1 0 0,2-1 1 0 0,3-4-14 0 0,1 1 0 0 0,0 1 0 0 0,0-1 0 0 0,9-3 1 0 0,-6 4 10 0 0,0 0 1 0 0,1 1-1 0 0,-1 1 1 0 0,1 0 0 0 0,-1 0-1 0 0,1 1 1 0 0,0 1 0 0 0,0 0-1 0 0,0 0 1 0 0,0 1 0 0 0,0 1-1 0 0,16 2 1 0 0,-7 1-569 0 0,0 1 1 0 0,1 1-1 0 0,-2 1 0 0 0,1 0 1 0 0,36 20-1 0 0,-49-22-387 0 0,0 1-1 0 0,-1 0 1 0 0,1 0-1 0 0,9 11 1 0 0,1 0-2943 0 0,-8-9 1111 0 0</inkml:trace>
</inkml:ink>
</file>

<file path=ppt/ink/ink4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9:28.50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92 20 1040 0 0,'7'-20'6677'0'0,"-6"29"-6229"0"0,0 1 0 0 0,0-1-1 0 0,-1 0 1 0 0,-1 1-1 0 0,1-1 1 0 0,-1 0 0 0 0,-3 10-1 0 0,0 8 286 0 0,-56 410 5190 0 0,58-422-5501 0 0,2-11-123 0 0,-1-1 1 0 0,1 0-1 0 0,-1 1 1 0 0,1-1-1 0 0,-1 0 1 0 0,0 0-1 0 0,-1 1 1 0 0,1-1-1 0 0,0 0 1 0 0,-4 4-1 0 0,4-5 86 0 0,0-2-358 0 0,1 0 1 0 0,-1 0-1 0 0,1 0 0 0 0,-1-1 1 0 0,1 1-1 0 0,-1 0 1 0 0,0 0-1 0 0,1 0 1 0 0,-1 0-1 0 0,1-1 0 0 0,-1 1 1 0 0,1 0-1 0 0,-1 0 1 0 0,1-1-1 0 0,-1 1 1 0 0,1 0-1 0 0,0-1 0 0 0,-1 1 1 0 0,1-1-1 0 0,-1 1 1 0 0,1 0-1 0 0,0-1 1 0 0,-1 1-1 0 0,1-1 1 0 0,0 1-1 0 0,-1-1 0 0 0,1 0 1 0 0,-2-19 40 0 0,3 13-160 0 0,0 1 0 0 0,0 0 0 0 0,1 0 0 0 0,3-9 0 0 0,0 5-75 0 0,1 1-1 0 0,0 0 1 0 0,0 0 0 0 0,1 0 0 0 0,0 1 0 0 0,1 0 0 0 0,0 0-1 0 0,0 0 1 0 0,0 1 0 0 0,1 1 0 0 0,0-1 0 0 0,20-9 0 0 0,-9 6-45 0 0,1 1 0 0 0,0 1 1 0 0,1 0-1 0 0,0 2 0 0 0,29-5 1 0 0,-40 9 142 0 0,-1 1 1 0 0,1 1-1 0 0,0 0 0 0 0,-1 0 1 0 0,1 1-1 0 0,12 3 0 0 0,-19-3 48 0 0,0 0-1 0 0,1 0 0 0 0,-1 0 0 0 0,0 0 0 0 0,0 1 0 0 0,0 0 0 0 0,0 0 0 0 0,0 0 0 0 0,0 0 0 0 0,0 1 0 0 0,0 0 0 0 0,-1-1 0 0 0,0 1 0 0 0,1 0 0 0 0,-1 1 0 0 0,0-1 0 0 0,2 5 0 0 0,-4-7 18 0 0,0 1 0 0 0,0 0 1 0 0,0 0-1 0 0,-1-1 0 0 0,1 1 0 0 0,-1 0 1 0 0,1 0-1 0 0,-1 0 0 0 0,0 0 1 0 0,1 0-1 0 0,-1 0 0 0 0,0 0 0 0 0,0-1 1 0 0,-1 1-1 0 0,1 0 0 0 0,0 0 1 0 0,-1 0-1 0 0,1 0 0 0 0,-2 3 0 0 0,0-2 4 0 0,0 1 0 0 0,0-1-1 0 0,0 0 1 0 0,0 1 0 0 0,-1-1-1 0 0,1 0 1 0 0,-1 0 0 0 0,0-1-1 0 0,-4 4 1 0 0,-4 2 5 0 0,-1 0 0 0 0,0-1 0 0 0,-1-1 0 0 0,-17 8 0 0 0,-6 0-1201 0 0,-38 9 0 0 0,55-19-3359 0 0,-34 5 0 0 0</inkml:trace>
</inkml:ink>
</file>

<file path=ppt/ink/ink4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9:29.04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3 2132 0 0,'12'-6'4690'0'0,"-10"5"-4402"0"0,-1 0-17 0 0,1 1 0 0 0,-1-1 0 0 0,1 0 1 0 0,0 1-1 0 0,-1-1 0 0 0,1 1 0 0 0,0-1 0 0 0,-1 1 0 0 0,1 0 0 0 0,0 0 0 0 0,0 0 1 0 0,-1 0-1 0 0,4 0 0 0 0,-4 1-199 0 0,1 1 1 0 0,-1-1 0 0 0,1 0-1 0 0,-1 1 1 0 0,0-1 0 0 0,0 1-1 0 0,0-1 1 0 0,0 1-1 0 0,0-1 1 0 0,0 1 0 0 0,0 0-1 0 0,0 0 1 0 0,-1 0 0 0 0,1-1-1 0 0,0 4 1 0 0,3 5 33 0 0,0 1 1 0 0,1-1-1 0 0,0 0 1 0 0,0 0-1 0 0,1-1 1 0 0,9 11 0 0 0,-12-16-79 0 0,1 0 0 0 0,0 0 0 0 0,0-1 1 0 0,0 1-1 0 0,0-1 0 0 0,1 0 1 0 0,-1-1-1 0 0,1 1 0 0 0,0-1 0 0 0,0 0 1 0 0,0 0-1 0 0,0 0 0 0 0,0-1 1 0 0,0 1-1 0 0,0-1 0 0 0,10 0 1 0 0,-7-1-20 0 0,-1 0 1 0 0,1 0 0 0 0,-1-1-1 0 0,0 0 1 0 0,0-1 0 0 0,1 0-1 0 0,-1 0 1 0 0,0 0 0 0 0,0-1-1 0 0,-1 0 1 0 0,1 0 0 0 0,9-6-1 0 0,5-6-131 0 0,0-1 0 0 0,23-22 0 0 0,-34 29 41 0 0,-8 7 29 0 0,-2 2-48 0 0,1 0 97 0 0,-1 0 1 0 0,1 1 0 0 0,-1-1-1 0 0,1 0 1 0 0,-1 0-1 0 0,0 1 1 0 0,1-1 0 0 0,-1 0-1 0 0,0 1 1 0 0,1-1-1 0 0,-1 0 1 0 0,0 1 0 0 0,0-1-1 0 0,1 0 1 0 0,-1 1-1 0 0,0-1 1 0 0,0 1 0 0 0,1-1-1 0 0,-1 0 1 0 0,0 1-1 0 0,0-1 1 0 0,0 1-1 0 0,0-1 1 0 0,0 1 0 0 0,0-1-1 0 0,0 1 1 0 0,0-1-1 0 0,0 1 1 0 0,0-1 0 0 0,0 1-1 0 0,0-1 1 0 0,0 0-1 0 0,0 1 1 0 0,0 0 0 0 0,-4 18-27 0 0,-38 193 1130 0 0,31-141-246 0 0,-33 113 0 0 0,40-173-750 0 0,0 0 0 0 0,-1 0 0 0 0,0-1 0 0 0,-11 17 0 0 0,13-23-49 0 0,0 0 0 0 0,1-1-1 0 0,-2 1 1 0 0,1-1 0 0 0,0 0 0 0 0,-1 1-1 0 0,1-2 1 0 0,-1 1 0 0 0,0 0 0 0 0,0-1 0 0 0,0 1-1 0 0,0-1 1 0 0,-9 3 0 0 0,10-4-39 0 0,0-1 1 0 0,0 1-1 0 0,-1-1 1 0 0,1 0-1 0 0,0 1 1 0 0,-1-2-1 0 0,1 1 1 0 0,0 0-1 0 0,-1-1 0 0 0,1 1 1 0 0,0-1-1 0 0,0 0 1 0 0,-1 0-1 0 0,1 0 1 0 0,0 0-1 0 0,0-1 1 0 0,0 1-1 0 0,0-1 1 0 0,1 0-1 0 0,-1 0 1 0 0,0 0-1 0 0,1 0 0 0 0,-1-1 1 0 0,1 1-1 0 0,0 0 1 0 0,0-1-1 0 0,0 0 1 0 0,0 1-1 0 0,0-1 1 0 0,0 0-1 0 0,-2-6 1 0 0,0-1-6 0 0,0-1 0 0 0,0 1 0 0 0,1-1 1 0 0,0 0-1 0 0,1 0 0 0 0,0 0 1 0 0,1 0-1 0 0,0-12 0 0 0,1 7-130 0 0,1 1 0 0 0,0-1 0 0 0,2 0 0 0 0,0 1 0 0 0,0 0 0 0 0,1 0 0 0 0,1 0 0 0 0,1 0 0 0 0,0 1 0 0 0,9-17 0 0 0,-7 19-957 0 0,-1 1-1 0 0,15-17 1 0 0,-12 18-1142 0 0,0 0-1 0 0,18-13 1 0 0,-16 14-1697 0 0</inkml:trace>
</inkml:ink>
</file>

<file path=ppt/ink/ink4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9:45.23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4 12 320 0 0,'0'0'3797'0'0,"-8"28"1904"0"0,7 1-2901 0 0,-9 46 1 0 0,5-42-2033 0 0,5-32-710 0 0,0 1-1 0 0,0-1 1 0 0,0 0 0 0 0,0 1 0 0 0,0-1 0 0 0,0 1 0 0 0,1-1-1 0 0,-1 1 1 0 0,0-1 0 0 0,1 0 0 0 0,-1 1 0 0 0,1-1-1 0 0,-1 0 1 0 0,1 1 0 0 0,0-1 0 0 0,0 0 0 0 0,-1 0 0 0 0,1 0-1 0 0,0 0 1 0 0,0 0 0 0 0,0 0 0 0 0,0 0 0 0 0,0 0-1 0 0,0 0 1 0 0,1 0 0 0 0,-1 0 0 0 0,0-1 0 0 0,0 1 0 0 0,1 0-1 0 0,-1-1 1 0 0,0 1 0 0 0,1-1 0 0 0,-1 1 0 0 0,0-1-1 0 0,1 0 1 0 0,-1 0 0 0 0,1 0 0 0 0,2 1 0 0 0,6-1 113 0 0,1 1 0 0 0,0-1 0 0 0,20-3 0 0 0,-22 2-41 0 0,51-8 288 0 0,-1-1 0 0 0,0-3-1 0 0,68-25 1 0 0,162-81-1094 0 0,-247 103-2696 0 0,-23 9-4452 0 0</inkml:trace>
</inkml:ink>
</file>

<file path=ppt/ink/ink4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9:46.12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25 1 1636 0 0,'-2'0'4103'0'0,"-1"-1"-3875"0"0,0 2 0 0 0,0-1 0 0 0,0 0 0 0 0,0 1 1 0 0,1-1-1 0 0,-1 1 0 0 0,0 0 0 0 0,0 0 1 0 0,1 0-1 0 0,-1 0 0 0 0,0 0 0 0 0,1 1 1 0 0,-1-1-1 0 0,1 1 0 0 0,0 0 0 0 0,-1 0 1 0 0,1 0-1 0 0,0 0 0 0 0,0 0 0 0 0,0 0 1 0 0,-1 3-1 0 0,-7 6 282 0 0,2 0 1 0 0,-1 1-1 0 0,-7 13 0 0 0,13-19-284 0 0,0 0 0 0 0,0 1 0 0 0,0-1 1 0 0,1 1-1 0 0,0-1 0 0 0,0 1 0 0 0,0 0 0 0 0,0 9 0 0 0,2-14-142 0 0,0 0 0 0 0,0 1 0 0 0,0-1 1 0 0,0 0-1 0 0,1 0 0 0 0,-1 0 0 0 0,1 1 0 0 0,-1-1 0 0 0,1 0 0 0 0,0 0 0 0 0,0 0 0 0 0,0 0 0 0 0,0 0 0 0 0,0 0 0 0 0,1-1 1 0 0,-1 1-1 0 0,0 0 0 0 0,1-1 0 0 0,-1 1 0 0 0,1-1 0 0 0,0 1 0 0 0,-1-1 0 0 0,1 0 0 0 0,0 1 0 0 0,0-1 0 0 0,0 0 1 0 0,0 0-1 0 0,0 0 0 0 0,0-1 0 0 0,2 2 0 0 0,4-1 13 0 0,-1 1 1 0 0,0-1-1 0 0,0 0 0 0 0,0-1 1 0 0,1 0-1 0 0,-1 0 0 0 0,0 0 1 0 0,0-1-1 0 0,1 0 0 0 0,-1 0 1 0 0,0-1-1 0 0,13-5 1 0 0,9-4 7 0 0,46-26 0 0 0,-60 29-64 0 0,48-27 21 0 0,52-25-2191 0 0,-91 52 277 0 0,12-1-5262 0 0,-32 8 6012 0 0</inkml:trace>
</inkml:ink>
</file>

<file path=ppt/ink/ink4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9:51.84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 62 1096 0 0,'-2'-13'3744'0'0,"-2"-19"1419"0"0,4 30-4561 0 0,-1-5 1841 0 0,3 9-2315 0 0,-1 1 1 0 0,0 0-1 0 0,0-1 1 0 0,-1 1 0 0 0,1-1-1 0 0,-1 1 1 0 0,1 0-1 0 0,-1 0 1 0 0,0 3-1 0 0,0-4-1 0 0,3 20 1472 0 0,-1-14 642 0 0,-1-14-902 0 0,-1 4-1282 0 0,1-17-268 0 0,-4 28 201 0 0,1 0-1 0 0,0 0 1 0 0,1 0-1 0 0,0 1 1 0 0,0-1-1 0 0,1 16 1 0 0,9 62-27 0 0,-5-53 45 0 0,14 75 253 0 0,-18-109-256 0 0,0 0 0 0 0,0 1 0 0 0,0-1 0 0 0,-1 1 0 0 0,1-1 0 0 0,0 0 0 0 0,0 1 0 0 0,1-1 0 0 0,-1 1 0 0 0,0-1 0 0 0,0 0 0 0 0,0 1 0 0 0,0-1 1 0 0,0 0-1 0 0,0 1 0 0 0,0-1 0 0 0,1 1 0 0 0,-1-1 0 0 0,0 0 0 0 0,0 1 0 0 0,1-1 0 0 0,-1 0 0 0 0,0 0 0 0 0,0 1 0 0 0,1-1 0 0 0,-1 0 0 0 0,0 1 0 0 0,1-1 0 0 0,-1 0 0 0 0,0 0 0 0 0,1 1 0 0 0,8-10-109 0 0,3-20-345 0 0,26-128-1527 0 0,-5 17 1107 0 0,-25 114 616 0 0,-7 24 351 0 0,0 2-85 0 0,0 0 0 0 0,0 1 0 0 0,-1-1 1 0 0,1 1-1 0 0,0-1 0 0 0,-1 1 0 0 0,1 0 0 0 0,0-1 0 0 0,-1 1 0 0 0,1 0 0 0 0,0-1 1 0 0,-1 1-1 0 0,1 0 0 0 0,0 1 0 0 0,5 15 168 0 0,0-1 1 0 0,2 1-1 0 0,0-1 1 0 0,1-1-1 0 0,0 1 1 0 0,16 18-1 0 0,-21-28-133 0 0,1 0 0 0 0,-1-1-1 0 0,1 0 1 0 0,0 0 0 0 0,0 0 0 0 0,1-1 0 0 0,-1 0 0 0 0,1 0-1 0 0,0 0 1 0 0,9 4 0 0 0,-10-8-30 0 0,0 1-1 0 0,-1-1 1 0 0,1-1-1 0 0,0 1 1 0 0,-1-1 0 0 0,1 0-1 0 0,0 0 1 0 0,-1 0-1 0 0,1-1 1 0 0,-1 1-1 0 0,0-1 1 0 0,1 0 0 0 0,-1 0-1 0 0,0-1 1 0 0,6-4-1 0 0,17-15 73 0 0,-2-1-1 0 0,-1-1 0 0 0,31-40 1 0 0,-55 63-82 0 0,0 1 0 0 0,1 0 0 0 0,-1-1 1 0 0,0 1-1 0 0,0 0 0 0 0,0 0 0 0 0,1-1 1 0 0,-1 1-1 0 0,0 0 0 0 0,0 0 0 0 0,1 0 1 0 0,-1-1-1 0 0,0 1 0 0 0,0 0 0 0 0,1 0 1 0 0,-1 0-1 0 0,0 0 0 0 0,1-1 0 0 0,-1 1 1 0 0,0 0-1 0 0,1 0 0 0 0,-1 0 0 0 0,0 0 1 0 0,0 0-1 0 0,1 0 0 0 0,-1 0 0 0 0,0 0 1 0 0,1 0-1 0 0,-1 0 0 0 0,0 0 0 0 0,1 0 1 0 0,-1 0-1 0 0,0 0 0 0 0,1 1 0 0 0,-1-1 1 0 0,0 0-1 0 0,1 0 0 0 0,-1 0 0 0 0,0 0 1 0 0,0 0-1 0 0,1 1 0 0 0,-1-1 0 0 0,0 0 1 0 0,0 0-1 0 0,1 1 0 0 0,-1-1 0 0 0,0 0 1 0 0,0 0-1 0 0,0 1 0 0 0,1-1 0 0 0,-1 0 1 0 0,0 1-1 0 0,0-1 0 0 0,0 0 0 0 0,0 1 1 0 0,5 19 574 0 0,-7 24 447 0 0,-9 54 0 0 0,0-12-582 0 0,-7 147-236 0 0,16-207-747 0 0,1-15 123 0 0,0-1 0 0 0,1 1 0 0 0,0 0 0 0 0,2 10 0 0 0,-2-20 340 0 0,0-1 0 0 0,0 1 0 0 0,0-1 0 0 0,0 1 0 0 0,0-1 0 0 0,0 0 0 0 0,0 1-1 0 0,1-1 1 0 0,-1 1 0 0 0,0-1 0 0 0,0 0 0 0 0,0 1 0 0 0,1-1 0 0 0,-1 0 0 0 0,0 1 0 0 0,0-1 0 0 0,1 0 0 0 0,-1 1 0 0 0,0-1 0 0 0,1 0 0 0 0,-1 0 0 0 0,0 1 0 0 0,1-1 0 0 0,-1 0 0 0 0,0 0 0 0 0,1 0 0 0 0,-1 1 0 0 0,1-1 0 0 0,-1 0-1 0 0,0 0 1 0 0,1 0 0 0 0,-1 0 0 0 0,1 0 0 0 0,-1 0 0 0 0,0 0 0 0 0,1 0 0 0 0,-1 0 0 0 0,1 0 0 0 0,-1 0 0 0 0,1 0 0 0 0,-1 0 0 0 0,0 0 0 0 0,1 0 0 0 0,-1-1 0 0 0,1 1 0 0 0,15-11-2033 0 0,-4-5 282 0 0,-1-1 0 0 0,-1-1-1 0 0,10-22 1 0 0,-11 22 68 0 0,5-9-1428 0 0</inkml:trace>
</inkml:ink>
</file>

<file path=ppt/ink/ink4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9:53.34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88 3568 0 0,'52'-90'5898'0'0,"-57"121"-3842"0"0,3-18-1570 0 0,2-1 0 0 0,-1 0-1 0 0,2 1 1 0 0,-1-1-1 0 0,5 20 1 0 0,-4-26-237 0 0,1 0 1 0 0,-1 0 0 0 0,1 0-1 0 0,1 0 1 0 0,-1 0 0 0 0,1 0-1 0 0,0-1 1 0 0,0 1-1 0 0,1-1 1 0 0,-1 0 0 0 0,1 0-1 0 0,6 6 1 0 0,-9-10-210 0 0,0 0 0 0 0,0 0 0 0 0,0 0 0 0 0,0-1 0 0 0,0 1 0 0 0,0 0 0 0 0,0 0 0 0 0,0-1 0 0 0,0 1 0 0 0,0 0 0 0 0,1-1 0 0 0,-1 0 0 0 0,0 1 0 0 0,1-1 0 0 0,-1 0 0 0 0,0 1 1 0 0,1-1-1 0 0,-1 0 0 0 0,0 0 0 0 0,1 0 0 0 0,-1 0 0 0 0,0 0 0 0 0,1 0 0 0 0,-1-1 0 0 0,0 1 0 0 0,1 0 0 0 0,-1-1 0 0 0,0 1 0 0 0,0-1 0 0 0,1 1 0 0 0,-1-1 0 0 0,0 0 0 0 0,0 1 0 0 0,0-1 0 0 0,0 0 0 0 0,0 0 0 0 0,0 0 0 0 0,0 0 0 0 0,0 0 0 0 0,0 0 0 0 0,0 0 0 0 0,-1 0 0 0 0,1 0 0 0 0,0 0 0 0 0,0-3 0 0 0,3-2-11 0 0,-1 0 0 0 0,0-1 0 0 0,-1 1 0 0 0,1-1 0 0 0,-1 1 0 0 0,-1-1 0 0 0,2-9 0 0 0,-2 2-82 0 0,0-1-1 0 0,-1 1 1 0 0,0 0 0 0 0,-1-1 0 0 0,-5-21 0 0 0,5 30-287 0 0,0 1-1 0 0,-1 0 1 0 0,0-1 0 0 0,0 1 0 0 0,0 0-1 0 0,0 0 1 0 0,-1 0 0 0 0,1 1 0 0 0,-1-1-1 0 0,-1 1 1 0 0,1-1 0 0 0,-1 1 0 0 0,1 0 0 0 0,-1 0-1 0 0,0 0 1 0 0,-1 1 0 0 0,-5-5 0 0 0,-17-1-7651 0 0</inkml:trace>
  <inkml:trace contextRef="#ctx0" brushRef="#br0" timeOffset="1">304 104 208 0 0,'0'0'1668'0'0,"4"0"-270"0"0,-1 1-1156 0 0,0-1 0 0 0,-1 1-1 0 0,1-1 1 0 0,0 1 0 0 0,-1 0-1 0 0,1 0 1 0 0,-1 0-1 0 0,1 1 1 0 0,-1-1 0 0 0,1 1-1 0 0,-1-1 1 0 0,0 1 0 0 0,0-1-1 0 0,0 1 1 0 0,0 0 0 0 0,0 0-1 0 0,0 0 1 0 0,0 1 0 0 0,-1-1-1 0 0,1 0 1 0 0,-1 1 0 0 0,0-1-1 0 0,1 1 1 0 0,0 3 0 0 0,7 19 724 0 0,-2 0 0 0 0,-1 0 1 0 0,5 34-1 0 0,6 29 728 0 0,-2-19-483 0 0,-4-13 6647 0 0,-10-57-7794 0 0,0 1 1 0 0,1 0 0 0 0,-1-1 0 0 0,0 1-1 0 0,0-1 1 0 0,0 1 0 0 0,0-1 0 0 0,0 1-1 0 0,0-1 1 0 0,0 0 0 0 0,0 0 0 0 0,0 1-1 0 0,-1-1 1 0 0,1 0 0 0 0,0 0 0 0 0,0 0 0 0 0,-1 0-1 0 0,1 0 1 0 0,0 0 0 0 0,-1 0 0 0 0,1 0-1 0 0,-1 0 1 0 0,1-2 0 0 0,10-31 314 0 0,-9 28-278 0 0,25-106 334 0 0,0-1-4258 0 0,-15 72-5158 0 0</inkml:trace>
  <inkml:trace contextRef="#ctx0" brushRef="#br0" timeOffset="2">680 135 1036 0 0,'4'-1'412'0'0,"0"1"1"0"0,1-1-1 0 0,-1 1 0 0 0,0 0 0 0 0,0 0 0 0 0,0 1 1 0 0,1-1-1 0 0,-1 1 0 0 0,0 0 0 0 0,0 0 1 0 0,0 1-1 0 0,0-1 0 0 0,0 1 0 0 0,0 0 1 0 0,-1-1-1 0 0,1 2 0 0 0,0-1 0 0 0,-1 0 0 0 0,0 1 1 0 0,1 0-1 0 0,-1 0 0 0 0,0 0 0 0 0,-1 0 1 0 0,1 0-1 0 0,0 0 0 0 0,-1 1 0 0 0,3 4 0 0 0,1 6-117 0 0,0 0-1 0 0,0 0 0 0 0,-1 0 0 0 0,-1 1 0 0 0,-1 0 0 0 0,0 0 0 0 0,0 0 0 0 0,-1 15 0 0 0,-1-9-1192 0 0,-1-1 1 0 0,-6 40-1 0 0,-4-27-5979 0 0</inkml:trace>
  <inkml:trace contextRef="#ctx0" brushRef="#br0" timeOffset="3">778 135 164 0 0,'6'-120'8087'0'0,"-6"119"-8109"0"0,0 1-1 0 0,0-1 1 0 0,0 1-1 0 0,0-1 1 0 0,0 1-1 0 0,0-1 1 0 0,0 1-1 0 0,1-1 1 0 0,-1 1-1 0 0,0-1 1 0 0,0 1-1 0 0,0-1 1 0 0,1 1-1 0 0,-1-1 1 0 0,0 1-1 0 0,0-1 1 0 0,1 1-1 0 0,-1-1 1 0 0,1 1-1 0 0,-1 0 1 0 0,0-1-1 0 0,1 1 1 0 0,-1 0-1 0 0,1-1 1 0 0,-1 1-1 0 0,1 0 1 0 0,-1-1-1 0 0,1 1 1 0 0,0 0-1 0 0,1-1-79 0 0,-1 1 1 0 0,0 0-1 0 0,1 0 0 0 0,-1 0 0 0 0,1 0 0 0 0,-1 0 0 0 0,1 0 0 0 0,-1 0 0 0 0,1 1 0 0 0,2 0 0 0 0,17 7-428 0 0,-1 1-1 0 0,0 2 0 0 0,-1 0 1 0 0,31 22-1 0 0,25 16 635 0 0,-59-40 403 0 0,-1-2-1 0 0,1 0 0 0 0,0 0 1 0 0,0-2-1 0 0,33 8 0 0 0,-42-12-354 0 0,0 0-1 0 0,0-1 0 0 0,0 1 1 0 0,0-2-1 0 0,0 1 0 0 0,0 0 1 0 0,0-1-1 0 0,0-1 0 0 0,0 1 1 0 0,0-1-1 0 0,-1 0 0 0 0,1-1 1 0 0,-1 1-1 0 0,1-1 0 0 0,-1-1 1 0 0,0 1-1 0 0,7-6 0 0 0,-11 7-100 0 0,-1 1 0 0 0,1 0 0 0 0,-1 0-1 0 0,1-1 1 0 0,-1 1 0 0 0,0-1 0 0 0,0 0 0 0 0,0 1-1 0 0,0-1 1 0 0,1-2 0 0 0,-1 3-13 0 0,-1 0 0 0 0,0 1 0 0 0,0-1 0 0 0,0 0 0 0 0,0 0 0 0 0,1 1 0 0 0,-1-1 0 0 0,0 0 0 0 0,0 1 0 0 0,0-1 0 0 0,-1 0 0 0 0,1 0 0 0 0,0 1 0 0 0,0-1 0 0 0,0 0 0 0 0,-1 1 0 0 0,1-1 0 0 0,0 0 0 0 0,0 1 0 0 0,-1-1-1 0 0,1 0 1 0 0,-1 1 0 0 0,1-1 0 0 0,0 1 0 0 0,-1-1 0 0 0,1 1 0 0 0,-2-1 0 0 0,0 0 53 0 0,0 0-1 0 0,0 1 0 0 0,0 0 1 0 0,0-1-1 0 0,0 1 1 0 0,-1 0-1 0 0,1 0 0 0 0,0 0 1 0 0,0 0-1 0 0,0 1 0 0 0,0-1 1 0 0,0 1-1 0 0,0-1 1 0 0,-1 1-1 0 0,1 0 0 0 0,0-1 1 0 0,-2 3-1 0 0,1-2-54 0 0,-5 2 162 0 0,1 1 0 0 0,-1 0-1 0 0,0 0 1 0 0,1 0 0 0 0,0 1-1 0 0,0 0 1 0 0,0 1 0 0 0,1 0 0 0 0,0 0-1 0 0,0 0 1 0 0,0 1 0 0 0,1-1-1 0 0,0 1 1 0 0,0 1 0 0 0,1-1 0 0 0,-6 14-1 0 0,3-5 32 0 0,1 1-1 0 0,0 0 0 0 0,2 0 0 0 0,0 0 0 0 0,0 1 0 0 0,-1 32 1 0 0,5-39-234 0 0,0 1 0 0 0,1-1 1 0 0,0 0-1 0 0,0 0 0 0 0,1 0 1 0 0,1 0-1 0 0,0-1 0 0 0,0 1 1 0 0,1-1-1 0 0,1 1 0 0 0,8 15 1 0 0,-12-24-128 0 0,0-1-1 0 0,0 1 1 0 0,0-1 0 0 0,0 1 0 0 0,0-1 0 0 0,0 0 0 0 0,0 1 0 0 0,0-1 0 0 0,1 0 0 0 0,-1 0-1 0 0,0 0 1 0 0,1 0 0 0 0,-1 0 0 0 0,1 0 0 0 0,-1 0 0 0 0,1 0 0 0 0,0-1 0 0 0,-1 1-1 0 0,1-1 1 0 0,-1 1 0 0 0,1-1 0 0 0,0 0 0 0 0,0 1 0 0 0,-1-1 0 0 0,1 0 0 0 0,0 0 0 0 0,0 0-1 0 0,-1 0 1 0 0,1-1 0 0 0,0 1 0 0 0,0 0 0 0 0,2-2 0 0 0,2 0-629 0 0,-1-1-1 0 0,0 1 1 0 0,-1-1 0 0 0,1 0-1 0 0,-1-1 1 0 0,1 1 0 0 0,-1-1-1 0 0,7-8 1 0 0,7-9-3479 0 0</inkml:trace>
</inkml:ink>
</file>

<file path=ppt/ink/ink43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767" units="cm"/>
          <inkml:channel name="Y" type="integer" max="32767" units="cm"/>
          <inkml:channel name="F" type="integer" max="8191" units="dev"/>
          <inkml:channel name="T" type="integer" max="2.14748E9" units="dev"/>
        </inkml:traceFormat>
        <inkml:channelProperties>
          <inkml:channelProperty channel="X" name="resolution" value="1290.03943" units="1/cm"/>
          <inkml:channelProperty channel="Y" name="resolution" value="2064.71338" units="1/cm"/>
          <inkml:channelProperty channel="F" name="resolution" value="0" units="1/dev"/>
          <inkml:channelProperty channel="T" name="resolution" value="1" units="1/dev"/>
        </inkml:channelProperties>
      </inkml:inkSource>
      <inkml:timestamp xml:id="ts0" timeString="2021-12-11T11:43:04.343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9578 6071 53 0,'0'0'226'0,"0"0"-43"16,10 1-74-16,-10-1 29 0,12 3-39 0,-12-3 30 15,11 0-45-15,-11 0 37 0,18 1-47 0,-18-1 30 0,20 1-51 16,-8-1 26-16,1 0-43 0,2 0 23 15,1 0-44-15,1 0 30 0,2 0-39 0,1 1 32 16,-1 0-37-16,2-1 32 0,0 2-37 0,2-1 35 0,-1 0-39 16,4 1 32-16,-1-1-36 0,3 0 37 0,-1 0-29 15,0 0 38-15,2 1-37 0,1-1 35 16,0-1-26-16,2 1 36 0,1-1-16 0,6-1-1 0,-1 1-8 16,3 0 31-16,-1 0-39 0,-2-1 22 0,3 1-26 15,-2 0 24-15,1-2-36 0,-1 2 38 16,-1-1-38-16,0 1 34 0,-2-1-33 0,1 1 34 15,0-1-36-15,-2-2 27 0,2 2-29 0,-3-2 34 0,3 2-36 16,-2 0 30-16,-1-1-34 0,-3 1 32 0,6-2-23 16,-1 2 25-16,-4 0-35 0,0 0 34 0,5 0-30 15,-5 1 30-15,0 0-30 0,0 0 27 0,3 1-24 16,-3 0 26-16,4 0-32 0,0 0 34 0,-4 0-36 16,4 2 34-16,-6-2-29 0,2 0 33 0,4 1-35 15,-5 0 32-15,3 0-33 0,-2 0 36 0,-2 0-36 16,0-1 32-16,1 0-29 0,0 2 30 0,1-2-29 15,2 0 29-15,3 0-33 0,-1-1 33 0,2 1-35 16,-2 0 42-16,2-1-39 0,1 2 28 0,0-2-29 16,0 1 32-16,-1-1-32 0,2 1 26 0,-1-1-22 0,1 0 30 15,-2 0-35-15,2 2 36 0,-3-2-34 16,0-2 31-16,-4 2-31 0,-1-1 34 0,4 1-32 16,0-1 25-16,1-1-25 0,-3 1 30 0,2 0-34 0,1 0 33 15,0 0-28-15,-1-1 28 0,2-1-35 16,1 2 36-16,-1-1-36 0,2 0 37 0,2 0-34 15,-1 0 48-15,2 0-22 0,-1 1 27 0,1 0-32 16,-1 0 0-16,0-1 3 0,-1 0-3 0,-1 1 1 0,0 0-3 16,1 0 1-16,0-1-1 0,-1 2 1 0,-2-1 0 15,4 1 11-15,-4 0-11 0,2-1-1 0,0 1 19 16,-1-2-29-16,2 2 26 0,-2 0-29 0,-1 0 27 16,3 0-25-16,-3-1 2 0,-1 1-1 0,3 0 18 15,-3 1-19-15,0-1 4 0,-4 0 3 0,-1 0-2 16,0 0 8-16,0 0-9 0,0 0 1 0,1 0 1 15,-2 0 2-15,0 0 0 0,-1 0 4 0,2-1-2 16,-1 1-5-16,0 0-1 0,-1-1 28 16,2 1-31-16,0-1 24 0,0 1-23 0,6-1 2 0,-3 0-5 15,2-1 3-15,-1 0 0 0,0 0 2 0,-2-1 3 16,4 2 1-16,-3-2 3 0,-1 1-5 0,2 1 1 16,-1-1 1-16,-1-1 2 0,1 1-4 0,2 0 4 15,-3-1 2-15,3 0-6 0,-1 1 8 0,1 0 19 0,4 1-29 16,-3-2 29-16,2 0-26 0,1 0 18 15,1 1-21-15,5-1 24 0,3 0-24 0,-1 0 22 16,-2 1-19-16,4-1 18 0,-1-1-25 0,0 1 19 16,1 0-24-16,0 0 7 0,0 0 25 0,2-2-31 0,-1 1 28 15,3 2-25-15,1-2 23 0,-1 2-25 0,1 0 17 16,1-2-18-16,0 0 24 0,-2 1-25 16,4 0 22-16,-2 1-20 0,1 0 26 0,-1-2-25 0,-3 2 23 15,4-2-23-15,-2 3 21 0,1-2-19 0,-2 1 21 16,3 0-27-16,-3 0 26 0,0-1-23 0,2 0 23 15,-2 1-24-15,1-1 19 0,-2 2-18 16,-2-1-13-16,2 0 18 0,-3-1 27 0,2 0-28 0,-1 0 27 16,-2 1-26-16,1-1 19 0,0 1-24 0,-1-2 25 15,1 1-30-15,0 1 30 0,0-2-26 0,2 1 20 16,-1 1-19-16,1 1 27 0,0-2-31 0,0 1 30 16,0 0-27-16,-3-1 26 0,4 2-23 0,-3 0 19 15,0-1-22-15,0 1 25 0,3 1-21 0,-3-1 19 16,1 1-23-16,2 0 20 0,-2 0-20 0,0 1 29 15,1-1-26-15,0 1 23 0,-2 1-25 0,1-2 5 16,-1 1 4-16,-1-1 18 0,1 1-29 0,0-1 34 16,-1 2-11-16,-5-2 0 0,4 0-21 0,-5 0 21 15,0 0-18-15,0 0 23 0,6-2-26 0,-6 2 23 0,-1 0-23 16,7-1 25-16,-8 0-19 0,-1-1 17 16,4 1-19-16,-4 0 18 0,3 0-19 0,-3-1 20 0,0 0-20 15,1 1 15-15,-3-1-10 0,0 0 16 0,1-1-17 16,-2 0 16-16,3 2-16 0,-2-1 19 0,1 0-13 15,1-1 15-15,0 2-18 0,1-2 19 0,-1 1-13 16,7-1 11-16,-1 1-14 0,-6 0 9 0,2 0-8 16,-2 0 13-16,1 1-20 0,2-1 17 0,-3 1-19 15,3-2 22-15,4 0-17 0,-7 2 9 0,3 0-17 16,6 0 15-16,-6 1-12 0,5 0 14 0,1-1-14 16,1 2 9-16,-2-1-8 0,2 0 15 0,0 1-12 15,0 0 9-15,2 0-13 0,-1-1 12 0,-2 2-9 16,4-1 12-16,-1 2-13 0,-2-2 13 0,2-1-13 15,-1 1 12-15,2 0-17 0,0 0 9 0,-1 1-4 16,2-1 14-16,0 0-12 0,1 0 13 0,-2 1-19 16,4-1 15-16,-1 2-11 0,-1 0 12 0,2-1-14 15,-1 0 14-15,0 1-14 0,0-1 11 0,1 2-10 16,-1 0 12-16,2 0-9 0,0-1 1 0,-2 0-1 16,2 1 8-16,-3 1-13 0,3-1 12 0,-3 0-12 15,2-1 13-15,-1 3-9 0,-2-2-2 0,-1 0 2 0,1-1 4 16,-3 1-4-16,2 0 2 0,-3-1 2 15,1 1-5-15,1-1 2 0,-3 1 7 0,1 0 4 16,-1-2 1-16,-2 2 11 0,2-1-1 0,-3-1 8 16,2 1-6-16,-7-1 4 0,0 0-5 0,-2-1-2 15,1 1-4-15,0 1 19 0,-3-2 5 0,-1 0 11 0,-4-1-4 16,-1 1 18-16,-1-1 5 0,-2-1-13 16,1 1-11-16,-4-1-10 0,1 1 18 0,-1-2 17 15,-6 0 2-15,2 1-2 0,-3 0 10 0,-1-2-8 16,1 1-4-16,-3-1-4 0,-2 2 12 0,-1 0 13 15,-1-1-13-15,0-1-13 0,-2 1-11 0,1 1-11 16,0-2-3-16,-2 1-9 0,1-1-6 0,-1 2-9 16,-9 1 0-16,16-2-5 0,-16 2 1 0,12-4-4 15,-12 4 0-15,10-2-3 0,-10 2-2 0,10-2 4 16,-10 2-2-16,0 0 0 0,11-3-6 0,-11 3-29 16,0 0-63-16,7-2-82 0,-7 2-45 0,0 0-100 15,0 0-117-15,0 0-542 0,0 0-573 0</inkml:trace>
  <inkml:trace contextRef="#ctx0" brushRef="#br0" timeOffset="3559.61">24739 5459 264 0,'0'0'402'16,"5"14"-45"-16,-1-6-63 0,-1 4-3 0,2 2-38 16,0 3-60-16,1 2-25 0,-2 1-27 0,4 2-24 15,-2 1-15-15,-1-2-4 0,-1 2-30 0,0 0-3 16,-1-5-22-16,-2 1 5 0,0-1-20 0,-2 0 11 0,0-2-20 15,-1-1 10-15,-3 0-16 0,1-5 8 16,-2 0-10-16,-1-2 10 0,-1 0-17 0,-1-4 29 16,1-2-9-16,8-2 37 0,-17 0-13 0,8-2 9 0,0-3-26 15,2-3 23-15,0 1 0 0,2-4 21 16,1 2 12-16,2-3-4 0,-1-1-19 0,3 1 29 0,3-4-27 16,1 0-3-16,-1 2-25 0,5-1 3 15,2-1-15-15,2 0-2 0,1 1-12 0,3 1 4 0,0 2-8 16,1-2 2-16,3 3-26 0,-1 1-27 0,1 0-55 15,-2 2-11-15,-1 0-64 0,1 2-35 0,-2 2-35 16,1-1-86-16,-2 1-28 0,0-1-68 0,1 3-257 16,-3 0-191-16</inkml:trace>
  <inkml:trace contextRef="#ctx0" brushRef="#br0" timeOffset="3979.61">25167 5562 253 0,'2'8'363'0,"0"-3"-44"0,1 4-20 0,-2 0-29 15,0 2-15-15,-1 0-37 0,3 1 17 0,-3 0-49 16,0 2-1-16,-3 0-18 0,3 1-9 0,0-1-39 16,-1 2 4-16,0 0-16 0,-1 1 28 0,1-2-40 15,1 1-6-15,-2-4-30 0,0 1 4 0,0 0-19 16,-1-2 1-16,1 0-17 0,0 1 6 0,0-4-11 0,-1 2 11 16,1-4-12-16,-1 1 22 0,-1-1 2 15,4-6 26-15,-7 7 5 0,7-7-8 0,0 0-15 16,0 0-23-16,-11-1 6 0,11 1-21 0,-5-12 8 0,5 3-19 15,1-4 7-15,2-2-18 0,-2 0 13 0,3-3-14 16,1-5 7-16,2 2-7 0,0-1 7 16,1 0-8-16,0 0 7 0,1 1-8 0,2-1 8 0,-2 2-6 15,1 2 7-15,3 2-10 0,-3 2 7 0,2 0-12 16,-2 3 10-16,0 3-8 0,2 2 7 0,-1 1-11 16,-2 2 14-16,-9 3-6 0,19 1 7 0,-10 1-2 15,-1 3 12-15,2 1 35 0,-1 2 27 0,0 2-25 16,1 1 10-16,-1 0-27 0,-2 2 13 0,-1 0-21 15,2 0 13-15,-3 2-20 0,-1-1 14 0,1 2-23 16,-1-2 18-16,-2 0-17 0,1 1 22 0,-1 1-5 16,3-2-3-16,-3-1-7 0,-1-1-87 0,1 0-49 15,0 0-48-15,0 0-63 0,0-4-35 0,-1 1-82 16,0-2-27-16,-1-7-82 0,3 12-395 0,-3-12-402 16</inkml:trace>
  <inkml:trace contextRef="#ctx0" brushRef="#br0" timeOffset="4182.14">25259 5784 167 0,'-18'-1'551'0,"18"1"-84"15,-12-1-67-15,12 1-85 0,0 0-28 16,0 0-60-16,0 0 3 0,0 0-35 0,10-3-15 0,-10 3-45 16,22 0-3-16,-10 2-41 0,4-4 2 0,0 4-32 15,-2-2 3-15,3 1-30 0,-2-1 13 0,-1 0-24 16,-1 0 16-16,0 0-23 0,-13 0 14 0,22 0-18 15,-22 0-20-15,16-1-101 0,-16 1-67 0,12-4-90 16,-12 4-144-16,0 0-478 0,1-7-450 0</inkml:trace>
  <inkml:trace contextRef="#ctx0" brushRef="#br0" timeOffset="7590.94">9562 6954 271 0,'0'0'313'0,"0"0"-100"0,-8-4-3 15,8 4-37-15,0 0 8 0,-8-5-61 0,8 5 4 16,0 0-53-16,0 0 8 0,-2-6-43 0,2 6 14 16,0 0-39-16,0 0 24 0,10-4-30 0,-10 4 19 15,14 0-32-15,-14 0 29 0,19 0-31 0,-4 1 27 16,2 2-25-16,2-2 25 0,2 2-3 0,2-1-3 16,2 2 0-16,2-2 0 0,2 3-6 0,5-2-22 15,-1 0 25-15,2 0-23 0,3 0 27 16,-1 0-12-16,1 1 18 0,11-1-23 0,-2-1 29 0,3 0-20 15,-1 2 17-15,2-2-6 0,0 2 2 0,0 0-5 16,1-2 2-16,3 0 2 0,0 1-11 0,-1-1 5 16,1 0-24-16,2 1 26 0,1-2-25 0,2 1 31 0,0-1-3 15,0 0-1-15,1-1-4 0,1 0 1 0,0 0-2 16,-2 0 0-16,2 0-9 0,-4 0 12 16,0 0-8-16,0-1-2 0,-2 0-18 0,1-1 23 0,-2 1-21 15,0-2 23-15,-1 2-18 0,1-1 21 0,0 1-4 16,1 0 0-16,-2-2 7 0,3 2 1 0,-2-1-2 15,0 1 0-15,1-1-5 0,-2 1 26 0,4-2-14 16,-4 1 1-16,3 1-21 0,-3-1 18 0,0-1-18 16,3 2 15-16,-1 0-22 0,-1 1 22 15,1 0-22-15,-1 0 21 0,1 0-23 0,-1 0 24 0,1 1-24 16,-1 0 23-16,-2 0-21 0,0 1 20 0,1-1-22 16,-3 0 17-16,-1 1-14 0,1-1 17 0,-1 0-20 15,0 1 19-15,-8-1-21 0,8 1 19 0,1-1-19 16,-2-1 23-16,2 0-21 0,-4 1 18 0,-1-1-20 15,-4 0 19-15,9 1-17 0,-7 0 20 0,-1-1-16 0,2 0 13 16,-2 0-13-16,2 1 17 0,-2-1-25 16,1 0 20-16,-2 0-13 0,1 0 15 0,1 0-17 15,7-1 19-15,-1 0-5 0,2 0 31 0,3 1-34 0,0-1 10 16,3 0-9-16,-2-1-1 0,4 1-10 0,0 1 16 16,2-2-13-16,-1 2 15 0,0 0-15 15,2 0 16-15,-1 0-14 0,1 2 12 0,1-2-13 16,2 1 10-16,-2-1-11 0,3 2 15 0,-2-2-11 0,0 1 3 15,-1 0-8-15,1 0 14 0,-1-1-13 0,0 1 11 16,-1 0-13-16,3 1 17 0,-2-1-10 16,0 0 5-16,1 0-11 0,0 0 14 0,0-1-12 0,12 1 7 15,-13 1-3-15,1-1 7 0,-2-1-15 0,-1 1 8 16,0-1-6-16,-2 2 10 0,-2-2-8 0,1 0 10 16,-2 0-15-16,0 0-11 0,-2 0 18 0,1 0 5 15,-1 0-8-15,-1 0 8 0,2 0-10 16,-2-2 12-16,-1 2-9 0,0-1 11 0,1 0-13 0,-1-1 15 15,-2 1-16-15,1 0 12 0,0 0-13 0,0 0-1 16,-2-2 7-16,1 2 24 0,2-1-28 0,-3 1 10 16,1 0-6-16,1-2 3 0,-1 1-6 0,0 0 8 15,2 1-10-15,-3-1 8 0,1 1-5 0,1-2 8 16,-2 2-10-16,1-1-7 0,0 1 8 0,-2-2 12 0,0 1-10 16,0 1 10-16,2-1-8 0,0 0 6 15,-2-1-12-15,2 2 11 0,-2-1-10 0,2 1 13 16,0-2-14-16,-1 0 11 0,1 2-12 0,-2-2 17 15,0 0-13-15,0 1 6 0,-2 0-6 0,0-1 1 0,-6 1 6 16,5-2 3-16,0-1-4 0,-4 3-8 16,3-3 11-16,2 3-9 0,-1-3 7 0,2 1-8 0,-5 0 7 15,-2 0-6-15,5-1 7 0,-2 0-8 0,-4 1-1 16,-1 0 3-16,-1 1 4 0,0-4-4 16,3 3-1-16,-5-1 2 0,2 1-4 0,5-3 10 0,-5 2-3 15,-2 1 4-15,0-2-5 0,1 1-6 16,-3 0 7-16,4 0-1 0,-3-1-4 0,1 1 1 0,-2 0 8 15,1-1-29-15,-1 0 34 0,1 2-9 0,-2-1 1 16,3-1 0-16,-2 1 4 0,-1 0-6 0,1 0-1 16,-2-1-4-16,1 2 9 0,-1-1-7 0,0 1 7 15,-4-1-10-15,1 1 6 0,-2 0-4 0,1 0 2 16,2-2-7-16,-2 3 14 0,-1-2-7 0,2 1 0 16,-1 1 1-16,0-2-2 0,0 2-3 0,2-1 10 15,-2 0-12-15,1 2 8 0,-1-3-2 0,2 3 4 16,-1-2-4-16,7 1 9 0,-3 0-9 0,3 0 4 15,-1 0-6-15,0 1 5 0,2-1-3 0,0 1 0 16,-1 0 1-16,1-1 6 0,-1 2-5 0,4-2 5 0,-2 0-5 16,-1 2 5-16,4-2 4 0,0 2 0 15,-2-1 1-15,4 1-1 0,5-1-7 0,3 1 0 0,-2 0-1 16,2-1-11-16,1 0 16 0,-2 1-4 16,4 0 4-16,-1-2-5 0,1 2-1 0,3 0-1 15,-3 0 7-15,3 1-5 0,-1-2 3 0,0 0-1 16,-1 1-2-16,0 1-4 0,4-1 3 0,-2-1-3 15,-2 0 4-15,3 1-2 0,-2 0 3 0,0-2-7 0,0 2 8 16,1-1-6-16,-2 1 6 0,-2-2-5 0,2 1 4 16,-2 0-6-16,-3 0 10 0,1-1-13 0,-3 0 4 15,1 0-4-15,-2 0 8 0,-6 1-8 0,-1-2 8 16,-1 2-4-16,1-2 0 0,-2 2-3 0,-3-2 1 16,-1 0 0-16,2 2 11 0,-7-1-12 0,-2-1 12 15,-1 1-16-15,-1 0 12 0,0-1-6 0,-5 2 38 16,-2-2-5-16,0 1 2 0,-1-1-27 0,-2 2 34 15,-2-1 6-15,-1 0 14 0,-1 0-27 0,-2 0 8 16,1 0-25-16,-3 0 16 0,0 0-23 0,-7 3 12 16,10-6-25-16,-10 6-14 0,8-6-49 0,-8 6-66 15,2-6-71-15,-2 6-77 0,0 0-149 0,-4-6-259 16,4 6-198-16</inkml:trace>
  <inkml:trace contextRef="#ctx0" brushRef="#br0" timeOffset="8435.57">24606 6554 255 0,'3'-6'433'0,"-3"6"-47"0,4-11-70 15,-4 11-55-15,3-10-68 0,-3 10-36 0,9-5-38 16,-9 5-1-16,0 0-26 0,16 2 3 0,-10 1-5 16,2 4-21-16,-1 1-8 0,1 0-13 0,1 3-5 15,0 1-7-15,-3 0 9 0,1 1-9 0,-1 0 6 16,-2 2-18-16,2-1 3 0,-2-1-1 0,-1-1-4 15,-1 1 0-15,-2-2 1 0,0 2-2 0,-1-2-3 16,-3 0 3-16,2-1 11 0,-3-2 31 0,1 0 18 16,-1-1 9-16,-2-1 2 0,3-3-16 0,4-3-13 0,-15 4-12 15,15-4-2-15,-14-3 60 0,6 0-20 16,1-2-21-16,2 0-12 0,-1-2 4 0,4-1-17 16,-1-1-10-16,3 0-9 0,0-1-2 0,3-2-13 15,2-1 5-15,0 1-7 0,5-1 1 0,-1-1-8 16,0 2 3-16,5-2-20 0,-2 1-31 0,1 1-20 0,1 0-27 15,0 1-30-15,0 1-5 0,-3 1-44 16,3 0-56-16,-1 2-33 0,-1 1-55 0,-1 1-52 0,-1 0-65 16,-1 1-183-16,0 0-131 0</inkml:trace>
  <inkml:trace contextRef="#ctx0" brushRef="#br0" timeOffset="8958.62">24969 6575 165 0,'1'13'385'0,"1"-2"-97"0,-2 0-68 0,0 1-17 16,0 2-48-16,0-1 41 0,-2 1-28 0,2 1-32 16,0-1-24-16,-2 0-22 0,0 2 41 0,1 0-25 15,1-2-10-15,-2-1-24 0,-1-1-20 0,3 1-5 16,-2-1-7-16,0-1-6 0,1 0-6 0,0-1 2 16,0-2-1-16,-1-2 46 0,2 1 18 0,-2-1 58 15,2-6 8-15,-3 9-26 0,3-9-30 0,0 0-12 16,-9 3-24-16,9-3-6 0,-4-5-11 0,-2 1-9 0,5-4-7 15,-2 1-10-15,1-3-2 0,0 0-15 16,2-1 31-16,0-1-13 0,3-4-2 0,-1 1-15 16,5-1 5-16,-1 0-8 0,2 1 5 0,2-3-10 15,3 2 7-15,0 0-14 0,3 1 6 0,0 1-5 16,1 1 6-16,1 2-7 0,0 2 8 0,1 0-10 0,-3 2 8 16,-1 2-13-16,-1 1 13 0,-2 2-10 15,-1 1 11-15,-11 1-8 0,18 1 11 0,-18-1-11 0,13 6 11 16,-9-2-7-16,-4-4 10 0,4 11-9 0,-4-4 9 15,-2 0-6-15,0 0 4 0,-1 1-4 0,-1 0 5 16,-1 2-7-16,1-2 8 0,1 2-8 0,0 0 6 16,-1-1 0-16,3 1 2 0,0 1-2 0,1-2 1 15,0 2-1-15,2 1 0 0,1-1 0 0,1 1-5 16,1 0 5-16,2 1-8 0,-2-1 6 0,2 0-5 16,-2-1 4-16,-1-1-3 0,0-1 6 15,1-1-7-15,-3 1 7 0,1-3-5 0,-1 1 11 0,-2-7-3 16,-2 11 16-16,2-11-4 0,-8 8 1 0,8-8-6 15,-16 5 6-15,6-2-7 0,-1-2 0 0,1-1-5 16,10 0 3-16,-24 0-5 0,12-1 3 0,-2-1-6 16,4 1-22-16,-2 0-82 0,0 1-78 15,1-1-67-15,11 1-64 0,-19 0-130 0,19 0-468 0,-15-2-473 16</inkml:trace>
  <inkml:trace contextRef="#ctx0" brushRef="#br0" timeOffset="18286.89">21203 14013 154 0,'0'0'195'0,"0"0"-25"0,-5-5-20 15,5 5-35-15,0 0-23 0,-8-5-4 0,8 5 8 16,0 0-5-16,-6-7-7 0,6 7-6 0,0 0 7 16,-7-3-33-16,7 3 27 0,0 0-42 0,-6-6 46 15,6 6-15-15,0 0 26 0,-6-7-27 16,6 7 19-16,0 0-26 0,-7-5 20 0,7 5-31 0,0 0 13 15,0 0-34-15,-4-4 11 0,4 4-25 0,0 0 17 16,0 0-26-16,0 0 19 0,0 0-24 0,-5-5 17 16,5 5-20-16,0 0 16 0,12-2-15 0,-12 2 23 15,20-2-17-15,-6 1 26 0,0 1-14 0,6-2 8 16,1 2-19-16,1-1 15 0,1 1-16 0,4-1 16 16,0 1-15-16,-2 0 13 0,3 1-13 0,-5-1 10 15,-1 1-9-15,2-1 9 0,-2 2-25 0,0-1-27 16,-3 1-77-16,1-1-17 0,-3 2-49 0,2-2-65 15,0 1-81-15,-2-1-160 0,-2 0 27 0</inkml:trace>
  <inkml:trace contextRef="#ctx0" brushRef="#br0" timeOffset="18623.47">22049 14051 459 0,'4'6'364'0,"-4"-6"-27"0,4 5-83 0,-4-5-20 0,0 0-62 16,5 5-23-16,-5-5-50 0,0 0-5 0,19 0-33 16,-19 0 4-16,21 0-30 0,-6-1 13 0,4 0-10 15,-1 1 9-15,5-1-14 0,0-1 16 0,2 1-2 16,3-1-8-16,-3 0-16 0,3 1 8 0,-1 0-8 15,-2 0 11-15,2-1 18 0,-5 1-10 0,-2 0 12 16,-1 0-2-16,-2 1 18 0,-2-1-12 0,-2 0 20 16,0 1-23-16,-13 0 12 0,19-1-31 0,-19 1 11 0,19-2-24 15,-19 2 15-15,12-1-23 0,-12 1 11 16,12-1-19-16,-12 1 11 0,0 0-70 0,0 0-30 16,11-2-46-16,-11 2-92 0,0 0-21 0,0 0-39 15,-9 3-84-15,9-3-301 0,-12 3-175 0</inkml:trace>
  <inkml:trace contextRef="#ctx0" brushRef="#br0" timeOffset="19685.77">19039 16418 238 0,'0'0'360'0,"-7"3"-31"0,7-3-61 0,0 0-9 15,-11 5-70-15,11-5 24 0,0 0-34 0,-7 3-24 0,7-3-8 16,0 0-34-16,0 0-27 0,0 0-15 0,0 0-19 16,0 0-12-16,11-2-4 0,-2-1-1 0,0 1-12 15,5 0-4-15,0 0-1 0,5-3-5 0,-2 3 1 16,2 0-1-16,7-1-9 0,-1 1 5 0,3 1-10 15,-2 0-32-15,2 1-20 0,0 1-37 0,3 0-35 16,-2 1-47-16,6 1-44 0,-2 0-45 0,3 1-73 16,-6 0-167-16,-3-2 5 0</inkml:trace>
  <inkml:trace contextRef="#ctx0" brushRef="#br0" timeOffset="19950.77">20147 16420 128 0,'0'0'498'16,"0"0"-50"-16,0 0-70 0,0 0-75 0,0 0-61 0,-7-4-46 15,7 4-42-15,0 0-43 0,2-6-13 0,-2 6-22 16,12-5-14-16,-2 2-14 0,0 1-9 0,3-1-3 15,2-1-28-15,4 1 13 0,1 0 3 0,1 1-9 16,2 0-29-16,2-1-31 0,0 0-42 0,2 2-61 16,-3 0-37-16,2 3-77 0,-3 0-94 0,-1-2-201 15,1-2-73-15</inkml:trace>
  <inkml:trace contextRef="#ctx0" brushRef="#br0" timeOffset="26126.78">7073 5559 94 0,'0'0'166'16,"0"0"-35"-16,0 0-36 0,0 0-2 0,0 0 8 16,0 0-3-16,-7-4 0 0,7 4-3 0,0 0-1 15,0 0-4-15,0 0-22 0,-8-2-1 0,8 2-17 16,0 0-5-16,-5-4-12 0,5 4 1 0,0 0-13 15,0 0 2-15,-9-4-14 0,9 4 5 0,0 0-7 16,-13-1 3-16,13 1-6 0,-14 0 5 0,14 0-15 16,-19 3 14-16,10-2-9 0,-3 0 7 0,0 0-8 15,0 1 2-15,1-2-3 0,-1 1 8 0,12-1-4 16,-19 0 6-16,19 0-13 0,-18 1 9 0,7 0-9 16,11-1 8-16,-17 2-22 0,17-2 25 0,-18 3-5 15,18-3 5-15,-14 3-6 0,14-3 5 0,-15 4-5 16,15-4 3-16,-12 4 5 0,12-4 33 0,-13 7-18 0,7-3 1 15,0 2-18-15,-1-2 13 0,3 2-17 0,-1 2 31 16,1-1 2-16,-1 1 6 0,3 0-22 0,-2 2 7 16,3 0-15-16,-2 2 10 0,2-2-22 0,0 3 18 15,-2 0-13-15,3 0 6 0,0 0-1 0,-1 2 4 16,1-2-7-16,1 1 2 0,-1 3-3 0,1-2 16 16,2 2 27-16,-2-1-8 0,2 0-9 0,-2 1-4 15,2-2-22-15,-1 0 20 0,-1 2-28 0,2 0 28 16,1 0-25-16,-2-1 22 0,1 1-9 15,-1-1 42-15,2 1-26 0,-3-2 14 0,2 2-5 0,1-1-13 16,-1 0-3-16,-1-1-2 0,3 0-6 16,-2-1-1-16,-1 0-3 0,2 0-1 0,-1-3-1 0,-1 0-2 15,2 0 1-15,-1 0-11 0,-1-1 10 0,1-1 0 0,-2 0-4 16,4 0 0-16,-4-1 2 16,2 0 3-16,-2-2-9 0,-1-6 6 0,4 13 2 0,-4-13-5 15,3 12 2-15,-2-6 3 0,0 0-3 0,-1-6-1 16,3 11 7-16,-3-11-7 0,2 10 2 0,-2-10 3 15,3 9 2-15,-3-9 2 0,1 6-8 0,-1-6 9 16,3 7 0-16,-3-7-6 0,1 6 5 0,-1-6-1 16,0 0 1-16,6 7 17 0,-6-7 12 0,0 0-6 15,9 7-6-15,-9-7 4 0,8 4 7 0,-8-4-13 16,15 3-5-16,-15-3 5 0,16 1-6 0,-16-1-5 0,20 1 2 16,-8 0-8-16,0-1-4 0,1 0 4 15,0 1-1-15,2-1-2 0,-3 0 3 0,3-1 3 0,-2 1-5 16,-1 0-7-16,0 0 6 0,0 0-1 0,-12 0 13 15,19 0 23-15,-19 0 0 0,15 0 15 0,-15 0-3 16,14-1 12-16,-14 1 3 0,0 0 8 0,14 0 2 16,-14 0-2-16,0 0 5 0,13-1-7 0,-13 1-8 15,0 0-7-15,0 0-9 0,13-1-8 0,-13 1-11 16,0 0-4-16,0 0-6 0,0 0-8 0,11-2-28 16,-11 2-88-16,0 0-68 0,0 0-28 0,0 0-79 15,0 0-144-15,0 7-446 0,0-7-422 0</inkml:trace>
  <inkml:trace contextRef="#ctx0" brushRef="#br0" timeOffset="27887.33">6920 5607 124 0,'-4'-7'199'0,"-1"2"-51"0,1-1-33 0,-1 1-18 0,0 0-28 15,-3 0-17-15,-2 2-9 0,1 0-8 0,0 0-7 16,-5 1-7-16,3 1-2 0,-1 1-5 16,-3 0-3-16,2 1-2 0,-1 1-4 0,0 1 1 15,-1 0-3-15,-1 0 3 0,2 2-2 0,-1 2-7 0,1 0 8 16,0 2 4-16,-3 0-5 0,2 4-5 0,-2-2 1 15,3 3 1-15,0 0 1 0,1 2-3 0,2-2 4 16,-2 3 0-16,1 0-2 0,1 3 23 0,1-2-3 16,-1 2 1-16,1 1-5 0,3 2-2 0,-2-2 1 15,1 4 6-15,-2 3 34 0,2 0-7 0,3 1-9 16,0-5-13-16,2 1-2 0,-1 2-5 0,2 0 29 16,1 2-9-16,1-2 0 0,0 2-15 0,1-2 9 15,3 6 3-15,-2-2 7 0,1 2-14 0,-1-2 36 16,2 0-16-16,0 1 6 0,0-3-12 0,1 3-2 15,0-2-11-15,0-1-2 0,-1-2-2 16,0-2-4-16,0 1 3 0,0 0-11 0,-2-2 26 0,2 1-9 16,1-1 27-16,-1 0-29 0,-2 0 15 0,1-1-22 15,1-3 49-15,0 2-22 0,-2-1 0 0,1-1-16 16,-1-2-3-16,1-1-13 0,1-1 4 0,-2 1-14 16,1-1 9-16,-2-2-1 0,3 0-8 0,-3-1 1 15,2-2 1-15,-2 0-3 0,3 0-1 0,-3-1-2 16,2 0-2-16,-2-2-9 0,2 0 12 0,-1-2-15 0,1 1 20 15,-1 0-2-15,1-3 33 0,1 2 4 0,-4-6-7 16,11 9 8-16,-2-7-14 0,-1 0 1 0,2 1-14 16,0-2 10-16,3-1-20 0,0 0 6 15,2 0-11-15,-2-1 16 0,6-2-30 0,-2 1 26 0,1 1-13 16,-1-2 12-16,0 0-21 0,0 0 23 0,-3 0-15 16,1-1 4-16,-2 3-40 0,-3-1-18 0,3-2-28 15,-4 1-73-15,0 1-41 0,-9 2-82 0,15-6-448 16,-15 6-229-16</inkml:trace>
  <inkml:trace contextRef="#ctx0" brushRef="#br0" timeOffset="28564.11">6667 5707 80 0,'-6'-7'188'0,"6"7"-26"0,-7-7-39 0,7 7-17 0,-12-4-33 16,12 4-10-16,-15-1-15 0,15 1-10 0,-16 1-8 15,4 1-4-15,3 0-8 0,-2 3-4 0,-2-1-4 16,1 1 0-16,0 2-6 0,0 1 2 0,1 0-3 16,-2 3 1-16,0 4 2 0,-1-1-1 0,4 2-5 15,-2 2 5-15,-2 7 2 0,3-1 0 0,-3 4 7 16,2-1 7-16,2 9-1 0,-3 1 11 0,4 3-3 16,0 0-9-16,0 4 1 0,3 1-6 0,0 1 6 15,2 1 10-15,0 0 2 0,1 2-5 0,1-1-2 0,-2 0 12 16,3 2 8-16,-1 0-2 0,1-1 2 0,1 2-10 15,0 0 24-15,-2 2-16 0,2-2 1 16,-2 3-9-16,1-2 28 0,1 1-12 0,-1 0-9 0,-2-2-6 16,2 2 11-16,1-3-6 0,-1 1-26 15,-1 0 60-15,2-2-24 0,0 1 8 0,2-1-36 0,-1-1 19 16,0 0-30-16,3-4 22 0,-1 2-24 0,0-4 12 16,1-1 5-16,1-5 0 0,0-2 13 0,2-2-23 15,-2-2 12-15,3-1-14 0,-1-7 6 0,2 0-14 16,-1-3 17-16,3-1-17 0,0-2 16 0,0-2-12 15,0-4 9-15,2 0-6 0,3-6 5 0,-1 0-47 16,-1-1-21-16,1-3-88 0,2-4-35 0,0 0-74 16,0-5-108-16,-1-2-166 0,2-4-20 0</inkml:trace>
  <inkml:trace contextRef="#ctx0" brushRef="#br0" timeOffset="29165.62">7106 6234 128 0,'0'0'161'0,"-6"-8"-32"15,6 8-26-15,-13-4-16 0,13 4-3 0,-20 3-15 16,10-1-2-16,-6 3-8 0,0 1-11 0,-2 2-4 16,-1 3 4-16,-2 0-6 0,3 2 1 0,-3 4 15 15,0-1-12-15,2 3-11 0,0 1-4 0,0 2 7 16,2 2-8-16,-1 4 2 0,0 3-15 0,3 0 7 16,1 2-2-16,0 1-2 0,1 2-6 0,5 1-23 15,-2 3 30-15,1 1-2 0,4 2-3 0,0 1 4 16,1 3 8-16,0-1-6 0,3 2 0 0,0 0 7 15,-2 1 21-15,3 0-12 0,0-2-5 0,-1 3-33 0,1-4 33 16,0 2-7-16,1-2 44 0,0 1-36 0,1-3 19 16,0-1-18-16,2 2 27 0,-1-8-21 0,-1-1 31 15,1-1-32-15,1-2 8 0,-2-2-26 0,5 0 18 16,-4-6-31-16,4-1 25 0,-1-2-31 0,-1-2 24 16,3-1-21-16,0-2 20 0,-1-4-18 0,2-1 18 15,3-2-20-15,0-1 18 0,1-4-10 0,3 0 1 16,-1-4-17-16,1-1-9 0,3-1-71 0,0-3-12 15,1-2-64-15,1-3-51 0,-1-1-94 0,2-5-224 16,-3-3-28-16</inkml:trace>
  <inkml:trace contextRef="#ctx0" brushRef="#br0" timeOffset="29530.61">7165 6332 113 0,'-16'10'148'0,"-2"4"-4"0,-3 2-19 16,1 5 2-16,-3 4-26 0,2 2-7 0,1 1-1 16,2 3-4-16,1 0 2 0,6-4-18 0,0 1 8 15,2 2-45-15,2-1 25 0,3 1-7 0,3-4-11 16,1 1-9-16,2 4-4 0,4-1-1 0,0-1-2 16,4 1-6-16,3-3 1 0,-1 0-4 0,3-1-1 15,-1 1 2-15,4-5 1 0,-1 2 2 0,2-1-4 16,-1-3-21-16,1 0-81 0,0-4-52 0,0 0-46 15,-1-3-244-15,-1-1 108 0</inkml:trace>
  <inkml:trace contextRef="#ctx0" brushRef="#br0" timeOffset="50702.2">7605 3379 197 0,'0'0'251'0,"-5"-5"-57"16,5 5-45-16,0 0 8 0,-7-6-36 0,7 6 18 16,-6-4 0-16,6 4 36 0,-5-4-36 0,5 4-6 0,-4-5-46 15,4 5 9-15,-2-6-44 0,2 6 11 16,0 0-39-16,-4-7 21 0,4 7-48 0,0 0 28 16,-4-5-29-16,4 5 19 0,0 0-31 0,0 0 23 0,0 0-22 15,0 0 19-15,0 0-17 0,0 0 24 16,0 0-37-16,0 0 38 0,0 0-24 0,0 0 27 0,9 4-33 15,-9-4 31-15,4 5-24 0,-4-5 24 16,2 10-20-16,-2-10 22 0,3 11-27 0,-3-11 22 0,1 13-19 16,-1-13 26-16,1 15-28 0,-1-15 28 0,2 12-27 15,-2-4 27-15,-2-1-26 0,1 1 23 0,1-1 2 16,-1-1-3-16,1 2-5 0,0-8-1 16,-1 9 2-16,1-9 3 0,-3 10-1 0,3-10 14 0,0 8 10 15,0-8 7-15,-1 7 9 0,1-7 7 0,0 0 1 16,0 8-1-16,0-8-2 0,0 0-11 0,0 0-11 15,0 0-7-15,0 0-10 0,6-2 0 0,-6 2-23 16,10-8 18-16,-2 3-9 0,0 2 2 0,2-1-2 16,-1 0-4-16,1 2 1 0,5 0-9 0,-3 2 0 15,2 1 8-15,4 4 5 0,0-1-3 0,-3 1 4 0,4 4 0 16,-2-1-4-16,-2 3 23 0,1 0-3 16,-4 0-6-16,-2 0-4 0,-1 0-2 0,-1 3 7 15,-3-3 7-15,-1 1-5 0,-4 1 12 0,-1-3-2 16,-4 4 13-16,-3-1-25 0,-1-1 19 0,-4 1-20 0,-2 0 11 15,-2-1-16-15,-2-1 13 0,0-2-71 0,-2-1 13 16,0-2-21-16,-1-2-23 0,3-1-23 0,-2-1-62 16,1-5-31-16,1 0-46 0,-3-3-58 0,2-3-312 15,2-3-122-15</inkml:trace>
  <inkml:trace contextRef="#ctx0" brushRef="#br0" timeOffset="50880.96">7498 3332 285 0,'3'-6'359'0,"1"0"-89"0,-1 1 3 0,-3 5-62 0,6-10-7 16,-6 10-71-16,5-10 8 0,-1 4-13 0,4-1 4 15,-2 2-21-15,1-1-21 0,-1 0-23 0,3 0-14 16,1 1-9-16,-1-1-1 0,0 2-31 0,2-1-49 16,0 2-70-16,-2-1-59 0,1 3-81 0,-1-1-79 15,-9 2-197-15,13-1-26 0</inkml:trace>
  <inkml:trace contextRef="#ctx0" brushRef="#br0" timeOffset="60080.62">9634 6231 122 0,'0'0'133'0,"0"0"-29"0,-7-4-9 16,7 4-16-16,0 0-5 0,-10-2-27 0,10 2-9 15,0 0-6-15,-9-5-8 0,9 5-18 0,0 0 13 16,-10-2-3-16,10 2-5 0,0 0 2 0,0 0-21 15,-11-2 15-15,11 2 3 0,0 0-6 0,0 0-1 16,0 0 6-16,-11 1-7 0,11-1-2 0,0 0-3 16,0 0 5-16,-9 2-10 0,9-2 10 0,0 0-2 15,-9 3 2-15,9-3-1 0,-7 4-13 0,7-4 14 16,-5 3 1-16,5-3 0 0,-8 5-2 0,8-5-5 16,-7 3 10-16,7-3 0 0,-9 2 7 0,9-2-8 15,-6 5 9-15,6-5-9 0,-8 2-1 0,8-2-3 0,-10 4-1 16,10-4 13-16,-8 6-11 0,8-6-4 0,-9 4-1 15,9-4 4-15,-9 6-10 0,9-6 11 0,-9 5 4 16,9-5-6-16,-8 7 0 0,8-7-13 0,-6 6 14 16,6-6 5-16,-8 8-3 0,8-8-1 0,-6 10-14 15,6-10 15-15,-6 8 1 0,2-1-1 0,1-2 0 16,1 1-12-16,-1 1 13 0,0-1-1 0,2 3-1 16,-4-1 1-16,4 1-8 0,-3 0 8 0,4 1-1 15,-2-1 2-15,-1 0-2 0,2 1 2 0,-2-1-3 16,3-1 15-16,-1 1 1 0,0 0-4 0,-1 0-4 15,1 0 11-15,1 0-4 0,0 0-1 0,0 0-1 16,0 0-12-16,0 1-19 0,0-1 32 0,1 3 34 16,1-2-12-16,-2 0-33 0,1 0 30 0,0 0-35 15,2 0 28-15,-2-1-33 0,0 1 37 0,2 0-38 16,-2-1 61-16,2 1-34 0,-2-2 23 0,3 2-36 0,-2-2 27 16,-2 1-24-16,3 0 16 0,-2-1-31 15,0 1 30-15,1-3-31 0,0 2 2 0,-2 0 0 16,3-1 1-16,-2 1 1 0,-1-8 2 0,3 12-1 15,-2-5 5-15,-1-7-4 0,3 12 0 0,-2-6-1 16,-1-6 0-16,4 11 0 0,-4-11 0 0,5 11 2 0,-5-11-3 16,3 10-1-16,-3-10 3 0,6 10-3 15,-6-10 1-15,5 8 0 0,-3-4 28 0,-2-4-33 0,7 8 28 16,-7-8-36-16,6 8 33 0,-1-3-30 0,-5-5 31 16,8 8-25-16,-8-8 22 0,8 9-34 15,-3-4 32-15,1-1-30 0,-1 1 31 0,0 0-33 16,2 1 33-16,-1-2-31 0,0 0 32 0,1 2-32 0,-1-2 32 15,1 1-29-15,-7-5 30 0,12 8-30 0,-5-3 30 16,-1-1-31-16,1-1 31 0,-1 1-34 0,3 0 36 16,-1 0-20-16,-2-1 64 0,3-1-39 0,0 0 27 15,0 1-40-15,0-1 29 0,0 0-40 0,-9-2 29 16,14 4-30-16,-14-4 31 0,18 2-32 0,-18-2 27 16,15 0-36-16,-15 0 33 0,19 0-33 0,-19 0 30 15,18-3-34-15,-7 1 37 0,0 1-36 0,-1-1 30 16,0 1-26-16,0-2 30 0,1 1-35 0,0 0 35 15,-2-1-29-15,3-1 24 0,-1 2-28 0,-2-1 29 16,1-1-32-16,2 1 29 0,-2 0-26 0,-1-1 31 16,1 1-29-16,-1-1 30 0,1 1-30 0,-1-2 6 15,0 2-1-15,2-3 5 0,-3 2 14 0,1-1-4 16,2 0 6-16,-1-1 3 0,-1 0 4 0,-2 1 8 0,1-1 0 16,2 0 0-16,-1 2-7 0,-1-4-1 0,0 4 13 15,-1-2-5-15,2-1-7 0,-1 1-1 16,1 1-2-16,-3-2-7 0,2 0-3 0,0 1 20 15,-2 0-31-15,0-1 26 0,2 1-22 0,-3-1 17 0,3 1-21 16,-3 0 21-16,1-3-22 0,1 4 26 0,-4-2 13 16,3 0 41-16,-2 0-14 0,-1 1 2 15,1-1-27-15,1 0 1 0,-2-2-18 0,1 2 6 0,-2 0-12 16,1-3-7-16,-1 2-5 0,2-1 9 0,-1 1-12 16,-2-2 13-16,3 2-16 0,-2-2 12 0,-1 2-13 15,1 0 11-15,-1-1-16 0,2 2 19 0,-2-1-18 16,0 0 15-16,-1 0-12 0,2-1 1 0,-1 1 1 15,-1 1 7-15,0-2-16 0,1 1 17 0,-1 1-12 16,0-1 15-16,0-1-15 0,-1 2 11 0,1-1-9 16,-1 0 6-16,-1-1-10 0,1 0 29 0,0 1 3 15,-2 1-14-15,3-3 4 0,-1 2 0 0,-2-1-5 16,2 1 0-16,-3 0-6 0,3-1 1 0,-2 2-1 16,2 0 4-16,0-1-4 0,-2 2 0 0,2 1-4 15,-2-2 7-15,3 7 6 0,-3-11-16 0,3 11 6 16,-3-10-2-16,3 10-2 0,-4-10 2 0,4 10-2 15,-2-7 0-15,2 7 2 0,-3-7 2 0,3 7-2 16,-5-6 1-16,5 6 0 0,0 0-1 0,-2-7 8 0,2 7-12 16,0 0-8-16,-4-7 12 0,4 7 3 15,0 0-1-15,-4-6-6 0,4 6 0 0,0 0 3 16,0 0 5-16,-3-7-5 0,3 7 5 0,0 0-7 0,-5-3 7 16,5 3-2-16,0 0-7 0,-4-6 4 0,4 6 8 15,0 0-14-15,-6-5 11 0,6 5-6 0,0 0 2 16,-4-5-3-16,4 5 4 0,0 0-1 0,-5-7 2 15,5 7 0-15,0 0-1 0,-5-7-8 0,5 7 4 16,0 0 5-16,-4-6 1 0,4 6-5 0,0 0 7 16,-4-8-4-16,4 8-2 0,0 0 2 0,-4-7 2 15,4 7-6-15,-5-4 6 0,5 4-3 0,-2-6 5 16,2 6-9-16,-3-7 0 0,3 7 0 0,0 0 7 16,-4-7-7-16,4 7 2 0,-2-5 3 0,2 5-2 15,0 0 1-15,-3-8 2 0,3 8-4 0,0 0 2 16,-2-7 1-16,2 7 1 0,0 0 1 0,-3-7-4 15,3 7 0-15,0 0 0 0,-4-7 2 0,4 7 0 16,0 0 1-16,-4-6 1 0,4 6-3 0,-6-5-1 16,6 5 0-16,0 0 0 0,-4-7 1 0,4 7 3 0,-5-4-8 15,5 4 7-15,-4-5-5 0,4 5-2 16,-6-5 4-16,6 5 0 0,-7-3 0 0,7 3 0 16,-6-4-2-16,6 4 3 0,-8-3-12 0,8 3 12 15,-7-4 2-15,7 4 1 0,-9-2-7 0,9 2 1 16,-12-1 1-16,12 1-4 0,-10-2 4 0,10 2-3 0,-14-1 6 15,14 1-2-15,-13 0-1 0,13 0 1 16,-13 0 5-16,13 0-6 0,-15 1-1 0,15-1 7 0,-15 2-8 16,15-2 5-16,-18 1-5 0,18-1 6 0,-18 1 5 15,18-1-4-15,-17 1-4 0,17-1 2 0,-17 4-9 16,17-4 11-16,-17 1-10 0,17-1 9 16,-17 2-9-16,17-2 10 0,-15 3-10 0,15-3 11 0,-14 1-7 15,14-1 6-15,-13 2-8 0,13-2 9 0,-13 1 1 16,13-1-4-16,-10 3-9 0,10-3 11 15,-10 2-10-15,10-2 8 0,-12 2-4 0,12-2 5 0,-9 3-6 16,9-3 7-16,-9 2-6 0,9-2 7 0,-9 3-12 16,9-3 14-16,-11 3-5 0,11-3 0 0,-9 4 6 15,9-4-8-15,-13 5-8 0,13-5 13 0,-11 5-13 16,11-5 12-16,-12 4-10 0,12-4 9 0,-12 7-7 16,12-7 6-16,-11 4-4 0,11-4 6 0,-11 5-2 15,11-5-1-15,-12 5-4 0,12-5 6 0,-9 4-11 16,9-4 11-16,-9 4-9 0,9-4 12 0,-10 5-14 0,10-5 15 15,-8 2-12-15,8-2 12 0,-6 4-14 16,6-4 12-16,0 0-7 0,-9 5-17 0,9-5 17 16,-7 3 12-16,7-3-14 0,-6 4 10 0,6-4-9 0,-5 6 7 15,5-6-8-15,-5 5 8 0,5-5-15 0,-5 7 18 16,5-7-11-16,-6 6 10 0,6-6-9 16,-4 7 4-16,4-7-6 0,-4 7 12 0,4-7-10 15,-4 8 16-15,4-8-19 0,-4 7 11 0,4-7-9 0,-2 5 9 16,2-5-11-16,0 0 16 0,-4 6-15 0,4-6 10 15,0 0-2-15,-3 6 0 0,3-6-3 0,0 0 10 16,0 0-13-16,0 0 11 0,-6 6-11 0,6-6-23 16,0 0-74-16,0 0-24 0,0 0-74 0,0 0-25 15,0 6-66-15,0-6-248 0,0 0-46 0</inkml:trace>
  <inkml:trace contextRef="#ctx0" brushRef="#br0" timeOffset="71679.64">11861 5761 58 0,'0'0'301'0,"0"0"-66"0,0 0-42 0,-5 5-29 15,5-5-33-15,0 0-26 0,0 0-25 0,0 0-18 16,0 0-10-16,-3 6-12 0,3-6-9 0,0 0-9 15,0 0-6-15,0 0-3 0,0 0-3 0,0 0-2 16,0 0-3-16,0 0-3 0,0 0 0 0,9-2-2 16,-9 2 0-16,0 0 0 0,0 0-2 0,0 0 0 15,0 0 4-15,0 0-6 0,0 0 3 0,9-1 4 0,-9 1-3 16,0 0 3-16,0 0 3 0,0 0-1 16,0 0-5-16,0 0 2 0,0 0-3 0,13-2 4 15,-13 2 1-15,0 0 1 0,0 0-3 0,15 0 3 16,-15 0-2-16,14 0 10 0,-14 0 13 0,18 0 0 0,-5 0 0 15,-2 0-5-15,3 0 9 0,3 0-2 16,1 0-6-16,1 0-3 0,4 0-2 0,-1 0 10 16,2 2 0-16,2-2 3 0,2 0 1 0,0 0-1 0,1 1 7 15,-2-1-6-15,2 0-1 0,1 0 3 0,-1 0 2 16,1-1 2-16,0-1-2 0,-2 2 3 0,2-2 5 16,-2 1 0-16,1-2-8 0,-2 1-3 0,-1 1-7 15,-1-1-2-15,-2-1-1 0,-4 1-7 0,-1-1 5 16,-1 2-5-16,-4 0 1 0,1-2-1 0,-3 2-2 15,-2 0-19-15,-9 1-30 0,17-2-68 0,-17 2-59 16,9-1-92-16,-9 1-34 0,0 0-235 0,0 0-27 16</inkml:trace>
  <inkml:trace contextRef="#ctx0" brushRef="#br0" timeOffset="72527.39">14377 5753 165 0,'-6'4'236'0,"6"-4"-64"15,0 0-32-15,-9 2-30 0,9-2-23 0,0 0-4 16,0 0 2-16,-5 5 9 0,5-5-21 0,0 0-9 16,0 0 1-16,6 3 12 0,-6-3 7 0,13 2-5 15,-13-2 0-15,18 0 8 0,-6 0-10 0,3 0 2 0,4 0-5 16,1-2-11-16,1 2-11 0,2-1-9 0,3 0 0 15,2 0-5-15,1 0-3 0,0-1 0 0,-2 2-9 16,1-1-4-16,0 0-2 0,-1 1-1 16,-3-1-1-16,-3 1-7 0,-1 0 1 0,-3-1 1 0,-2 1-8 15,-2-1 4-15,0 1 26 0,-3 0 16 0,-10 0-2 16,19-2 1-16,-19 2-5 0,15 0 1 16,-15 0-12-16,13-1-5 0,-13 1-3 0,9-1-6 15,-9 1-5-15,0 0-4 0,13-3-3 0,-13 3-27 0,0 0-72 16,0 0-70-16,0 0-79 0,0 0-107 0,0 0-295 15,0 0-150-15</inkml:trace>
  <inkml:trace contextRef="#ctx0" brushRef="#br0" timeOffset="83730.69">16634 5284 13 0,'0'0'48'0,"0"0"-9"0,0 0 22 15,0 0 41-15,-5-4-61 0,5 4-8 0,0 0-7 0,0 0-10 16,0 0 2-16,0 0 8 0,-13 0-2 0,13 0-5 15,0 0 4-15,-11 5-1 0,11-5 36 0,-7 4-35 16,7-4 29-16,-8 2-47 0,8-2 38 16,-8 5-39-16,8-5 34 0,-8 3-25 0,8-3 43 0,-8 3-42 15,8-3 28-15,-6 4-37 0,6-4 32 16,-10 4-27-16,10-4 33 0,-12 6-42 0,12-6 32 0,-9 6-41 16,9-6 38-16,-11 6-47 0,11-6 41 0,-9 7-24 15,4-3 40-15,-2 2-48 0,1-1 36 0,0 1-31 16,-1 1 63-16,1 0-52 0,-1 1 35 0,-3 1-42 15,4 0 29-15,-1 1-5 0,0 1-5 0,-1-1-1 16,0 2-9-16,3-4 16 0,-1 4-5 0,1-1-5 16,-3-2-1-16,4 4-8 0,0-4 4 0,1 2 26 15,0 0-6-15,-1 0-8 0,1-1-3 0,2 1-2 16,-1 0-2-16,-2 0-5 0,4 1-3 0,-1-3 3 16,1 2-10-16,0 0 5 0,-2 0 4 0,4 0-3 15,-2-1 10-15,1 2 33 0,-1-1-34 0,0 0 21 16,4 1-38-16,-4-1 32 0,2 1-33 0,-2-1 63 15,1-1-39-15,2 2 19 0,-3-2-32 0,3 1 24 16,-1-2-34-16,0 2 29 0,-1-2-33 0,0 1 28 16,3-2-31-16,-3 2 29 0,2-1-33 0,-2-1 31 15,4 0-34-15,-2 1 34 0,-2-3-33 0,1 1 30 16,1 0-29-16,0-1 29 0,-1 1-30 0,2 0 32 16,-1-3-25-16,-1 2 10 0,2 0-1 0,0 0 0 0,0 0 2 15,1 2 3-15,-1-3-1 0,2 1 0 16,-1 2-1-16,3-1 10 0,-2 0-2 0,1 2-2 15,0-4-4-15,0 4 8 0,0-2-10 0,2 1 2 0,0 0 0 16,1 0 5-16,-1 1 35 0,2-2-2 0,-4-1-7 16,3 1-7-16,-1-2-5 0,2 1-3 0,-1 0-6 15,0-3-2-15,-1 2-2 0,1 0-5 16,0 0 6-16,1-3-5 0,0 2 1 0,1 0 19 0,-2-1 8 16,3 1-8-16,-2-2-5 0,2 0 3 0,0 0-12 15,-2-1-2-15,3 0-1 0,-1 1-1 0,1-2-6 16,-1 2 3-16,2-1-4 0,-2-1 8 0,2 0-4 15,-2 1-7-15,0-1 0 0,2 0 1 0,-2 0 1 16,1 0-1-16,0 0 2 0,0 0-10 0,-1-1 9 16,2 1-2-16,-3-1 0 0,2 1 0 0,-1-2-1 15,0 1-3-15,0-1 7 0,-1 1-1 0,3-1-2 16,-3 0-4-16,1-1 5 0,3-1-2 0,-3 0 2 16,4 0-2-16,-2 1 5 0,0-2-34 0,1-1 32 15,0 1 1-15,-2 1-3 0,3-2 3 0,-3-1-1 16,1 3 0-16,-1-2 1 0,2 0-4 0,-3 0 3 15,-1 0 1-15,1 0 2 0,-1 0-2 0,-1-1 3 16,1-1 10-16,0 2 5 0,-3-1 2 0,-1 0 7 16,0 1 17-16,0-3-5 0,0 2-4 0,-1-1-20 15,-1-1 18-15,2 0 14 0,-2-1-26 0,-1 0 10 16,2-1-22-16,-3 0 16 0,-1 0-22 0,2 0 20 16,-1 1-17-16,-1-2 12 0,-1-2-21 0,2 3 17 15,-4-2-20-15,3 0 17 0,-2 1-21 0,0 0 14 16,1-1-13-16,-1 1 13 0,-1 0-13 0,0-1 10 0,-1 0-12 15,1 1 14-15,-3-2-17 0,3 1 0 0,-4 1-1 16,4-2 23-16,-4-1-17 0,2 2 14 16,-2-1-5-16,1-1 21 0,-3 1-26 0,2 1 22 15,-1-2-20-15,1 1 15 0,-1-1-17 0,0 1 14 0,-1 1 5 16,-1-3-9-16,1 3-2 0,1-2-4 0,-2 3 1 16,-3-3-1-16,4 2 1 0,-1 1-4 0,1-1-1 15,-3 2 7-15,3 0-1 0,-1-1-4 16,1 2 1-16,1 1 4 0,-3 2-5 0,2-3-1 0,1 3 4 15,-2-2-2-15,1 2-1 0,-2 1-2 0,3-1 10 16,-1 1-7-16,-1 0-1 0,1 0 1 0,-2 0-15 16,0 1 14-16,2 0-15 0,-2 1 20 15,0 0-21-15,0 1 21 0,-1-2-16 0,-1 2 16 16,1 1-11-16,0-1 15 0,-3 1-7 0,2 0 2 0,0 1-4 16,-3-1 1-16,3 1 2 0,-2 1-3 0,1-2-2 15,11 2 6-15,-21-1 1 0,21 1-7 0,-23 0 0 16,23 0 1-16,-19 0-1 0,19 0 0 0,-22 0 3 15,8 1-1-15,4-1 1 0,-4 2-2 0,4-1-4 16,10-1 5-16,-22 2 0 0,11-1-3 0,0 0 3 16,11-1-1-16,-21 3-1 0,10 0-27 0,0-1-31 15,-1 3-6-15,1-1-6 0,-2 2-46 0,2 1-54 16,-2 1-47-16,0 2 8 0,-1 2-90 0,1 1-82 16,-2 3-158-16,1-2-48 0</inkml:trace>
  <inkml:trace contextRef="#ctx0" brushRef="#br0" timeOffset="86490.95">16942 6917 50 0,'0'0'287'16,"-4"-3"-71"-16,4 3-51 0,-8-5-35 0,8 5-12 16,-5-5 2-16,5 5-16 0,-7-5-16 0,7 5 3 15,-4-6 2-15,4 6-13 0,-5-5-8 0,5 5-18 16,-5-5 7-16,5 5 31 0,-4-6-49 0,4 6 29 16,-4-6-28-16,4 6 26 0,0 0-49 0,-9-6 22 15,9 6-37-15,0 0 30 0,-6-6-34 0,6 6 29 16,0 0-23-16,-7-5 10 0,7 5-3 0,0 0-3 15,-15 0 8-15,15 0-18 0,-10 1 6 0,10-1-2 16,-13 2-5-16,4 2 1 0,0-1-1 0,0-1 0 16,1 2-2-16,-2 0 4 0,-1 1 3 0,-2 0-11 15,3 2 4-15,-2 0-2 0,-1 1 1 0,3-1 3 16,-3 1 0-16,1 0-1 0,0 2 4 0,-1 0-2 16,2 0-4-16,1 0 2 0,-2 1 25 0,1 1-32 15,0-1 26-15,-1 1-19 0,0 2 15 0,1-1-30 0,0 3 29 16,1-2-28-16,-1 3 25 0,2-1-22 0,-2 2 17 15,0-2-21-15,2 1 5 0,0 2 0 16,-1-1 4-16,2 2 9 0,1-1 10 0,-1-1 28 16,-1 1 7-16,4-1-11 0,0-1-7 0,0-1-2 0,-1-1 0 15,3 1 31-15,-1 0-46 0,0-2 28 0,0 0-34 16,2 2 55-16,-1-2-46 0,0 1-6 0,2-1 2 16,-1 3 13-16,-1-4 10 0,3 2-6 15,0-4-6-15,0 3 1 0,0 0 24 0,1-2-41 0,1 1 32 16,0 1-40-16,-2-2 32 0,4 1-38 0,0 0 35 15,0 1-36-15,1 0 33 0,-1-3-38 16,2 3 22-16,-1-2-20 0,3 1 36 0,1 0-33 0,-3-2 27 16,3 1-30-16,0 1 30 0,1-2-1 0,-1 1-4 15,0 1-1-15,3-2-3 0,-2 1-1 0,0-1-3 16,1-2-2-16,1 3 1 0,0-2 0 0,-1 1 1 16,3-3 1-16,-1 2-6 0,1-3 3 0,1 2-3 15,-2-2 3-15,1-2-1 0,3 3 1 0,-1-2-31 16,0-2 32-16,0 2-25 0,0-2 35 0,0 0-33 15,1-2 34-15,-1 0-25 0,1 1 26 0,2-2-33 16,-2-1 34-16,2-1-33 0,0 1 29 0,-1-3-28 16,1 1 32-16,-2 0-29 0,2-2 26 0,1-3-3 15,1 1-5-15,-2-1-1 0,2-2-1 0,-2 1 3 0,1-3-7 16,-1 1 1-16,-3-3-26 0,2 0 30 16,-2-1-29-16,1-1 31 0,-2 0-25 0,-1-2 45 0,-1-1-10 15,-1 0 22-15,0 0-29 0,-3-1 3 16,-1-1 34-16,1 0-34 0,-3 0 19 0,-2-2-7 15,-1-2-10-15,-1 1-1 0,0 3-3 0,-2-3-3 0,-2-2-6 16,0 0 1-16,-2 2-2 0,1-2 4 0,-2-1-2 16,0 2 4-16,-4 2-4 0,4 0-1 0,-3-2 1 15,-1 2-1-15,-1 0 5 0,0 0-3 0,0 3-1 16,-2 0 1-16,1 0-5 0,-3 1 5 0,2 1-3 16,-2 0 3-16,-1 0-4 0,1 2 1 0,-3 1 3 15,2 1-4-15,-3 0-5 0,0 1 5 0,0 1-3 16,0-1 0-16,0 3 4 0,-2-2 0 15,1 2-3-15,1 1 1 0,-1 1-1 0,1-1 0 0,0 2 1 16,-1 2-2-16,2 1-4 0,-1-1-16 0,-1 2-15 16,-1 1-22-16,-1 1-7 0,2 0-11 0,-3 2-2 15,2 0-21-15,-1 1 5 0,1 1-12 0,-1-1 2 16,1 1-33-16,1 2-24 0,0-2 2 0,2 0-72 0,-1 2 5 16,3 1-96-16,0-2-156 0,0 0 38 0</inkml:trace>
  <inkml:trace contextRef="#ctx0" brushRef="#br0" timeOffset="90462.83">19382 5228 63 0,'-8'-2'144'0,"8"2"-36"0,0 0-26 16,0 0 24-16,0 0-40 0,-4-6 36 0,4 6-43 0,0 0 42 16,0 0-48-16,-5-4 27 0,5 4-45 0,0 0 28 15,0 0-45-15,-4-6 37 0,4 6-44 0,0 0 37 16,-6-6-44-16,6 6 37 0,0 0-41 0,-5-3 32 16,5 3-34-16,0 0 42 0,0 0-28 0,-8-5 39 15,8 5-34-15,0 0 24 0,0 0-35 0,0 0 35 16,-9-2-26-16,9 2 29 0,0 0-42 0,0 0 31 15,-10-3-40-15,10 3 38 0,0 0-41 0,-10-1 33 16,10 1-35-16,0 0 31 0,-12-1-35 0,12 1 37 16,0 0-32-16,-14 1 29 0,14-1-36 0,0 0 37 15,-15 1-35-15,15-1 35 0,-12 1-35 0,12-1 35 16,-10 3-35-16,10-3 36 0,-13 1-33 0,13-1 33 16,-12 3-36-16,12-3 35 0,-16 3-34 15,7-1 31-15,2 1-32 0,-2-1 4 0,0 2 3 0,-1-1 0 16,-1-1 3-16,2 1 5 0,-2 1-4 0,1 0 0 15,-1 1 1-15,-1-2 3 0,1 2 5 0,-1-1-5 16,0 2 0-16,2-3 0 0,-3 3 1 0,2 0 3 16,0-1-3-16,0 0-2 0,1-1 3 0,-1 1-3 0,-1 0 3 15,1 0 2-15,2 1-5 0,-1-1 4 16,1-2 3-16,-1 2-5 0,0 1-3 0,0 0 1 16,1-2 0-16,-2 1 0 0,2 2 2 0,0-2-2 15,1 0 0-15,0 3 17 0,0-2-19 0,-1 2 29 0,-1 1-32 16,1-1 31-16,0 2-37 0,3-3 35 15,-3 4-37-15,1-2 33 0,2 2-35 0,-1-2 31 0,0 3-30 16,0 1 32-16,2-3-35 0,0 2 39 16,1 2-33-16,-2-1 36 0,2-1-37 0,0 2 37 15,0-1-35-15,2 0 39 0,-1 1-30 0,3-3 38 0,-2 3-30 16,0-1 31-16,1-1-36 0,1 0 32 0,0 1-36 16,0 0 35-16,0-2-37 0,3 1 5 0,-2 0-1 15,0 0 4-15,2 0-1 0,-2-1 5 16,2 1 42-16,1 1-2 0,-2-1-7 0,4-1-9 0,-2 4-3 15,0-4 4-15,1 2-2 0,0-1-3 0,2 1 0 16,0-1-7-16,-2 0-2 0,2 1-2 16,-1-1-27-16,2 0 34 0,1 0-35 0,-3 1 37 15,3-2-31-15,1 1 39 0,-2 0-36 0,1-1 41 16,0 0-14-16,2-2 43 0,0 1-46 0,-1 0 34 0,3-1-9 16,-2 0-8-16,3 0-7 0,-2-2-5 0,-1 0 11 15,5 0 10-15,-3 0-41 0,2-1 38 0,-2-2-50 16,2 1 41-16,0 0-44 0,-1 0 41 0,2-2-40 15,-1 0 37-15,-1 0-44 0,4 0 48 0,-3-1-47 16,-1 1 38-16,0-2-37 0,2 0 48 16,-2 0-30-16,1 0 33 0,-1-1-36 0,-1 0 30 0,2 0-40 15,-1-1 39-15,4-1-41 0,-5 0 40 0,4 2-36 16,-2-4 42-16,3 1-34 0,-2 0 28 0,0-1-38 16,2 1 5-16,-2-3 16 0,2 1 5 0,-1 0 1 15,1-2 10-15,2-1 6 0,-2 3-32 0,1-4 32 16,-1 2-40-16,1 0 32 0,0-2-35 0,-5 2 30 15,4-1-29-15,-2 1 25 0,0-2-1 0,-3 1-3 16,2 1 12-16,-2-2 9 0,0 2-1 0,1-2-7 16,-2 1-4-16,-1 0-3 0,-1-2-13 0,-1 2 18 15,1-2-7-15,-2 1 7 0,0-1 3 0,-2 1-3 16,1-2-3-16,-1 1 7 0,0-1-2 0,-2-1 1 16,0 2-5-16,1-3-5 0,-1 0-4 0,1 0-13 15,-2 1 17-15,-1-1-9 0,1 1 16 0,-1 0-20 16,-2-3 10-16,3 2 1 0,-3 0-19 0,1-1 18 15,-1-1-7-15,0 1 1 0,0-2-3 0,0 2-3 0,-1-1 1 16,1-2 1-16,-1 2-3 0,1-1 2 16,-2 1 1-16,1-1 0 0,0 1 0 0,-2-2-3 15,1 2 2-15,0 5 3 0,-3-5-2 0,4 2-2 16,-3-1 11-16,0 3-7 0,-1-3 0 0,1 3 7 0,-1 1 20 16,1 0-18-16,-2 0 9 0,2 0-19 15,-2 2 10-15,-1-2-6 0,2 2 14 0,-1 0-3 16,0 0-6-16,-1 1-1 0,2-1-2 0,-1 1-6 15,-2 0 1-15,2 0-1 0,-1 1-3 0,-1 0 1 16,3 0 2-16,-2 1-3 0,-1 0 2 0,4 0-1 16,-4 1-2-16,3 0-4 0,-3 1 2 0,1-1 2 15,1 0-1-15,6 4-1 0,-13-6 0 0,13 6-1 0,-13-4 1 16,13 4 0-16,-13-5 3 0,3 3-3 16,10 2 1-16,-13-2-1 0,13 2 2 0,-16-2-4 0,16 2 5 15,-17-2-7-15,17 2 2 0,-20 0 1 0,20 0 7 16,-22 0-6-16,22 0 1 0,-22 2 0 15,8-2-3-15,0 2 0 0,0-1-4 0,1 0-7 0,-5 3-18 16,4-1-30-16,-5-1-20 0,2 3-13 0,0-1-33 16,-4 4-67-16,3-1 4 0,-3 3-30 0,3-1-26 15,-3 2-18-15,2-1-5 0,0 4-89 0,1-2-205 16,3 1-78-16</inkml:trace>
  <inkml:trace contextRef="#ctx0" brushRef="#br0" timeOffset="93037.48">19207 7106 32 0,'0'0'217'0,"0"0"-66"16,0 0 11-16,0 0-59 0,-4-6 14 0,4 6-35 15,0 0 47-15,0 0-23 0,-7-5 40 0,7 5-44 16,0 0 11-16,0 0-47 0,-6-5 10 15,6 5-42-15,0 0 18 0,-4-4-28 0,4 4 62 0,0 0-33 16,-5-7 15-16,5 7-35 0,0 0 13 0,-6-5-36 16,6 5 27-16,0 0-34 0,-8-5 24 0,8 5-29 15,0 0 26-15,-9-5-30 0,9 5 29 0,0 0-32 16,-6-4 26-16,6 4-30 0,0 0 26 0,-9-2-26 16,9 2 24-16,0 0-29 0,0 0 31 0,-17 1-31 15,17-1 31-15,-9 2-27 0,9-2 24 0,-11 8-27 16,4-6 33-16,2 3-28 0,-4 0 23 0,2 1-27 15,0-1 29-15,-2 0-29 0,0 3 30 0,-1-2-31 16,1 1 31-16,0 0-21 0,-1 0 19 16,0 1-31-16,-2 1 29 0,2-2-32 0,0 2 35 0,1-2-31 15,-1 0 35-15,1 2-34 0,1-2 26 16,0 0-27-16,-2 0 31 0,1 3-33 0,3-3 0 0,-1 2 9 16,-2-2-3-16,3 0 4 0,1 2 1 0,-2 0 6 15,2 1-2-15,-2-2-2 0,2 2 1 0,1-1-1 16,1 1 2-16,-2-1 1 0,1 2 6 0,2 1-2 15,-2-1-3-15,1 1 2 0,2-2 0 0,0 3 1 16,0-1-27-16,1-1 32 0,0 2-19 0,0-2 30 16,1 0-28-16,0 2 29 0,-1-2-15 0,3 1 67 15,0 1-38-15,0-2 18 0,-2 1-40 0,3 1 26 16,-1-2-34-16,-1 1 27 0,2 3-30 0,0-3 31 16,0 2-23-16,0 0 28 0,1-2-5 0,-3-1-1 0,3 2 5 15,-1-4-2-15,0 3-2 0,1-2-2 0,-1-1 0 16,2 1-5-16,-2-1-2 0,1 0 17 0,-1 1-8 15,3-2-4-15,-1 0 0 0,0-1-8 16,2 2-2-16,-3-2 2 0,3 1-2 0,1 0-4 0,-3-2 0 16,3 1-3-16,-1 0 3 0,2-1-1 15,-2 1 8-15,1-1-4 0,-2-1-2 0,3 0 1 0,-1 1 29 16,0-1-1-16,3-2-3 0,-3 2-12 0,1 0 6 16,0-2-1-16,2 0 0 0,-2-1-6 0,4 0-3 15,-2 0-1-15,0-1-5 0,0-1 2 0,1 2-4 16,1-2 1-16,-3-2-5 0,3 2 1 0,0-2 2 15,0 1-6-15,-1-2 0 0,-1 1-26 16,2 0 30-16,-3-1-27 0,2 1 32 0,0-3-17 0,1 1 34 16,-1 0-25-16,-1-1 18 0,1 0-19 0,-1 0 29 15,0 0-23-15,-1-2 29 0,0 1-22 0,1 0 24 16,-1-2-28-16,-1-1 16 0,3 1-8 0,-3-2 14 16,1 1-31-16,1-1 11 0,-4-1 20 0,2 3 5 15,-1-2 18-15,-1 0-2 0,0 1-7 0,-2 0-11 16,0-1-1-16,1 1 4 0,-2-1-5 0,-1 0-5 15,0-1-5-15,-1 0 11 0,2-1-14 0,-1 1 8 16,-4 0 14-16,3-2 5 0,-2 1-20 0,-1 0 18 16,0-2-15-16,-1 1-1 0,-2-1-14 0,-1-3 1 15,-2 1-10-15,2-1 4 0,-3-2-3 0,-3 1-2 16,-1 0-2-16,2 0-8 0,-2 0 3 0,-2 0-2 16,-4-1 2-16,1 0-4 0,-4 1-14 0,-1-1-15 0,-2 3-8 15,-3-1-19-15,-6 2-17 0,4 0-19 16,-4 2-34-16,2 3-20 0,-2 2-57 0,0 3-68 15,1 3-85-15,0 3-54 0,-5 1-432 0,1 4-383 16</inkml:trace>
  <inkml:trace contextRef="#ctx0" brushRef="#br0" timeOffset="150383.43">17301 16654 527 0,'-10'2'483'0,"10"-2"-65"16,-13 2-85-16,13-2-18 0,-13 0-37 0,13 0-5 15,-12 1-52-15,12-1-15 0,0 0-44 0,-13-1-1 16,13 1-30-16,0 0-4 0,0 0-39 0,-12-3 8 16,12 3-6-16,0 0 20 0,9-7-38 0,0 2 17 15,0 0-28-15,8 1 12 0,-1 0-32 0,6-2 10 16,4 1-30-16,3 1 24 0,4 0-31 0,3-1 17 16,5 1-26-16,6 0 27 0,3 1-36 0,0 1 15 15,2-1-12-15,3 2 25 0,0 0-30 0,3 0 21 16,-1 0-26-16,1 1 28 0,-1-2-29 0,1 2 23 15,-1 0-23-15,-4 0 30 0,-1 0-33 0,0 2 30 16,-3-1-33-16,-7 0 37 0,-2 0-31 0,-3 1 29 16,-3 1-32-16,-4-2 28 0,-3 1-26 0,-6-1 25 15,1 0-23-15,-5 2 36 0,-1-1-24 0,-3-1 31 16,0 0-27-16,-2 0 28 0,0 0-34 0,-11-1 31 16,16 3-33-16,-16-3 7 0,9 2-93 0,-9-2-57 15,4 5-114-15,-4-5-81 0,1 7-146 0,-1-7-573 16,-2 9-678-16</inkml:trace>
  <inkml:trace contextRef="#ctx0" brushRef="#br0" timeOffset="151791.67">22399 16251 431 0,'-11'5'371'0,"0"1"-82"15,1-1-47-15,1 0-60 0,0 0 15 0,0-2-71 16,2 2 3-16,0-1-57 0,2 1 12 16,5-5-24-16,-5 7 28 0,5-7-7 0,1 11 21 0,3-7-11 15,5 1-7-15,3 0 9 0,7 0-28 0,6 0 31 16,9-2-26-16,3 1 22 0,11-3-31 0,5 0 31 16,4-1-38-16,3-1 18 0,15-3-34 0,2 1 10 15,6-1-38-15,-6 1 28 0,2-2-31 0,0 1 27 16,-2 1-27-16,0-1 18 0,-15 2-27 0,2 1 29 15,-2-2-33-15,-4 2 25 0,-3 0-27 0,-1 1 23 16,-3 1-26-16,-10 0 24 0,-2 0-23 0,-4 1 23 16,-5 0-25-16,-2-1 27 0,-7 0-28 0,0 0 33 15,-3-1 15-15,-2 2 48 0,-3-1 7 0,0-1 20 16,-13 0-20-16,18 2 12 0,-18-2-40 0,13 1 12 0,-13-1-35 16,0 0 14-16,0 0-39 0,0 0 24 15,0 0-30-15,0 0 8 0,0 0-55 0,-2 8-9 16,2-8-61-16,0 0-28 0,0 0-58 0,0 0-48 15,0 0-66-15,-10 2-111 0,10-2-492 0,-6 5-480 0</inkml:trace>
</inkml:ink>
</file>

<file path=ppt/ink/ink4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09:57.50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43 34 1660 0 0,'-3'-4'323'0'0,"0"1"-1"0"0,0 1 1 0 0,-1-1-1 0 0,1 0 1 0 0,-1 1-1 0 0,0-1 1 0 0,0 1-1 0 0,0 0 1 0 0,0 1-1 0 0,0-1 1 0 0,0 1-1 0 0,0-1 1 0 0,0 1-1 0 0,-1 0 1 0 0,1 1-1 0 0,0-1 1 0 0,-1 1-1 0 0,1 0 1 0 0,-1 0-1 0 0,1 0 1 0 0,0 1-1 0 0,-1-1 1 0 0,1 1-1 0 0,0 0 1 0 0,-7 3-1 0 0,-6 1 157 0 0,0 2 0 0 0,1 0-1 0 0,0 1 1 0 0,-29 18-1 0 0,36-19-280 0 0,-1 0-1 0 0,1 1 0 0 0,0 0 1 0 0,0 0-1 0 0,1 1 1 0 0,0 0-1 0 0,1 0 0 0 0,0 1 1 0 0,0 0-1 0 0,1 0 0 0 0,1 1 1 0 0,-9 20-1 0 0,11-23-107 0 0,1 0 0 0 0,0 1 1 0 0,0-1-1 0 0,0 1 0 0 0,1-1 0 0 0,1 1 1 0 0,-1 0-1 0 0,1-1 0 0 0,1 1 0 0 0,0 0 1 0 0,0-1-1 0 0,1 1 0 0 0,-1-1 1 0 0,2 1-1 0 0,-1-1 0 0 0,1 0 0 0 0,1 0 1 0 0,5 10-1 0 0,-7-15-65 0 0,-1 0-1 0 0,1 0 1 0 0,0 0 0 0 0,0-1-1 0 0,0 1 1 0 0,0-1 0 0 0,1 1-1 0 0,-1-1 1 0 0,1 0 0 0 0,-1 0-1 0 0,1 0 1 0 0,0 0 0 0 0,0 0-1 0 0,0-1 1 0 0,0 1 0 0 0,0-1-1 0 0,0 0 1 0 0,0 0 0 0 0,1 0-1 0 0,-1 0 1 0 0,0-1 0 0 0,1 1-1 0 0,-1-1 1 0 0,0 0 0 0 0,1 0-1 0 0,3 0 1 0 0,-1-1-42 0 0,0-1-1 0 0,0 1 0 0 0,0-1 1 0 0,-1-1-1 0 0,1 1 1 0 0,0-1-1 0 0,-1 0 1 0 0,0 0-1 0 0,1 0 1 0 0,-1-1-1 0 0,-1 0 1 0 0,1 0-1 0 0,6-8 1 0 0,15-18-260 0 0,-1-2 1 0 0,33-57 0 0 0,-18 25-48 0 0,-28 50 107 0 0,-11 13 162 0 0,-1 4-27 0 0,-5 35 363 0 0,2 0 0 0 0,2 0 0 0 0,1 0 0 0 0,11 76 0 0 0,-11-113-238 0 0,0 0 1 0 0,0 0 0 0 0,0 0 0 0 0,0 1 0 0 0,1-1-1 0 0,-1 0 1 0 0,0 0 0 0 0,1 0 0 0 0,-1 1 0 0 0,1-1-1 0 0,-1 0 1 0 0,1 0 0 0 0,-1 0 0 0 0,1 0 0 0 0,0 0-1 0 0,0 0 1 0 0,-1 0 0 0 0,1-1 0 0 0,0 1 0 0 0,0 0-1 0 0,0 0 1 0 0,0 0 0 0 0,0-1 0 0 0,0 1 0 0 0,0-1-1 0 0,0 1 1 0 0,0-1 0 0 0,0 1 0 0 0,1-1 0 0 0,-1 1-1 0 0,0-1 1 0 0,0 0 0 0 0,0 0 0 0 0,1 0 0 0 0,-1 0-1 0 0,0 0 1 0 0,0 0 0 0 0,0 0 0 0 0,1 0 0 0 0,-1 0-1 0 0,0 0 1 0 0,0-1 0 0 0,0 1 0 0 0,1 0 0 0 0,-1-1-1 0 0,0 1 1 0 0,0-1 0 0 0,0 0 0 0 0,2 0 0 0 0,7-5-107 0 0,0 0 1 0 0,-1-1 0 0 0,1 0 0 0 0,9-10-1 0 0,-12 11 1 0 0,84-81-523 0 0,-17 14 88 0 0,-74 72 490 0 0,1 0 1 0 0,-1 1 0 0 0,1-1 0 0 0,-1 1-1 0 0,1-1 1 0 0,0 1 0 0 0,-1-1 0 0 0,1 1-1 0 0,-1-1 1 0 0,1 1 0 0 0,0-1 0 0 0,0 1-1 0 0,-1 0 1 0 0,1-1 0 0 0,0 1 0 0 0,0 0-1 0 0,-1 0 1 0 0,1 0 0 0 0,0 0 0 0 0,0 0-1 0 0,0-1 1 0 0,-1 1 0 0 0,1 0 0 0 0,0 1-1 0 0,0-1 1 0 0,0 0 0 0 0,-1 0 0 0 0,1 0-1 0 0,0 0 1 0 0,0 1 0 0 0,-1-1 0 0 0,1 0-1 0 0,0 1 1 0 0,-1-1 0 0 0,1 1 0 0 0,0-1-1 0 0,-1 0 1 0 0,1 1 0 0 0,0 0 0 0 0,-1-1-1 0 0,1 1 1 0 0,-1-1 0 0 0,1 1 0 0 0,-1 0-1 0 0,1-1 1 0 0,-1 1 0 0 0,0 0 0 0 0,1-1-1 0 0,-1 1 1 0 0,1 1 0 0 0,2 6-4 0 0,0 0 0 0 0,-1 0 0 0 0,0 0 1 0 0,1 9-1 0 0,0-2 19 0 0,0-2 15 0 0,1 2 35 0 0,1 0-1 0 0,0-1 0 0 0,11 23 1 0 0,-14-33-15 0 0,0 0 0 0 0,0-1 0 0 0,0 0 0 0 0,1 1 0 0 0,-1-1 0 0 0,1 0 0 0 0,0 0 1 0 0,-1 0-1 0 0,2-1 0 0 0,-1 1 0 0 0,0-1 0 0 0,0 0 0 0 0,1 0 0 0 0,-1 0 0 0 0,1 0 1 0 0,0 0-1 0 0,0-1 0 0 0,-1 0 0 0 0,8 2 0 0 0,-5-2-19 0 0,0-1-1 0 0,-1 0 1 0 0,1 0-1 0 0,0 0 1 0 0,0-1-1 0 0,-1 0 1 0 0,1 0 0 0 0,0 0-1 0 0,-1-1 1 0 0,1 0-1 0 0,5-2 1 0 0,-2-1-60 0 0,1 0 1 0 0,-1-1 0 0 0,0 0-1 0 0,0 0 1 0 0,12-12 0 0 0,-6 3-85 0 0,-1-1 0 0 0,-1 0 0 0 0,0-1 1 0 0,-1 0-1 0 0,18-35 0 0 0,-26 43 80 0 0,0 0 1 0 0,-1-1-1 0 0,4-16 0 0 0,-7 25 36 0 0,0 0-1 0 0,0 1 1 0 0,0-1-1 0 0,0 0 1 0 0,0 0-1 0 0,0 0 0 0 0,-1 0 1 0 0,1 1-1 0 0,0-1 1 0 0,0 0-1 0 0,-1 0 1 0 0,1 0-1 0 0,0 1 1 0 0,-1-1-1 0 0,1 0 0 0 0,-1 1 1 0 0,1-1-1 0 0,-1 0 1 0 0,1 1-1 0 0,-1-1 1 0 0,1 0-1 0 0,-1 1 1 0 0,0-1-1 0 0,1 1 0 0 0,-1-1 1 0 0,0 1-1 0 0,0 0 1 0 0,1-1-1 0 0,-1 1 1 0 0,0 0-1 0 0,0-1 1 0 0,0 1-1 0 0,1 0 1 0 0,-1 0-1 0 0,0 0 0 0 0,0-1 1 0 0,0 1-1 0 0,0 0 1 0 0,-1 1-1 0 0,-2-2-5 0 0,0 1 1 0 0,0 0-1 0 0,0 0 0 0 0,-1 0 0 0 0,1 0 1 0 0,0 1-1 0 0,-5 1 0 0 0,3 1 19 0 0,0-1 1 0 0,0 1-1 0 0,0 1 0 0 0,0-1 0 0 0,1 1 0 0 0,-1 0 0 0 0,1 1 1 0 0,0-1-1 0 0,1 1 0 0 0,-1 0 0 0 0,1 0 0 0 0,0 0 0 0 0,0 1 1 0 0,0-1-1 0 0,1 1 0 0 0,0 0 0 0 0,0 0 0 0 0,0 0 0 0 0,1 1 0 0 0,0-1 1 0 0,-2 13-1 0 0,2-12-197 0 0,0 1 0 0 0,1 0 0 0 0,0 0 0 0 0,1 0 0 0 0,0 0 0 0 0,0 0 0 0 0,1 0 0 0 0,0 0 0 0 0,0 0 0 0 0,1 0 0 0 0,0 0 0 0 0,0-1 0 0 0,1 1 0 0 0,0-1 0 0 0,0 1 0 0 0,1-1 0 0 0,0 0 0 0 0,4 6 0 0 0,-3-8-568 0 0,-1 1 0 0 0,1-2 0 0 0,0 1 1 0 0,0 0-1 0 0,0-1 0 0 0,1 0 0 0 0,0 0 0 0 0,0-1 0 0 0,7 4 0 0 0,5 0-3525 0 0</inkml:trace>
</inkml:ink>
</file>

<file path=ppt/ink/ink4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10:01.11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9 97 1000 0 0,'-3'-3'647'0'0,"0"-1"0"0"0,0 0 0 0 0,1 0 0 0 0,-1 1 0 0 0,1-1 0 0 0,0-1 0 0 0,0 1 0 0 0,0 0 0 0 0,1 0 0 0 0,-1-1 0 0 0,1 1 0 0 0,0-1 0 0 0,1 1 0 0 0,-1-1 0 0 0,1 1-1 0 0,0-9 1 0 0,0 12-615 0 0,0 0 0 0 0,1 0 0 0 0,-1 0 0 0 0,1 1 0 0 0,-1-1 0 0 0,1 0 0 0 0,-1 0 0 0 0,1 0 0 0 0,-1 1 0 0 0,1-1-1 0 0,0 0 1 0 0,0 1 0 0 0,-1-1 0 0 0,1 0 0 0 0,0 1 0 0 0,0-1 0 0 0,0 1 0 0 0,-1 0 0 0 0,1-1 0 0 0,0 1 0 0 0,0-1-1 0 0,0 1 1 0 0,0 0 0 0 0,0 0 0 0 0,2-1 0 0 0,22-1 213 0 0,-23 2-235 0 0,5 1 15 0 0,1-1 0 0 0,0 2 0 0 0,-1-1 0 0 0,1 1 0 0 0,-1 0 0 0 0,1 0 0 0 0,-1 1 0 0 0,0 0 0 0 0,0 0 1 0 0,0 1-1 0 0,-1 0 0 0 0,1 0 0 0 0,-1 0 0 0 0,0 1 0 0 0,0 0 0 0 0,6 7 0 0 0,-6-6 12 0 0,0 1-1 0 0,0 0 0 0 0,0 1 1 0 0,-1 0-1 0 0,0 0 0 0 0,-1 0 1 0 0,0 0-1 0 0,0 1 0 0 0,-1-1 1 0 0,0 1-1 0 0,0 0 1 0 0,2 17-1 0 0,-4-21 25 0 0,-1 0 0 0 0,-1 0 0 0 0,1 1 0 0 0,-1-1 0 0 0,0 0 0 0 0,0 0 0 0 0,0 0 0 0 0,-1 0 0 0 0,1 0 0 0 0,-4 6 0 0 0,-28 47 473 0 0,21-38-372 0 0,1-3-69 0 0,8-15-59 0 0,1 1 0 0 0,0 0 0 0 0,0 0 0 0 0,0 1 1 0 0,0-1-1 0 0,1 0 0 0 0,-1 1 0 0 0,1-1 0 0 0,0 1 0 0 0,0-1 0 0 0,-1 6 0 0 0,2-8-26 0 0,1 0-1 0 0,-1 0 0 0 0,0 0 1 0 0,1 0-1 0 0,-1 0 0 0 0,1 1 1 0 0,-1-1-1 0 0,1-1 0 0 0,0 1 1 0 0,-1 0-1 0 0,1 0 0 0 0,0 0 1 0 0,0 0-1 0 0,0 0 0 0 0,0-1 1 0 0,-1 1-1 0 0,3 1 0 0 0,19 11 17 0 0,-17-11-14 0 0,8 7-31 0 0,0 0 0 0 0,0 0 0 0 0,0 2 0 0 0,-2-1 0 0 0,19 22 0 0 0,-29-32 76 0 0,0 1-1 0 0,-1 0 1 0 0,1 0-1 0 0,0 0 1 0 0,0 0-1 0 0,-1 0 1 0 0,1 0-1 0 0,-1 0 1 0 0,1 0-1 0 0,-1 0 1 0 0,1 0-1 0 0,-1 0 1 0 0,0 0-1 0 0,1 0 0 0 0,-1 1 1 0 0,0-1-1 0 0,0 0 1 0 0,0 0-1 0 0,0 0 1 0 0,0 0-1 0 0,0 1 1 0 0,0-1-1 0 0,0 0 1 0 0,-1 0-1 0 0,1 1 1 0 0,-1 0 24 0 0,0-1 1 0 0,0 1 0 0 0,0-1 0 0 0,-1 0-1 0 0,1 1 1 0 0,0-1 0 0 0,-1 0 0 0 0,1 0 0 0 0,-1 0-1 0 0,1 0 1 0 0,-1 0 0 0 0,1 0 0 0 0,-1 0 0 0 0,-2 0-1 0 0,-4 2 161 0 0,-1 0 0 0 0,0-1-1 0 0,0 0 1 0 0,-18 1-1 0 0,13-2-288 0 0,0-1-1 0 0,0-1 0 0 0,-1 0 1 0 0,1 0-1 0 0,0-2 0 0 0,0 0 0 0 0,0 0 1 0 0,0-1-1 0 0,-19-9 0 0 0,31 12-220 0 0,1 0 0 0 0,0 1 0 0 0,-1-1 0 0 0,1 0 0 0 0,0 1 0 0 0,0-1 0 0 0,0 0 0 0 0,-1 0 0 0 0,1 0 0 0 0,0 0 0 0 0,0 0 0 0 0,0-1 0 0 0,1 1 0 0 0,-1 0 0 0 0,0 0 0 0 0,0 0 0 0 0,1-1 0 0 0,-1 1 0 0 0,1 0 0 0 0,-1-1 0 0 0,1 1 0 0 0,-1-1 0 0 0,1 1-1 0 0,0-1 1 0 0,0 1 0 0 0,-1-1 0 0 0,1 1 0 0 0,0 0 0 0 0,1-1 0 0 0,-1 1 0 0 0,0-1 0 0 0,0 1 0 0 0,1-1 0 0 0,-1 1 0 0 0,0-1 0 0 0,1 1 0 0 0,0 0 0 0 0,-1-1 0 0 0,1 1 0 0 0,0 0 0 0 0,0 0 0 0 0,-1-1 0 0 0,1 1 0 0 0,0 0 0 0 0,0 0 0 0 0,2-2 0 0 0,7-4-3840 0 0</inkml:trace>
</inkml:ink>
</file>

<file path=ppt/ink/ink4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10:01.55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49 684 0 0,'27'9'1167'0'0,"-1"-1"1"0"0,2-2-1 0 0,-1-1 0 0 0,1-1 0 0 0,-1-1 1 0 0,1-1-1 0 0,33-3 0 0 0,-48 1-899 0 0,0-2-1 0 0,0 1 1 0 0,0-1-1 0 0,0-1 1 0 0,0 0-1 0 0,-1-1 1 0 0,22-10-1 0 0,-27 10-170 0 0,1 0-1 0 0,-1 0 1 0 0,0-1 0 0 0,-1 0-1 0 0,1-1 1 0 0,-1 1 0 0 0,0-1-1 0 0,0 0 1 0 0,-1-1 0 0 0,1 0-1 0 0,-2 1 1 0 0,1-2 0 0 0,3-7-1 0 0,-2 4 15 0 0,-1 0 0 0 0,-1 0 0 0 0,0-1 0 0 0,-1 1 0 0 0,3-14 0 0 0,-6 21-91 0 0,1 0-1 0 0,-1 0 1 0 0,1 0-1 0 0,-1-1 1 0 0,0 1-1 0 0,-1 0 1 0 0,1 0-1 0 0,-1 0 1 0 0,0-1-1 0 0,0 1 1 0 0,0 0-1 0 0,0 0 1 0 0,-1 0-1 0 0,1 0 1 0 0,-1 1-1 0 0,0-1 1 0 0,-4-5-1 0 0,5 8-20 0 0,0 0 0 0 0,0 1 0 0 0,-1-1 1 0 0,1 0-1 0 0,0 0 0 0 0,0 1 0 0 0,-1-1 0 0 0,1 1 0 0 0,0-1 0 0 0,-1 1 0 0 0,1 0 1 0 0,-1-1-1 0 0,1 1 0 0 0,-1 0 0 0 0,1 0 0 0 0,0 0 0 0 0,-1 0 0 0 0,1 0 1 0 0,-1 0-1 0 0,1 0 0 0 0,-1 1 0 0 0,1-1 0 0 0,-2 1 0 0 0,0 0-1 0 0,0 0-1 0 0,-1 0 0 0 0,1 0 1 0 0,0 1-1 0 0,0-1 0 0 0,0 1 1 0 0,0 0-1 0 0,1-1 0 0 0,-4 4 1 0 0,-2 3-8 0 0,0 1 0 0 0,1 1 0 0 0,0-1 0 0 0,1 1 0 0 0,0 1 0 0 0,0-1 0 0 0,1 1 0 0 0,1 0 0 0 0,-1 0 0 0 0,2 0 0 0 0,0 0 0 0 0,0 1 0 0 0,1-1 0 0 0,-1 16 0 0 0,1 16 24 0 0,2 0 0 0 0,8 68 0 0 0,-3-55 24 0 0,1-5-39 0 0,1 17 1776 0 0,-7-67-1684 0 0,0 0 0 0 0,0 0 0 0 0,0 1 1 0 0,0-1-1 0 0,0 0 0 0 0,0 0 0 0 0,0 0 0 0 0,0 0 0 0 0,0 0 1 0 0,-1 0-1 0 0,1 0 0 0 0,0 0 0 0 0,-1 0 0 0 0,1 0 0 0 0,-1 0 1 0 0,1 0-1 0 0,-2 1 0 0 0,2-2-65 0 0,-1 0 0 0 0,1 0 0 0 0,-1 0 1 0 0,1 0-1 0 0,0 0 0 0 0,-1 0 0 0 0,1 0 0 0 0,-1 0 0 0 0,1 0 0 0 0,0 0 1 0 0,-1 0-1 0 0,1 0 0 0 0,-1 0 0 0 0,1 0 0 0 0,0 0 0 0 0,-1 0 1 0 0,1-1-1 0 0,-1 1 0 0 0,1 0 0 0 0,0 0 0 0 0,-1 0 0 0 0,1-1 1 0 0,0 1-1 0 0,-1 0 0 0 0,1 0 0 0 0,0-1 0 0 0,-1 1 0 0 0,1-1 0 0 0,-3-2 28 0 0,1 0 0 0 0,-1 0-1 0 0,1 0 1 0 0,0-1-1 0 0,0 1 1 0 0,0 0 0 0 0,-2-7-1 0 0,-6-23-3 0 0,4 16-353 0 0,0 1 1 0 0,2-1-1 0 0,0-1 0 0 0,1 1 1 0 0,0 0-1 0 0,1-35 0 0 0,2 50 154 0 0,1 0 0 0 0,0 0 0 0 0,0 0 0 0 0,0 1 0 0 0,0-1 0 0 0,0 1 0 0 0,1-1 0 0 0,-1 1 0 0 0,0-1 0 0 0,1 1 0 0 0,-1 0 0 0 0,1-1 0 0 0,-1 1 0 0 0,3-1 0 0 0,1-2-715 0 0,0 1 252 0 0,1 0 0 0 0,-1 0 1 0 0,1 1-1 0 0,0 0 0 0 0,-1 0 0 0 0,1 0 0 0 0,0 1 0 0 0,12-1 0 0 0,0-2-2203 0 0,-2 2-308 0 0</inkml:trace>
</inkml:ink>
</file>

<file path=ppt/ink/ink4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10:01.95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80 56 24 0 0,'1'-2'1493'0'0,"24"-52"6562"0"0,-29 88-6538 0 0,-7-9-693 0 0,-2 0 0 0 0,-24 38 0 0 0,-8 14 94 0 0,21-31-520 0 0,-23 47 156 0 0,42-81-394 0 0,1 0-1 0 0,0 1 1 0 0,0-1-1 0 0,1 1 1 0 0,-2 21-1 0 0,5-30-106 0 0,0-1 1 0 0,0 0-1 0 0,0 1 0 0 0,1-1 1 0 0,-1 0-1 0 0,1 1 0 0 0,0-1 0 0 0,0 0 1 0 0,0 0-1 0 0,0 0 0 0 0,0 1 1 0 0,1-1-1 0 0,0-1 0 0 0,-1 1 0 0 0,1 0 1 0 0,0 0-1 0 0,3 2 0 0 0,-1-1-10 0 0,0 0 1 0 0,0-1-1 0 0,0 0 0 0 0,1 1 0 0 0,0-2 0 0 0,0 1 1 0 0,0 0-1 0 0,0-1 0 0 0,9 3 0 0 0,-5-2-15 0 0,1-1 1 0 0,-1 0-1 0 0,1 0 0 0 0,0-1 0 0 0,-1-1 0 0 0,1 0 0 0 0,0 0 0 0 0,-1 0 1 0 0,1-1-1 0 0,0-1 0 0 0,14-3 0 0 0,-14 1-11 0 0,-1 0 0 0 0,1 0 0 0 0,0-1 0 0 0,-1 0 0 0 0,0-1 0 0 0,0 0 0 0 0,14-13-1 0 0,-21 17-7 0 0,0 0 0 0 0,0 0-1 0 0,0 0 1 0 0,0-1-1 0 0,0 1 1 0 0,-1 0-1 0 0,1-1 1 0 0,-1 1-1 0 0,0-1 1 0 0,0 1-1 0 0,0-1 1 0 0,0 1-1 0 0,0-1 1 0 0,0 0-1 0 0,-1 0 1 0 0,1 1-1 0 0,-1-1 1 0 0,0 0-1 0 0,0 0 1 0 0,0 0 0 0 0,0 1-1 0 0,0-1 1 0 0,-1 0-1 0 0,1 0 1 0 0,-1 0-1 0 0,0 1 1 0 0,0-1-1 0 0,0 0 1 0 0,0 1-1 0 0,0-1 1 0 0,0 1-1 0 0,-1-1 1 0 0,-2-3-1 0 0,0 1-126 0 0,-1-1 0 0 0,1 1 0 0 0,-1 0 0 0 0,0 0 0 0 0,0 0 0 0 0,0 1 0 0 0,-1 0 0 0 0,0 0-1 0 0,1 0 1 0 0,-2 1 0 0 0,1 0 0 0 0,-10-4 0 0 0,6 4-1041 0 0,0 1-1 0 0,-1 0 1 0 0,1 0 0 0 0,0 1 0 0 0,0 1-1 0 0,-1 0 1 0 0,-19 2 0 0 0,3 1-4170 0 0</inkml:trace>
</inkml:ink>
</file>

<file path=ppt/ink/ink4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10:06.14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75 77 1176 0 0,'3'-11'2454'0'0,"0"4"-1587"0"0,-1 0 0 0 0,0 0 0 0 0,0 0 0 0 0,0 0 0 0 0,0-13 0 0 0,-2 19-849 0 0,0 1 0 0 0,0-1 0 0 0,0 1 0 0 0,0 0-1 0 0,0-1 1 0 0,0 1 0 0 0,0 0 0 0 0,0-1 0 0 0,-1 1 0 0 0,1-1 0 0 0,0 1-1 0 0,0 0 1 0 0,0-1 0 0 0,0 1 0 0 0,-1 0 0 0 0,1-1 0 0 0,0 1 0 0 0,0 0 0 0 0,-1-1-1 0 0,1 1 1 0 0,0 0 0 0 0,-1 0 0 0 0,1-1 0 0 0,0 1 0 0 0,-1 0 0 0 0,1 0-1 0 0,0 0 1 0 0,-1 0 0 0 0,1-1 0 0 0,0 1 0 0 0,-1 0 0 0 0,1 0 0 0 0,-1 0-1 0 0,-17 2 390 0 0,11 0-337 0 0,-1 1 1 0 0,1 0 0 0 0,0 0-1 0 0,0 1 1 0 0,0 0-1 0 0,0 0 1 0 0,1 0 0 0 0,0 1-1 0 0,0 0 1 0 0,0 0 0 0 0,-8 10-1 0 0,11-11-11 0 0,0 0 0 0 0,0 0 0 0 0,1 1-1 0 0,-1-1 1 0 0,1 1 0 0 0,0-1-1 0 0,0 1 1 0 0,0 0 0 0 0,1 0 0 0 0,0 0-1 0 0,0 0 1 0 0,0 0 0 0 0,1 0-1 0 0,-1 0 1 0 0,1 0 0 0 0,0 0 0 0 0,1 1-1 0 0,-1-1 1 0 0,3 7 0 0 0,0 0 20 0 0,0-1 1 0 0,2-1 0 0 0,-1 1-1 0 0,1 0 1 0 0,1-1 0 0 0,9 14-1 0 0,47 54 41 0 0,-8-11-89 0 0,-50-62-1 0 0,6 10 56 0 0,-10-15-84 0 0,0 1 1 0 0,0-1 0 0 0,0 0-1 0 0,0 1 1 0 0,0-1 0 0 0,-1 1-1 0 0,1-1 1 0 0,0 0 0 0 0,0 1-1 0 0,0-1 1 0 0,0 0 0 0 0,0 1-1 0 0,0-1 1 0 0,-1 1 0 0 0,1-1-1 0 0,0 0 1 0 0,0 1 0 0 0,-1-1-1 0 0,1 0 1 0 0,0 0 0 0 0,0 1-1 0 0,-1-1 1 0 0,1 0 0 0 0,0 0-1 0 0,-1 1 1 0 0,1-1 0 0 0,0 0-1 0 0,-1 0 1 0 0,1 0 0 0 0,0 1-1 0 0,-1-1 1 0 0,1 0 0 0 0,-1 0-1 0 0,1 0 1 0 0,0 0 0 0 0,-1 0 0 0 0,1 0-1 0 0,-1 0 1 0 0,1 0 0 0 0,-1 0-1 0 0,-6 1 32 0 0,0-1 0 0 0,0 0 0 0 0,0 0 0 0 0,0 0 0 0 0,0-1 0 0 0,0 0 0 0 0,0 0 0 0 0,0-1 0 0 0,1 0 0 0 0,-1 0 0 0 0,0-1 0 0 0,-9-5 1 0 0,13 7-58 0 0,0 0 0 0 0,0-1 0 0 0,0 0 0 0 0,0 1 1 0 0,1-1-1 0 0,-1 0 0 0 0,1-1 0 0 0,-1 1 1 0 0,1 0-1 0 0,0-1 0 0 0,0 1 0 0 0,0-1 1 0 0,0 0-1 0 0,0 1 0 0 0,1-1 0 0 0,-1 0 0 0 0,1 0 1 0 0,0 0-1 0 0,-1 0 0 0 0,2-1 0 0 0,-1 1 1 0 0,0 0-1 0 0,1 0 0 0 0,-1 0 0 0 0,1-1 1 0 0,0 1-1 0 0,0 0 0 0 0,0-1 0 0 0,1-4 0 0 0,3-3-149 0 0,-1-1-1 0 0,1 2 0 0 0,1-1 0 0 0,0 0 1 0 0,9-14-1 0 0,-13 24 119 0 0,-1 2 87 0 0,1 0 1 0 0,-1 0 0 0 0,0 0 0 0 0,0 0-1 0 0,0 0 1 0 0,0 0 0 0 0,0 0 0 0 0,0 0-1 0 0,0 0 1 0 0,0 0 0 0 0,0 0 0 0 0,0 0-1 0 0,0 0 1 0 0,-1 0 0 0 0,1 0 0 0 0,0 0-1 0 0,-1 0 1 0 0,1 0 0 0 0,-1 0 0 0 0,0 0-1 0 0,-15 21 277 0 0,9-12-46 0 0,-37 51 822 0 0,-63 67 0 0 0,74-93-2098 0 0,-51 41 0 0 0,73-70 103 0 0</inkml:trace>
</inkml:ink>
</file>

<file path=ppt/ink/ink4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10:06.47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44 876 0 0,'5'0'542'0'0,"-1"-1"0"0"0,1 1-1 0 0,0 0 1 0 0,-1 0 0 0 0,1 1 0 0 0,-1-1-1 0 0,1 1 1 0 0,-1 0 0 0 0,1 0-1 0 0,-1 0 1 0 0,8 4 0 0 0,-8-3-356 0 0,-1 0 0 0 0,0 0 0 0 0,0 1 0 0 0,-1-1 0 0 0,1 1 0 0 0,0-1 0 0 0,-1 1 0 0 0,0 0 0 0 0,0 0 0 0 0,1 0 0 0 0,-2 0 0 0 0,1 0 0 0 0,0 1 1 0 0,-1-1-1 0 0,3 6 0 0 0,1 8 59 0 0,0 1 0 0 0,-2-1 0 0 0,0 1-1 0 0,0-1 1 0 0,-1 19 0 0 0,-2-21-654 0 0,-1-1-1 0 0,-3 21 0 0 0,3-26-655 0 0,-1-1 0 0 0,-1 1 0 0 0,0-1 1 0 0,-6 14-1 0 0,5-14-1801 0 0</inkml:trace>
  <inkml:trace contextRef="#ctx0" brushRef="#br0" timeOffset="1">90 67 1220 0 0,'2'-13'1140'0'0,"-2"1"320"0"0,4-6-840 0 0,-2 3-872 0 0,2 6-1384 0 0</inkml:trace>
</inkml:ink>
</file>

<file path=ppt/ink/ink4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10:07.07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1304 0 0,'10'24'2184'0'0,"0"1"0"0"0,-2 0-1 0 0,9 45 1 0 0,0 15 4143 0 0,-15-87-6272 0 0,0 0-1 0 0,0 0 1 0 0,-1 0 0 0 0,1 0-1 0 0,-1 0 1 0 0,1 0-1 0 0,-1 0 1 0 0,0 0-1 0 0,0-1 1 0 0,0 1 0 0 0,1-4-1 0 0,4-5 27 0 0,-2 4-76 0 0,1 1 0 0 0,0 0 0 0 0,0 0 0 0 0,1 0 1 0 0,-1 1-1 0 0,2-1 0 0 0,-1 1 0 0 0,0 1 1 0 0,1-1-1 0 0,0 1 0 0 0,0 0 0 0 0,9-3 1 0 0,-13 6-13 0 0,0 0 0 0 0,0 1 0 0 0,0-1 1 0 0,0 1-1 0 0,0-1 0 0 0,0 1 0 0 0,0 0 1 0 0,0 0-1 0 0,0 1 0 0 0,0-1 0 0 0,0 0 1 0 0,0 1-1 0 0,0 0 0 0 0,0 0 0 0 0,0 0 1 0 0,0 0-1 0 0,-1 0 0 0 0,1 1 0 0 0,0-1 1 0 0,-1 1-1 0 0,1 0 0 0 0,2 2 0 0 0,1 1-7 0 0,-1-1-1 0 0,0 1 1 0 0,0 1-1 0 0,-1-1 1 0 0,1 1-1 0 0,-1 0 1 0 0,0 0-1 0 0,3 6 1 0 0,0 7 104 0 0,0 0 0 0 0,0 0 0 0 0,6 39 0 0 0,-12-53 1907 0 0,1-15-1682 0 0,3-16-279 0 0,0 18-36 0 0,-1-1 0 0 0,1 1 0 0 0,1 0 0 0 0,0 1 0 0 0,0-1 0 0 0,0 1 0 0 0,1 0 0 0 0,0 1-1 0 0,0 0 1 0 0,1 0 0 0 0,-1 0 0 0 0,1 1 0 0 0,1 0 0 0 0,-1 1 0 0 0,1 0 0 0 0,9-4-1 0 0,-14 7-6 0 0,0 1-1 0 0,0-1 1 0 0,1 1-1 0 0,-1 0 0 0 0,0 0 1 0 0,1 0-1 0 0,-1 1 0 0 0,0-1 1 0 0,0 1-1 0 0,1 0 0 0 0,-1 0 1 0 0,0 1-1 0 0,0-1 0 0 0,0 1 1 0 0,0 0-1 0 0,0 0 0 0 0,-1 0 1 0 0,7 5-1 0 0,-6-3-28 0 0,0 0 0 0 0,0 1 0 0 0,0-1 1 0 0,-1 1-1 0 0,0 0 0 0 0,0 0 0 0 0,0 0 0 0 0,-1 0 0 0 0,1 0 0 0 0,-1 1 0 0 0,0-1 0 0 0,2 12 0 0 0,-2 1-1695 0 0,0-1 0 0 0,-1 32 0 0 0,-1-37 266 0 0,0-11 1386 0 0,0-1 0 0 0,0 0 0 0 0,0 1-1 0 0,0-1 1 0 0,0 0 0 0 0,0 1-1 0 0,0-1 1 0 0,0 0 0 0 0,0 1 0 0 0,0-1-1 0 0,1 0 1 0 0,-1 1 0 0 0,0-1-1 0 0,0 0 1 0 0,0 0 0 0 0,0 1 0 0 0,1-1-1 0 0,-1 0 1 0 0,0 0 0 0 0,0 1 0 0 0,0-1-1 0 0,1 0 1 0 0,-1 0 0 0 0,0 1-1 0 0,0-1 1 0 0,1 0 0 0 0,-1 0 0 0 0,0 0-1 0 0,1 0 1 0 0,-1 0 0 0 0,0 1-1 0 0,1-1 1 0 0,-1 0 0 0 0,0 0 0 0 0,0 0-1 0 0,1 0 1 0 0,-1 0 0 0 0,0 0-1 0 0,1 0 1 0 0,-1 0 0 0 0,0 0 0 0 0,1 0-1 0 0,-1 0 1 0 0,0 0 0 0 0,1 0-1 0 0,-1-1 1 0 0,14-4-1552 0 0,-14 5 1833 0 0,8-5-474 0 0,0-1 1 0 0,0 1-1 0 0,-1-1 0 0 0,0 0 0 0 0,0-1 0 0 0,-1 0 0 0 0,11-15 1 0 0,13-13 1327 0 0,-14 22-102 0 0,-10 7-291 0 0,0 1 1 0 0,0-1-1 0 0,7-9 0 0 0,-12 14-585 0 0,-1 0 1 0 0,1 0-1 0 0,0 0 0 0 0,0 1 0 0 0,0-1 1 0 0,0 0-1 0 0,0 1 0 0 0,0-1 0 0 0,0 1 1 0 0,0-1-1 0 0,0 1 0 0 0,0-1 0 0 0,0 1 0 0 0,0 0 1 0 0,0 0-1 0 0,0-1 0 0 0,0 1 0 0 0,0 0 1 0 0,0 0-1 0 0,0 0 0 0 0,0 0 0 0 0,0 0 1 0 0,1 0-1 0 0,-1 1 0 0 0,0-1 0 0 0,2 1 0 0 0,-2-1-180 0 0,0 1 129 0 0,-1-1-1 0 0,1 1 1 0 0,0-1-1 0 0,-1 1 0 0 0,1-1 1 0 0,-1 1-1 0 0,1 0 0 0 0,-1 0 1 0 0,0-1-1 0 0,1 1 0 0 0,-1 0 1 0 0,1-1-1 0 0,-1 1 1 0 0,0 0-1 0 0,0 0 0 0 0,1 0 1 0 0,-1-1-1 0 0,0 1 0 0 0,0 0 1 0 0,0 0-1 0 0,0 1 1 0 0,1 13 141 0 0,-1-2-193 0 0,0 1 0 0 0,-1-1-1 0 0,0 0 1 0 0,-1 0 0 0 0,-5 20 0 0 0,2-19-2182 0 0,0 1 0 0 0,-7 14 0 0 0</inkml:trace>
</inkml:ink>
</file>

<file path=ppt/ink/ink4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10:07.43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9 150 1008 0 0,'-1'-20'3097'0'0,"-1"1"-1"0"0,-9-38 1 0 0,3 22-1004 0 0,1 17-2440 0 0,30 32-9293 0 0</inkml:trace>
</inkml:ink>
</file>

<file path=ppt/ink/ink4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10:07.76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1028 0 0,'14'9'3415'0'0,"-10"-5"-3010"0"0,-1 0 1 0 0,0 0-1 0 0,1 0 0 0 0,-2 1 0 0 0,1-1 1 0 0,0 1-1 0 0,-1 0 0 0 0,0 0 0 0 0,0 0 1 0 0,2 8-1 0 0,10 61 1700 0 0,-6-26-1399 0 0,3 11-247 0 0,-8-36-157 0 0,2 1 0 0 0,9 30 0 0 0,-13-52-203 0 0,4 17-1007 0 0</inkml:trace>
</inkml:ink>
</file>

<file path=ppt/ink/ink4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10:08.12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63 81 1288 0 0,'2'-3'333'0'0,"0"1"-46"0"0,0-1 0 0 0,0 1 0 0 0,0-1-1 0 0,-1 1 1 0 0,1-1 0 0 0,-1 0 0 0 0,0 1 0 0 0,0-1 0 0 0,0 0-1 0 0,0 0 1 0 0,0 0 0 0 0,-1 0 0 0 0,1 0 0 0 0,-1 0-1 0 0,0 0 1 0 0,0 0 0 0 0,0 0 0 0 0,0 0 0 0 0,-1-5-1 0 0,0 7-219 0 0,1 0-1 0 0,-1 0 0 0 0,0 0 0 0 0,0 1 1 0 0,1-1-1 0 0,-1 0 0 0 0,0 0 1 0 0,0 0-1 0 0,0 1 0 0 0,0-1 0 0 0,1 0 1 0 0,-1 1-1 0 0,0-1 0 0 0,0 1 1 0 0,-1-1-1 0 0,1 1 0 0 0,0-1 0 0 0,0 1 1 0 0,0 0-1 0 0,0 0 0 0 0,-1-1 1 0 0,-16-1 364 0 0,14 2-344 0 0,0 0-1 0 0,-1 0 1 0 0,1 0 0 0 0,0 1 0 0 0,-1 0 0 0 0,1 0 0 0 0,0 0-1 0 0,0 0 1 0 0,-1 1 0 0 0,1-1 0 0 0,-6 5 0 0 0,3-3 48 0 0,1 1 0 0 0,-1 0 0 0 0,1 1 0 0 0,0 0 1 0 0,-7 7-1 0 0,9-8-21 0 0,0 2 1 0 0,0-1 0 0 0,0 0 0 0 0,0 1-1 0 0,1-1 1 0 0,0 1 0 0 0,0 0-1 0 0,1 0 1 0 0,0 1 0 0 0,0-1 0 0 0,-2 12-1 0 0,3-14-84 0 0,1-1 0 0 0,0 1 0 0 0,-1-1 0 0 0,2 0 0 0 0,-1 1 0 0 0,0-1 0 0 0,1 1-1 0 0,-1-1 1 0 0,1 0 0 0 0,0 1 0 0 0,0-1 0 0 0,0 0 0 0 0,1 0 0 0 0,-1 0 0 0 0,1 0 0 0 0,0 0 0 0 0,0 0-1 0 0,0 0 1 0 0,0 0 0 0 0,0-1 0 0 0,0 1 0 0 0,1-1 0 0 0,4 4 0 0 0,-4-4-20 0 0,0-1-1 0 0,1 0 1 0 0,-1 0 0 0 0,0 0 0 0 0,0-1-1 0 0,0 1 1 0 0,1-1 0 0 0,-1 1 0 0 0,0-1-1 0 0,1 0 1 0 0,-1 0 0 0 0,0-1 0 0 0,1 1-1 0 0,-1-1 1 0 0,0 0 0 0 0,0 1 0 0 0,0-1-1 0 0,5-3 1 0 0,6-2-74 0 0,-1-1-1 0 0,0 0 0 0 0,23-17 1 0 0,12-7 287 0 0,-46 30-192 0 0,4 2-14 0 0,-6-1-16 0 0,1-1 0 0 0,-1 1 0 0 0,1 0 0 0 0,-1 0 0 0 0,1 0 0 0 0,-1 0 0 0 0,1 0 0 0 0,-1 0 0 0 0,1 0 0 0 0,-1 0 0 0 0,1 0 0 0 0,-1 0 0 0 0,1 1-1 0 0,-1-1 1 0 0,0 0 0 0 0,1 0 0 0 0,-1 0 0 0 0,1 0 0 0 0,-1 1 0 0 0,1-1 0 0 0,-1 0 0 0 0,0 0 0 0 0,1 1 0 0 0,-1-1 0 0 0,1 0 0 0 0,-1 1 0 0 0,4 38-40 0 0,-1 62 1 0 0,-6-41-2485 0 0,1-19-3820 0 0</inkml:trace>
  <inkml:trace contextRef="#ctx0" brushRef="#br0" timeOffset="1">409 197 920 0 0,'3'-1'1431'0'0,"-1"0"-1095"0"0,1 1 0 0 0,-1 0 0 0 0,1-1 1 0 0,0 1-1 0 0,-1 0 0 0 0,1 0 0 0 0,0 0 1 0 0,-1 1-1 0 0,1-1 0 0 0,0 1 0 0 0,-1-1 0 0 0,1 1 1 0 0,-1 0-1 0 0,1 0 0 0 0,-1 0 0 0 0,1 0 0 0 0,-1 0 1 0 0,0 1-1 0 0,0-1 0 0 0,1 1 0 0 0,-1 0 0 0 0,3 2 1 0 0,13 9 7754 0 0,-15-13-7674 0 0,4-4 587 0 0,0-3-868 0 0,0 1 0 0 0,1-1 1 0 0,-1 1-1 0 0,1 1 0 0 0,1-1 1 0 0,-1 1-1 0 0,1 1 0 0 0,11-5 1 0 0,-8 4-701 0 0,1 1 1 0 0,-1 0-1 0 0,1 1 1 0 0,0 0-1 0 0,17 0 1 0 0,-26 3 293 0 0,-1-1 0 0 0,0 2 1 0 0,1-1-1 0 0,-1 0 1 0 0,1 1-1 0 0,-1-1 1 0 0,0 1-1 0 0,1 0 1 0 0,-1 0-1 0 0,0 0 0 0 0,0 1 1 0 0,0-1-1 0 0,0 1 1 0 0,0 0-1 0 0,0 0 1 0 0,0 0-1 0 0,3 3 1 0 0,-2-1-893 0 0,0 0 1 0 0,-1 1 0 0 0,1-1 0 0 0,-1 1 0 0 0,3 5 0 0 0,0-1-2058 0 0</inkml:trace>
</inkml:ink>
</file>

<file path=ppt/ink/ink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4:30.57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6 764 0 0,'2'-1'2320'0'0,"-2"0"-2085"0"0,1 1 1 0 0,0-1 0 0 0,-1 1-1 0 0,1-1 1 0 0,0 1 0 0 0,-1 0-1 0 0,1-1 1 0 0,0 1 0 0 0,-1 0-1 0 0,1 0 1 0 0,0-1 0 0 0,1 1-1 0 0,-1 2-129 0 0,0 0 0 0 0,0 0 0 0 0,0 0 0 0 0,0 0 0 0 0,0 0 0 0 0,-1 0 0 0 0,1 1 0 0 0,-1-1 0 0 0,0 0 0 0 0,1 0 0 0 0,-1 1 0 0 0,0-1 0 0 0,0 0 0 0 0,-1 4 0 0 0,-4 43 345 0 0,3-32-284 0 0,1 16 90 0 0,1 1 1 0 0,2 0 0 0 0,11 58-1 0 0,-7-50-1447 0 0,2 61-1 0 0,-6-89-1566 0 0</inkml:trace>
</inkml:ink>
</file>

<file path=ppt/ink/ink4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10:08.78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1 24 1764 0 0,'0'-12'2644'0'0,"0"5"-1461"0"0,0 7-1137 0 0,0 0 0 0 0,0 0 1 0 0,0 0-1 0 0,0 0 0 0 0,0-1 1 0 0,0 1-1 0 0,0 0 0 0 0,2-3 1205 0 0,-2 3-1205 0 0,0 0 0 0 0,0 0 1 0 0,0 0-1 0 0,0 0 0 0 0,0 0 0 0 0,0 0 1 0 0,0 0-1 0 0,1 0 0 0 0,-1 0 1 0 0,0 0-1 0 0,0 0 0 0 0,0 0 1 0 0,0 0-1 0 0,0 0 0 0 0,0 0 0 0 0,1 0 1 0 0,-1 0-1 0 0,0 0 0 0 0,3 4 213 0 0,1 0-1 0 0,-1 0 0 0 0,0 1 0 0 0,-1-1 0 0 0,1 1 0 0 0,-1 0 0 0 0,0-1 0 0 0,0 1 1 0 0,0 0-1 0 0,1 10 0 0 0,9 59 586 0 0,-10-59-695 0 0,-1 40 283 0 0,-1-35 576 0 0,0-19-972 0 0,0-1 1 0 0,0 1-1 0 0,1-1 1 0 0,-1 1-1 0 0,0-1 1 0 0,0 1-1 0 0,0-1 0 0 0,0 1 1 0 0,0-1-1 0 0,0 1 1 0 0,0-1-1 0 0,-1 1 1 0 0,1 0-1 0 0,0-1 1 0 0,0 1-1 0 0,0-1 0 0 0,0 1 1 0 0,-1-1-1 0 0,1 0 1 0 0,0 1-1 0 0,0-1 1 0 0,-1 1-1 0 0,1-1 1 0 0,0 1-1 0 0,-1-1 0 0 0,1 0 1 0 0,-1 1-1 0 0,1-1 1 0 0,0 0-1 0 0,-1 1 1 0 0,1-1-1 0 0,-1 0 1 0 0,1 1-1 0 0,-1-1 0 0 0,1 0 1 0 0,-1 0-1 0 0,1 0 1 0 0,-1 0-1 0 0,1 1 1 0 0,-1-1-1 0 0,1 0 1 0 0,-1 0-1 0 0,1 0 0 0 0,-1 0 1 0 0,0 0-1 0 0,1 0 1 0 0,-1 0-1 0 0,1-1 1 0 0,-1 1-1 0 0,1 0 1 0 0,-1 0-1 0 0,1 0 0 0 0,-1 0 1 0 0,1-1-1 0 0,-1 1 1 0 0,1 0-1 0 0,-1 0 1 0 0,1-1-1 0 0,0 1 1 0 0,-1 0-1 0 0,0-1 0 0 0,-21-17 242 0 0,21 16-287 0 0,-1 1 1 0 0,1-1-1 0 0,-1 0 0 0 0,1 0 1 0 0,0 0-1 0 0,0 0 0 0 0,0 0 1 0 0,0 0-1 0 0,0 0 1 0 0,0 0-1 0 0,1 0 0 0 0,-1-1 1 0 0,1 1-1 0 0,-1 0 1 0 0,1 0-1 0 0,0-1 0 0 0,0 1 1 0 0,0 0-1 0 0,0-1 0 0 0,0 1 1 0 0,1 0-1 0 0,-1 0 1 0 0,1-1-1 0 0,-1 1 0 0 0,1 0 1 0 0,0 0-1 0 0,0 0 1 0 0,0 0-1 0 0,0 0 0 0 0,3-4 1 0 0,-1 3-125 0 0,1-1 0 0 0,0 1 0 0 0,0 0 0 0 0,0 0 1 0 0,0 0-1 0 0,0 0 0 0 0,1 1 0 0 0,-1 0 0 0 0,1 0 1 0 0,0 0-1 0 0,-1 0 0 0 0,10-1 0 0 0,4 0-979 0 0,1 0-1 0 0,35-1 1 0 0,8 7-3976 0 0,-38 1 2010 0 0</inkml:trace>
</inkml:ink>
</file>

<file path=ppt/ink/ink4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11:47.05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1584 0 0,'0'0'5099'0'0,"1"1"-4956"0"0,0 0 1 0 0,0 0-1 0 0,0-1 0 0 0,1 1 1 0 0,-1 0-1 0 0,0-1 1 0 0,0 1-1 0 0,0-1 1 0 0,0 1-1 0 0,1-1 1 0 0,-1 0-1 0 0,1 1 0 0 0,396 9 2504 0 0,-366-8-2735 0 0,8 0-633 0 0,-14-2-4788 0 0</inkml:trace>
</inkml:ink>
</file>

<file path=ppt/ink/ink4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11:47.74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9 408 76 0 0,'2'-22'3060'0'0,"0"7"1989"0"0,0 33-2908 0 0,10 259 2240 0 0,-14-158 772 0 0,-12-126-4583 0 0,11 2-517 0 0,-1 0 0 0 0,1 0 0 0 0,0 0 0 0 0,1-1 0 0 0,0 1 0 0 0,-1-1 0 0 0,2 0 0 0 0,-1 0 0 0 0,1 0 0 0 0,-2-8 0 0 0,2 9-35 0 0,-4-27-104 0 0,1-1 0 0 0,1 1 0 0 0,2-1 0 0 0,2 0 0 0 0,7-57 0 0 0,2 31-184 0 0,2 1 0 0 0,26-74-1 0 0,-26 99-137 0 0,15-31-1 0 0,-21 53 11 0 0,0 0 0 0 0,0 0 0 0 0,1 1 0 0 0,0 0 0 0 0,0 1 0 0 0,14-13 0 0 0,-18 19 40 0 0,1 0 0 0 0,-1 1 0 0 0,1 0 0 0 0,0 0 0 0 0,-1 0 0 0 0,1 0 0 0 0,0 1 0 0 0,0 0 0 0 0,5-2 0 0 0,-8 3 248 0 0,-1 0 0 0 0,1 0-1 0 0,-1 0 1 0 0,1 0 0 0 0,-1 0-1 0 0,1 0 1 0 0,-1 1 0 0 0,1-1-1 0 0,-1 0 1 0 0,1 0 0 0 0,-1 0-1 0 0,1 0 1 0 0,-1 1 0 0 0,1-1-1 0 0,-1 0 1 0 0,1 0 0 0 0,-1 1-1 0 0,1-1 1 0 0,-1 0 0 0 0,1 1-1 0 0,-1-1 1 0 0,0 0 0 0 0,1 1 0 0 0,-1-1-1 0 0,0 1 1 0 0,1-1 0 0 0,-1 1-1 0 0,0-1 1 0 0,0 1 0 0 0,1-1-1 0 0,-1 1 1 0 0,0-1 0 0 0,0 1-1 0 0,0-1 1 0 0,0 1 0 0 0,0-1-1 0 0,0 1 1 0 0,0 0 0 0 0,1 16-2612 0 0,-1-17 2708 0 0,-4 15-3065 0 0</inkml:trace>
</inkml:ink>
</file>

<file path=ppt/ink/ink4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11:48.09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8 13 2272 0 0,'-3'0'1858'0'0,"-32"2"5280"0"0,37-4-6804 0 0,2 0-258 0 0,-1 0 0 0 0,1 1 0 0 0,0-1 0 0 0,0 1 0 0 0,-1 0 0 0 0,1 0-1 0 0,0 0 1 0 0,0 0 0 0 0,0 1 0 0 0,6-1 0 0 0,49 2 132 0 0,-40 0-119 0 0,306 20 1928 0 0,-323-20-1916 0 0,1-1 0 0 0,-1 1 0 0 0,0-1 0 0 0,1 1 0 0 0,-1 0 1 0 0,0 0-1 0 0,0 0 0 0 0,0 0 0 0 0,0 0 0 0 0,0 1 0 0 0,0-1 0 0 0,0 0 0 0 0,0 1 0 0 0,0 0 0 0 0,-1-1 0 0 0,1 1 0 0 0,0 0 0 0 0,-1 0 0 0 0,0 0 0 0 0,1 0 0 0 0,-1 0 0 0 0,0 0 0 0 0,1 3 0 0 0,1 4 66 0 0,0-1 1 0 0,0 1 0 0 0,-1 0-1 0 0,1 12 1 0 0,5 82-326 0 0,-8-36-4360 0 0,0-51 2235 0 0,2-4-2403 0 0</inkml:trace>
</inkml:ink>
</file>

<file path=ppt/ink/ink4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11:48.45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 171 1036 0 0,'-5'-128'8122'0'0,"2"94"-8515"0"0,4 33 275 0 0,-1 1 0 0 0,0 0 0 0 0,0-1 0 0 0,0 1 0 0 0,0-1 0 0 0,1 1 0 0 0,-1-1 1 0 0,0 1-1 0 0,1 0 0 0 0,-1-1 0 0 0,0 1 0 0 0,0 0 0 0 0,1-1 0 0 0,-1 1 0 0 0,1 0 0 0 0,-1-1 0 0 0,0 1 0 0 0,1 0 1 0 0,-1 0-1 0 0,1 0 0 0 0,-1-1 0 0 0,1 1 0 0 0,-1 0 0 0 0,0 0 0 0 0,1 0 0 0 0,-1 0 0 0 0,1 0 0 0 0,-1 0 1 0 0,1 0-1 0 0,-1 0 0 0 0,1 0 0 0 0,-1 0 0 0 0,1 0 0 0 0,-1 0 0 0 0,1 0 0 0 0,-1 0 0 0 0,1 0 0 0 0,-1 1 0 0 0,0-1 1 0 0,1 0-1 0 0,-1 0 0 0 0,1 1 0 0 0,0-1 203 0 0</inkml:trace>
</inkml:ink>
</file>

<file path=ppt/ink/ink4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11:48.84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528 0 0,'6'13'1342'0'0,"-2"0"-1"0"0,0 0 0 0 0,0 0 1 0 0,-1 0-1 0 0,-1 0 1 0 0,1 25-1 0 0,-3 104 5921 0 0,3-144-7193 0 0,-1 0 0 0 0,0-1 0 0 0,1 1 0 0 0,-1-1 1 0 0,0 1-1 0 0,-1-1 0 0 0,3-4 0 0 0,-1 4 27 0 0,5-8-81 0 0,-1 2 1 0 0,2-1 0 0 0,-1 1-1 0 0,2 0 1 0 0,-1 1-1 0 0,17-12 1 0 0,-23 19-23 0 0,-1 0 0 0 0,0 0-1 0 0,0 1 1 0 0,1-1 0 0 0,-1 1 0 0 0,0-1 0 0 0,1 1 0 0 0,-1 0 0 0 0,0 0 0 0 0,1 0 0 0 0,-1 0 0 0 0,1 0 0 0 0,3 1 0 0 0,-3-1 8 0 0,-1 1-7 0 0,1-1-1 0 0,0 1 1 0 0,0 0 0 0 0,-1 0 0 0 0,1 0 0 0 0,0 0 0 0 0,-1 0 0 0 0,1 0 0 0 0,-1 1 0 0 0,0-1 0 0 0,1 1 0 0 0,-1 0-1 0 0,0 0 1 0 0,0 0 0 0 0,0 0 0 0 0,3 4 0 0 0,0 1-219 0 0,0 1 0 0 0,0 0 0 0 0,5 11 0 0 0,-8-12-139 0 0,1-1-1 0 0,-1 1 1 0 0,-1 0-1 0 0,1 0 0 0 0,-1 0 1 0 0,-1 0-1 0 0,1 0 1 0 0,-1 0-1 0 0,0 0 1 0 0,-1 0-1 0 0,0 8 0 0 0,-1-6-1017 0 0,0-1 0 0 0,0 1-1 0 0,0 0 1 0 0,-7 12-1 0 0,6-11-1762 0 0</inkml:trace>
</inkml:ink>
</file>

<file path=ppt/ink/ink4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11:49.45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83 304 1824 0 0,'0'-2'255'0'0,"-1"0"-1"0"0,1 0 0 0 0,-1 0 1 0 0,0 0-1 0 0,0 0 0 0 0,0 0 1 0 0,0 0-1 0 0,0 0 0 0 0,0 0 1 0 0,-1 0-1 0 0,1 0 1 0 0,0 1-1 0 0,-1-1 0 0 0,0 0 1 0 0,1 1-1 0 0,-1 0 0 0 0,-2-2 1 0 0,0 0 7 0 0,-1 1 1 0 0,1 0-1 0 0,0 0 1 0 0,0 1-1 0 0,-1 0 1 0 0,1-1-1 0 0,-1 1 1 0 0,-4 0-1 0 0,-3 0 15 0 0,1 1 0 0 0,-1 0 1 0 0,1 0-1 0 0,-1 1 0 0 0,1 1 0 0 0,-13 3 1 0 0,16-3-172 0 0,0 0 0 0 0,0 1 0 0 0,1 0 1 0 0,-1 1-1 0 0,0 0 0 0 0,1 0 1 0 0,0 0-1 0 0,0 1 0 0 0,0 0 0 0 0,1 1 1 0 0,-7 6-1 0 0,10-9-42 0 0,0 1 1 0 0,0-1 0 0 0,1 1-1 0 0,-1 0 1 0 0,1 0 0 0 0,0 1-1 0 0,0-1 1 0 0,0 0-1 0 0,0 1 1 0 0,1-1 0 0 0,0 1-1 0 0,0-1 1 0 0,0 1 0 0 0,1 0-1 0 0,-1-1 1 0 0,1 1-1 0 0,0 0 1 0 0,0-1 0 0 0,1 1-1 0 0,1 9 1 0 0,0-8-14 0 0,0 0 1 0 0,0 0-1 0 0,1 0 1 0 0,0 0-1 0 0,0-1 0 0 0,0 1 1 0 0,1-1-1 0 0,-1 0 1 0 0,1 0-1 0 0,0 0 0 0 0,1 0 1 0 0,-1-1-1 0 0,1 0 1 0 0,0 1-1 0 0,0-2 1 0 0,8 6-1 0 0,-10-8-40 0 0,-1 0-1 0 0,0-1 1 0 0,0 1-1 0 0,1 0 1 0 0,-1-1 0 0 0,1 1-1 0 0,-1-1 1 0 0,0 0-1 0 0,1 0 1 0 0,-1 0 0 0 0,1 0-1 0 0,-1 0 1 0 0,0 0-1 0 0,1-1 1 0 0,2 0 0 0 0,0-1-9 0 0,0 1 0 0 0,0-1 1 0 0,0 0-1 0 0,-1 0 1 0 0,1 0-1 0 0,4-4 1 0 0,4-4-26 0 0,-1-2 1 0 0,1 0 0 0 0,-2 0 0 0 0,17-23-1 0 0,-17 21-81 0 0,-10 12 50 0 0,-1 2 52 0 0,1 0-1 0 0,-1 1 1 0 0,0-1 0 0 0,0 0-1 0 0,0 0 1 0 0,0 0-1 0 0,0 0 1 0 0,0 0-1 0 0,1 0 1 0 0,-1 0 0 0 0,0 0-1 0 0,0 0 1 0 0,0 0-1 0 0,0 0 1 0 0,0 0-1 0 0,1 0 1 0 0,-1 0 0 0 0,0 0-1 0 0,0 0 1 0 0,0 0-1 0 0,0 0 1 0 0,1 0 0 0 0,-1 0-1 0 0,0 0 1 0 0,0 0-1 0 0,0 0 1 0 0,0 0-1 0 0,0 0 1 0 0,1 0 0 0 0,-1 0-1 0 0,0 0 1 0 0,0 0-1 0 0,0 0 1 0 0,0-1-1 0 0,0 1 1 0 0,0 0 0 0 0,0 0-1 0 0,1 0 1 0 0,-1 0-1 0 0,0 0 1 0 0,0 0-1 0 0,0-1 1 0 0,0 1 0 0 0,0 0-1 0 0,0 0 1 0 0,0 0-1 0 0,0 0 1 0 0,0 0-1 0 0,0 0 1 0 0,0-1 0 0 0,0 1-1 0 0,0 0 1 0 0,0 0-1 0 0,0 0 1 0 0,0 0-1 0 0,0-1 1 0 0,0 1 0 0 0,0 0-1 0 0,0 0 1 0 0,0 0-1 0 0,0 0 1 0 0,0 0-1 0 0,0-1 1 0 0,0 1 0 0 0,0 0-1 0 0,0 0 1 0 0,0 0-1 0 0,-1 0 2 0 0,1 0 0 0 0,0 0-1 0 0,0 0 1 0 0,-1 0-1 0 0,1 0 1 0 0,0 0-1 0 0,0 0 1 0 0,0 0 0 0 0,-1 0-1 0 0,1 0 1 0 0,0 0-1 0 0,0 0 1 0 0,-1 0 0 0 0,1 0-1 0 0,0 0 1 0 0,0 0-1 0 0,0 1 1 0 0,0-1-1 0 0,-1 0 1 0 0,1 0 0 0 0,0 0-1 0 0,0 0 1 0 0,0 0-1 0 0,0 1 1 0 0,-1-1 0 0 0,1 0-1 0 0,0 0 1 0 0,0 0-1 0 0,0 1 1 0 0,0-1-1 0 0,0 0 1 0 0,0 0 0 0 0,0 0-1 0 0,0 1 1 0 0,0-1-1 0 0,-1 0 1 0 0,1 0 0 0 0,0 1-1 0 0,0-1 1 0 0,0 0-1 0 0,0 0 1 0 0,0 0-1 0 0,0 1 1 0 0,1-1 0 0 0,-1 0-1 0 0,0 0 1 0 0,0 1-1 0 0,0-1 1 0 0,0 0 0 0 0,0 0-1 0 0,0 0 1 0 0,0 1-1 0 0,0 6 28 0 0,0-1 0 0 0,1 1 0 0 0,-1 0 1 0 0,1-1-1 0 0,3 13 0 0 0,-2-15 25 0 0,0-1 0 0 0,0 1 0 0 0,0 0 0 0 0,0-1 0 0 0,1 1 0 0 0,-1-1 0 0 0,1 0 0 0 0,0 0 0 0 0,0 0 0 0 0,6 4 0 0 0,-4-2-19 0 0,1-1-1 0 0,0 0 1 0 0,0-1-1 0 0,0 0 1 0 0,0 0-1 0 0,1 0 1 0 0,-1 0-1 0 0,1-1 1 0 0,0 0-1 0 0,0-1 1 0 0,-1 0-1 0 0,1 0 1 0 0,0 0-1 0 0,0-1 1 0 0,0 0-1 0 0,0 0 1 0 0,0 0-1 0 0,0-1 1 0 0,0-1-1 0 0,0 1 1 0 0,8-3-1 0 0,-4 0-36 0 0,0-1 0 0 0,0 1 0 0 0,-1-2-1 0 0,1 0 1 0 0,-1 0 0 0 0,-1 0 0 0 0,1-1-1 0 0,-1-1 1 0 0,-1 0 0 0 0,1 0 0 0 0,13-17-1 0 0,-4-2-27 0 0,-1-1 0 0 0,-1-1 0 0 0,-2-1-1 0 0,0 1 1 0 0,-2-2 0 0 0,-2 0 0 0 0,-1 0-1 0 0,10-65 1 0 0,-18 91 61 0 0,0 0 1 0 0,-1 0-1 0 0,0 0 0 0 0,0 0 1 0 0,0 0-1 0 0,-1 0 0 0 0,0 0 1 0 0,0 0-1 0 0,0 0 1 0 0,0 0-1 0 0,-1 0 0 0 0,-4-9 1 0 0,5 13-3 0 0,0-1 1 0 0,0 1 0 0 0,0-1-1 0 0,-1 1 1 0 0,1-1 0 0 0,-1 1 0 0 0,1-1-1 0 0,-1 1 1 0 0,1 0 0 0 0,-1 0-1 0 0,0 0 1 0 0,1 0 0 0 0,-1 0 0 0 0,0 1-1 0 0,0-1 1 0 0,0 0 0 0 0,0 1-1 0 0,0-1 1 0 0,0 1 0 0 0,1 0-1 0 0,-1-1 1 0 0,0 1 0 0 0,0 0 0 0 0,0 0-1 0 0,0 1 1 0 0,0-1 0 0 0,0 0-1 0 0,0 1 1 0 0,0-1 0 0 0,0 1 0 0 0,0-1-1 0 0,0 1 1 0 0,0 0 0 0 0,1 0-1 0 0,-4 2 1 0 0,-4 2 72 0 0,1 0 0 0 0,-1 1 0 0 0,1 0 1 0 0,0 0-1 0 0,1 1 0 0 0,0 0 0 0 0,0 0 0 0 0,0 1 0 0 0,1 0 0 0 0,0 0 0 0 0,0 1 0 0 0,1-1 0 0 0,1 1 0 0 0,-1 0 1 0 0,1 1-1 0 0,-3 9 0 0 0,-4 17 118 0 0,2 1-1 0 0,-10 70 1 0 0,17-84-389 0 0,0-1 1 0 0,1 1-1 0 0,2 0 0 0 0,0 0 1 0 0,1 0-1 0 0,1-1 0 0 0,8 28 1 0 0,-10-46-117 0 0,1 1 0 0 0,0-1 1 0 0,0 1-1 0 0,0-1 0 0 0,0 0 1 0 0,0 0-1 0 0,1 0 0 0 0,0 0 1 0 0,0 0-1 0 0,0 0 0 0 0,0-1 1 0 0,7 6-1 0 0,-7-7-328 0 0,0 0 1 0 0,0 0 0 0 0,1 0-1 0 0,-1-1 1 0 0,1 1 0 0 0,-1-1-1 0 0,1 0 1 0 0,-1 0-1 0 0,1 0 1 0 0,6 1 0 0 0,7-2-3702 0 0</inkml:trace>
</inkml:ink>
</file>

<file path=ppt/ink/ink4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11:50.40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98 337 1068 0 0,'14'-11'7591'0'0,"-14"11"-7546"0"0,-9 36 2289 0 0,4-21-1917 0 0,-10 60 1350 0 0,-7 82-1 0 0,0 8 956 0 0,22-164-2632 0 0,0 0 0 0 0,0-1 1 0 0,0 1-1 0 0,-1-1 0 0 0,1 1 0 0 0,0 0 1 0 0,0-1-1 0 0,0 1 0 0 0,-1 0 1 0 0,1-1-1 0 0,0 1 0 0 0,0-1 1 0 0,-1 1-1 0 0,1-1 0 0 0,0 1 0 0 0,-1-1 1 0 0,1 1-1 0 0,-1-1 0 0 0,1 1 1 0 0,-1-1-1 0 0,1 1 0 0 0,-1-1 1 0 0,1 0-1 0 0,-1 1 0 0 0,0-1-64 0 0,0 0 0 0 0,1 0 0 0 0,-1 0 1 0 0,0 0-1 0 0,1 0 0 0 0,-1-1 0 0 0,1 1 0 0 0,-1 0 0 0 0,1 0 0 0 0,-1 0 0 0 0,1-1 0 0 0,-1 1 0 0 0,0 0 1 0 0,1-1-1 0 0,0 1 0 0 0,-1-1 0 0 0,1 1 0 0 0,-1 0 0 0 0,1-1 0 0 0,-1 0 0 0 0,-1-1-25 0 0,0-1 1 0 0,0 1-1 0 0,0-1 0 0 0,1 0 0 0 0,-1 1 0 0 0,1-1 1 0 0,0 0-1 0 0,0 0 0 0 0,-1-4 0 0 0,0-12-141 0 0,1 0 0 0 0,2-1-1 0 0,0 1 1 0 0,0 0 0 0 0,2-1 0 0 0,1 1 0 0 0,0 1-1 0 0,1-1 1 0 0,13-31 0 0 0,1 7-106 0 0,2 0 1 0 0,47-71-1 0 0,-55 96 143 0 0,0 1-1 0 0,1-1 0 0 0,28-26 1 0 0,-35 38 63 0 0,1-1 0 0 0,0 1 1 0 0,0 0-1 0 0,1 1 0 0 0,0 0 1 0 0,0 1-1 0 0,0-1 0 0 0,0 2 1 0 0,0-1-1 0 0,12-2 1 0 0,-18 6 30 0 0,0-1 0 0 0,0 1 0 0 0,-1-1 1 0 0,1 1-1 0 0,0 0 0 0 0,0 0 1 0 0,0 0-1 0 0,-1 1 0 0 0,1-1 1 0 0,0 1-1 0 0,0-1 0 0 0,-1 1 0 0 0,1 0 1 0 0,0 0-1 0 0,-1 0 0 0 0,1 0 1 0 0,-1 1-1 0 0,1-1 0 0 0,-1 1 1 0 0,0-1-1 0 0,0 1 0 0 0,0 0 0 0 0,0 0 1 0 0,0 0-1 0 0,0 0 0 0 0,0 0 1 0 0,0 0-1 0 0,-1 1 0 0 0,1-1 0 0 0,-1 1 1 0 0,0-1-1 0 0,2 4 0 0 0,-2-2-18 0 0,1 1-1 0 0,-1 0 1 0 0,0 0-1 0 0,0-1 1 0 0,0 1-1 0 0,-1 0 1 0 0,1 0-1 0 0,-1 0 1 0 0,0 0-1 0 0,-1 0 1 0 0,1 0-1 0 0,-1 0 0 0 0,0-1 1 0 0,0 1-1 0 0,-1 0 1 0 0,1-1-1 0 0,-3 6 1 0 0,-3 0-41 0 0,1 1 0 0 0,-2-1 0 0 0,1 0 0 0 0,-1 0 0 0 0,-1-1 0 0 0,-16 14 0 0 0,-64 42-181 0 0,45-36 96 0 0,42-28 151 0 0,1 0 0 0 0,-1 0 0 0 0,1 1 1 0 0,-1-1-1 0 0,1 0 0 0 0,0 1 0 0 0,0-1 0 0 0,0 0 1 0 0,0 1-1 0 0,0 0 0 0 0,0-1 0 0 0,0 1 0 0 0,0-1 0 0 0,1 1 1 0 0,-1 0-1 0 0,1 0 0 0 0,-1-1 0 0 0,1 1 0 0 0,-1 2 1 0 0,1 0 4 0 0,0-1 1 0 0,1 0 0 0 0,-1 1 0 0 0,1-1 0 0 0,-1 0-1 0 0,1 1 1 0 0,0-1 0 0 0,0 0 0 0 0,3 6-1 0 0,4 4 21 0 0,0 0-1 0 0,1-1 0 0 0,18 20 0 0 0,-20-23-27 0 0,8 9-564 0 0,1 0 0 0 0,1-1 1 0 0,0-1-1 0 0,37 26 0 0 0,-48-38 231 0 0,1 1 1 0 0,0-2-1 0 0,0 1 0 0 0,0-1 0 0 0,1 0 0 0 0,-1-1 1 0 0,1 0-1 0 0,-1 0 0 0 0,1 0 0 0 0,0-1 1 0 0,0 0-1 0 0,0-1 0 0 0,0 0 0 0 0,0 0 0 0 0,-1 0 1 0 0,1-1-1 0 0,0-1 0 0 0,11-2 0 0 0,0-2 118 0 0,1-2 0 0 0,-1 0 1 0 0,-1-1-1 0 0,32-20 0 0 0,-40 23 481 0 0,-1-1 0 0 0,0 0 0 0 0,0-1 0 0 0,-1 1 0 0 0,0-2 1 0 0,-1 1-1 0 0,1-1 0 0 0,-2 0 0 0 0,1-1 0 0 0,5-11 0 0 0,-11 19-154 0 0,1-1 1 0 0,-1 1-1 0 0,-1-1 0 0 0,1 1 1 0 0,0-1-1 0 0,0 1 0 0 0,-1-1 1 0 0,0 1-1 0 0,1-1 0 0 0,-1 1 1 0 0,0-1-1 0 0,0 0 0 0 0,-1 1 1 0 0,1-1-1 0 0,0 1 0 0 0,-1-1 1 0 0,0 1-1 0 0,1-1 0 0 0,-1 1 1 0 0,0-1-1 0 0,0 1 0 0 0,-1 0 1 0 0,-2-5-1 0 0,2 5-19 0 0,-1-1 0 0 0,1 1 0 0 0,-1 0 0 0 0,0-1 0 0 0,0 1 0 0 0,0 1 0 0 0,0-1 0 0 0,0 0 0 0 0,0 1 0 0 0,-1 0 0 0 0,1-1 0 0 0,0 1 1 0 0,-1 0-1 0 0,1 1 0 0 0,-1-1 0 0 0,1 1 0 0 0,-1 0 0 0 0,-5 0 0 0 0,0 0 29 0 0,1 0 1 0 0,0 1-1 0 0,-1 0 1 0 0,1 0-1 0 0,0 1 1 0 0,-9 3-1 0 0,14-4-72 0 0,0 0-1 0 0,0 1 0 0 0,0-1 0 0 0,1 0 0 0 0,-1 1 0 0 0,1 0 0 0 0,-1 0 1 0 0,1-1-1 0 0,0 1 0 0 0,-1 1 0 0 0,1-1 0 0 0,0 0 0 0 0,0 1 0 0 0,0-1 0 0 0,1 1 1 0 0,-1-1-1 0 0,1 1 0 0 0,-1 0 0 0 0,1-1 0 0 0,-1 5 0 0 0,2-7-34 0 0,0 1 0 0 0,0 0 0 0 0,0 0 0 0 0,0 0 0 0 0,0 0 0 0 0,0-1-1 0 0,0 1 1 0 0,0 0 0 0 0,0 0 0 0 0,1 0 0 0 0,-1-1 0 0 0,0 1 0 0 0,1 0-1 0 0,-1 0 1 0 0,0-1 0 0 0,1 1 0 0 0,-1 0 0 0 0,1-1 0 0 0,-1 1 0 0 0,1 0 0 0 0,-1-1-1 0 0,1 1 1 0 0,0-1 0 0 0,-1 1 0 0 0,1-1 0 0 0,0 1 0 0 0,-1-1 0 0 0,2 1-1 0 0,-1 0-41 0 0,1 0-1 0 0,0 0 0 0 0,0 0 0 0 0,-1-1 0 0 0,1 1 0 0 0,0-1 0 0 0,0 1 0 0 0,0-1 0 0 0,0 1 0 0 0,0-1 0 0 0,4 0 0 0 0,3-2-184 0 0,0 0 0 0 0,0-1 0 0 0,0 0 1 0 0,-1 0-1 0 0,1-1 0 0 0,11-7 0 0 0,5-1-11 0 0,-23 11 209 0 0,-1 1 23 0 0,-1 0 0 0 0,0 0 0 0 0,1 0 0 0 0,-1 0 0 0 0,0 0-1 0 0,1 0 1 0 0,-1 0 0 0 0,0 0 0 0 0,1 0 0 0 0,-1 0 0 0 0,0 0 0 0 0,1 0 0 0 0,-1 0 0 0 0,0 0-1 0 0,1 0 1 0 0,-1-1 0 0 0,0 1 0 0 0,0 0 0 0 0,1 0 0 0 0,-1 0 0 0 0,0-1 0 0 0,0 1-1 0 0,1 0 1 0 0,-1 0 0 0 0,0 0 0 0 0,0-1 0 0 0,1 1 0 0 0,-1-1 0 0 0,-8 8 554 0 0,6-5-468 0 0,1 0 1 0 0,-1 0-1 0 0,1 0 1 0 0,0 0-1 0 0,-1 0 1 0 0,1 1-1 0 0,0-1 0 0 0,0 0 1 0 0,1 1-1 0 0,-1-1 1 0 0,0 0-1 0 0,1 1 1 0 0,-1-1-1 0 0,1 1 0 0 0,0-1 1 0 0,0 1-1 0 0,0-1 1 0 0,0 1-1 0 0,0-1 1 0 0,1 1-1 0 0,-1-1 1 0 0,1 0-1 0 0,0 1 0 0 0,-1-1 1 0 0,1 1-1 0 0,0-1 1 0 0,2 2-1 0 0,-2-1-20 0 0,1 0 1 0 0,0 0-1 0 0,1 0 0 0 0,-1 0 0 0 0,0-1 1 0 0,1 1-1 0 0,-1-1 0 0 0,1 0 0 0 0,0 1 1 0 0,0-1-1 0 0,0-1 0 0 0,0 1 0 0 0,0 0 1 0 0,0-1-1 0 0,0 1 0 0 0,1-1 0 0 0,-1 0 0 0 0,0 0 1 0 0,7 0-1 0 0,-3 0-75 0 0,0-1 0 0 0,0 0 0 0 0,0 0 0 0 0,0-1 1 0 0,0 0-1 0 0,0 0 0 0 0,0-1 0 0 0,-1 0 0 0 0,1 0 0 0 0,0-1 0 0 0,-1 1 0 0 0,0-2 1 0 0,1 1-1 0 0,-1 0 0 0 0,0-1 0 0 0,-1 0 0 0 0,1-1 0 0 0,-1 1 0 0 0,0-1 0 0 0,0 0 0 0 0,0-1 1 0 0,5-7-1 0 0,8-12-402 0 0,-1-2 1 0 0,-1 0-1 0 0,21-52 1 0 0,-20 43 222 0 0,122-318 2694 0 0,-120 300-1643 0 0,-19 52-500 0 0,-1 3-336 0 0,0 0 0 0 0,0 0-1 0 0,-1 0 1 0 0,1 0 0 0 0,0 0-1 0 0,0 0 1 0 0,0 0 0 0 0,0 0-1 0 0,1 0 1 0 0,-1 0 0 0 0,0 0-1 0 0,0 1 1 0 0,1-1 0 0 0,-1 0-1 0 0,1 1 1 0 0,-2 2 0 0 0,2-4-5 0 0,-11 33 116 0 0,1 1-1 0 0,2 0 0 0 0,1 0 0 0 0,-3 41 0 0 0,7-46-97 0 0,-30 179-1270 0 0,2-73-4752 0 0,17-99-668 0 0</inkml:trace>
</inkml:ink>
</file>

<file path=ppt/ink/ink4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11:50.77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18 356 0 0,'0'-3'227'0'0,"-1"1"0"0"0,1 0 0 0 0,0-1 1 0 0,0 1-1 0 0,0 0 0 0 0,0-1 0 0 0,1 1 0 0 0,-1 0 0 0 0,0-1 0 0 0,1 1 0 0 0,0 0 1 0 0,-1 0-1 0 0,1-1 0 0 0,0 1 0 0 0,0 0 0 0 0,0 0 0 0 0,2-2 0 0 0,0 0-58 0 0,0 1-1 0 0,0 0 0 0 0,0 0 1 0 0,0 1-1 0 0,0-1 0 0 0,1 0 1 0 0,-1 1-1 0 0,8-4 0 0 0,5 0 2 0 0,0 0 0 0 0,1 1 0 0 0,28-6 0 0 0,-39 10-42 0 0,22-5 438 0 0,0 2 0 0 0,29-2 0 0 0,-48 6-172 0 0,-1 0 1 0 0,0 0 0 0 0,0 0 0 0 0,0 1 0 0 0,0 1 0 0 0,0-1-1 0 0,0 1 1 0 0,0 1 0 0 0,-1-1 0 0 0,1 1 0 0 0,14 8 0 0 0,-19-8-156 0 0,1 0 1 0 0,-1 0-1 0 0,0 1 1 0 0,0-1-1 0 0,0 1 1 0 0,0-1 0 0 0,-1 1-1 0 0,1 0 1 0 0,-1 0-1 0 0,0 0 1 0 0,0 0 0 0 0,0 1-1 0 0,-1-1 1 0 0,0 0-1 0 0,1 1 1 0 0,-2-1 0 0 0,1 1-1 0 0,0 7 1 0 0,0 8 219 0 0,-1 1 1 0 0,-6 38 0 0 0,4-40-296 0 0,0-9-447 0 0,1-1 0 0 0,-2 0 0 0 0,-4 13 0 0 0,5-16-356 0 0,0-1 0 0 0,-1 1 0 0 0,0-1 1 0 0,0 0-1 0 0,0 0 0 0 0,-4 6 0 0 0,-4-5-3975 0 0</inkml:trace>
</inkml:ink>
</file>

<file path=ppt/ink/ink4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11:51.14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15 1548 0 0,'5'-53'7239'0'0,"0"-2"-2980"0"0,-5 54-4302 0 0,0 1 1 0 0,0 0-1 0 0,0 0 1 0 0,0-1-1 0 0,0 1 1 0 0,1 0 0 0 0,-1 0-1 0 0,0-1 1 0 0,0 1-1 0 0,0 0 1 0 0,0 0-1 0 0,0 0 1 0 0,0-1-1 0 0,0 1 1 0 0,1 0-1 0 0,-1 0 1 0 0,0 0-1 0 0,0-1 1 0 0,0 1-1 0 0,0 0 1 0 0,1 0-1 0 0,-1 0 1 0 0,0 0-1 0 0,0 0 1 0 0,1-1-1 0 0,-1 1 1 0 0,0 0-1 0 0,0 0 1 0 0,0 0-1 0 0,1 0 1 0 0,-1 0 0 0 0,0 0-1 0 0,0 0 1 0 0,1 0-1 0 0,-1 0 1 0 0,0 0-1 0 0,0 0 1 0 0,1 0-1 0 0,-1 0 1 0 0,0 0-1 0 0,0 0 1 0 0,1 0-1 0 0,-1 0 1 0 0,1 1-1 0 0,13 6-2300 0 0,16 23-1960 0 0,-19-21 2219 0 0</inkml:trace>
</inkml:ink>
</file>

<file path=ppt/ink/ink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4:30.94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75 107 1260 0 0,'-7'-3'363'0'0,"0"1"0"0"0,0 0 0 0 0,-1 0 0 0 0,1 1 0 0 0,-1 0-1 0 0,1 0 1 0 0,-1 1 0 0 0,0 0 0 0 0,1 0 0 0 0,-16 3 0 0 0,12-1-34 0 0,0 1 1 0 0,-1 1-1 0 0,1 0 1 0 0,0 0-1 0 0,1 1 1 0 0,-17 11-1 0 0,11-6-51 0 0,1 1-1 0 0,1 1 1 0 0,0 0-1 0 0,0 1 0 0 0,1 1 1 0 0,1 0-1 0 0,0 0 1 0 0,-17 30-1 0 0,22-31-155 0 0,0 1 1 0 0,1 0-1 0 0,1 0 1 0 0,0 0-1 0 0,1 1 1 0 0,1 0-1 0 0,0-1 1 0 0,0 1-1 0 0,2 1 1 0 0,0-1-1 0 0,1 0 1 0 0,0 0-1 0 0,1 0 1 0 0,1 0-1 0 0,5 21 1 0 0,-2-17-53 0 0,1-1 0 0 0,1 1 1 0 0,0-1-1 0 0,2-1 0 0 0,0 1 1 0 0,0-1-1 0 0,2-1 0 0 0,0 0 1 0 0,1 0-1 0 0,1-1 0 0 0,20 19 1 0 0,-14-17 29 0 0,0-1 0 0 0,1-1 0 0 0,0 0 0 0 0,1-2 0 0 0,1 0 1 0 0,39 16-1 0 0,-47-24-37 0 0,0 0 0 0 0,0-1 0 0 0,1-1 1 0 0,-1 0-1 0 0,1-1 0 0 0,-1-1 0 0 0,1 0 0 0 0,0-1 1 0 0,0 0-1 0 0,-1-1 0 0 0,1-1 0 0 0,26-7 0 0 0,-20 2 50 0 0,0-1-1 0 0,-1-1 0 0 0,0-1 0 0 0,0-1 0 0 0,-1 0 1 0 0,0-2-1 0 0,-1 0 0 0 0,-1-1 0 0 0,0 0 1 0 0,-1-2-1 0 0,28-33 0 0 0,-26 26 4 0 0,-2-1 0 0 0,0 0 0 0 0,-1-1-1 0 0,-2 0 1 0 0,0-1 0 0 0,-2-1 0 0 0,-1 0 0 0 0,13-52 0 0 0,-20 60-69 0 0,-1 1 1 0 0,0-1-1 0 0,-2 0 1 0 0,0 0-1 0 0,-1 0 0 0 0,0 1 1 0 0,-8-33-1 0 0,2 27-22 0 0,0 0-1 0 0,-1 0 1 0 0,-2 1-1 0 0,0 0 0 0 0,-18-27 1 0 0,24 43-186 0 0,0 1 1 0 0,-1-1-1 0 0,1 1 0 0 0,-1 0 1 0 0,-1 1-1 0 0,1-1 1 0 0,-1 1-1 0 0,0 0 0 0 0,-1 1 1 0 0,-7-5-1 0 0,9 6-456 0 0,0 1 0 0 0,0 0 0 0 0,-1 0 0 0 0,1 0 0 0 0,-1 0 0 0 0,0 1 0 0 0,-11-1 0 0 0,16 2 376 0 0,-1-1-1 0 0,1 1 0 0 0,0 0 0 0 0,-1 0 0 0 0,1 0 1 0 0,-1 1-1 0 0,1-1 0 0 0,0 0 0 0 0,-1 0 1 0 0,1 1-1 0 0,0-1 0 0 0,-1 1 0 0 0,1-1 1 0 0,-1 2-1 0 0,-4 0-750 0 0,-10 2-2580 0 0</inkml:trace>
</inkml:ink>
</file>

<file path=ppt/ink/ink4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11:51.50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356 0 0,'16'16'2495'0'0,"-10"-10"-1726"0"0,-1-1-1 0 0,1 1 0 0 0,-1-1 0 0 0,-1 1 1 0 0,1 1-1 0 0,-1-1 0 0 0,0 1 0 0 0,0-1 1 0 0,-1 1-1 0 0,0 0 0 0 0,0 0 0 0 0,2 10 1 0 0,1 26 324 0 0,0 0 1 0 0,-3 0 0 0 0,-3 45 0 0 0,0-71-807 0 0,0-15 228 0 0,0-3-514 0 0,0 1 0 0 0,-1 0 1 0 0,1 0-1 0 0,-1-1 0 0 0,1 1 1 0 0,0 0-1 0 0,0 0 0 0 0,-1-1 1 0 0,1 1-1 0 0,0-1 0 0 0,0 1 1 0 0,-1 0-1 0 0,1-1 0 0 0,0 1 1 0 0,0 0-1 0 0,0-1 0 0 0,0 1 1 0 0,-1-1-1 0 0,1 1 0 0 0,0 0 1 0 0,0-1-1 0 0,0 1 0 0 0,0-1 1 0 0,0 1-1 0 0,0-1 0 0 0,0 0 1 0 0,5-11-140 0 0,0-1 1 0 0,1 1 0 0 0,0 0 0 0 0,1 0 0 0 0,0 1 0 0 0,1-1-1 0 0,0 2 1 0 0,1-1 0 0 0,0 1 0 0 0,0 0 0 0 0,22-15 0 0 0,-15 18-28 0 0,-13 5 111 0 0,16 4-68 0 0,-18-2 116 0 0,0 0-1 0 0,0 1 0 0 0,1-1 1 0 0,-1 1-1 0 0,0-1 0 0 0,0 1 1 0 0,0-1-1 0 0,0 1 0 0 0,1 0 1 0 0,-1 0-1 0 0,0-1 0 0 0,0 1 1 0 0,0 0-1 0 0,-1 0 0 0 0,1 0 1 0 0,0 0-1 0 0,1 2 0 0 0,11 20-24 0 0,-10-16 4 0 0,16 35-16 0 0,-9-21 63 0 0,17 32 1 0 0,-24-48 7 0 0,0-1-1 0 0,1 1 1 0 0,-1 0 0 0 0,1-1 0 0 0,0 0 0 0 0,0 0 0 0 0,1 0 0 0 0,-1 0 0 0 0,1-1 0 0 0,0 0 0 0 0,6 4-1 0 0,-6-6-1 0 0,0 0-1 0 0,0 0 1 0 0,0 0-1 0 0,0-1 1 0 0,0 1-1 0 0,0-1 1 0 0,0-1-1 0 0,1 1 1 0 0,-1-1-1 0 0,0 0 1 0 0,0 0-1 0 0,-1 0 0 0 0,1 0 1 0 0,0-1-1 0 0,8-4 1 0 0,-3 0-16 0 0,0 0 0 0 0,-1-1 0 0 0,0 0 0 0 0,0 0 0 0 0,0-1 1 0 0,-1 0-1 0 0,0-1 0 0 0,9-12 0 0 0,3-9-20 0 0,21-43 0 0 0,-8 15-62 0 0,-21 36-86 0 0,-11 20 125 0 0,-1 5-57 0 0,-1 14 73 0 0,-2 0-1 0 0,0 0 1 0 0,-7 26 0 0 0,-3 8 149 0 0,12-47-121 0 0,-14 76 849 0 0,-42 128-1 0 0,54-199-771 0 0,0-1 0 0 0,-1-1 0 0 0,0 1 0 0 0,-1 0 0 0 0,-10 13 0 0 0,13-18-54 0 0,-1 0 0 0 0,0 0 1 0 0,0 0-1 0 0,0-1 0 0 0,-1 1 0 0 0,1-1 0 0 0,-1 1 0 0 0,1-1 1 0 0,-1-1-1 0 0,0 1 0 0 0,1 0 0 0 0,-1-1 0 0 0,-7 2 0 0 0,10-3-43 0 0,0 0 0 0 0,0 0-1 0 0,0 0 1 0 0,0 0 0 0 0,0 0-1 0 0,0 0 1 0 0,0 0-1 0 0,0 0 1 0 0,0-1 0 0 0,0 1-1 0 0,0 0 1 0 0,0-1 0 0 0,0 1-1 0 0,0-1 1 0 0,0 1-1 0 0,0-1 1 0 0,1 1 0 0 0,-1-1-1 0 0,0 0 1 0 0,0 1 0 0 0,0-1-1 0 0,1 0 1 0 0,-1 0-1 0 0,0 0 1 0 0,1 1 0 0 0,-1-1-1 0 0,1 0 1 0 0,-1 0 0 0 0,1 0-1 0 0,-1 0 1 0 0,1 0-1 0 0,0 0 1 0 0,-1 0 0 0 0,1-1-1 0 0,-1-2-89 0 0,0 1-1 0 0,0-1 1 0 0,1 0-1 0 0,-1 1 0 0 0,1-1 1 0 0,0 0-1 0 0,1-6 1 0 0,2-5-250 0 0,1 0 1 0 0,1 0-1 0 0,0 0 1 0 0,1 0 0 0 0,11-19-1 0 0,45-66-671 0 0,-60 97 1000 0 0,39-57-370 0 0,-13 23 179 0 0,-3-2 0 0 0,-1-1 1 0 0,27-60-1 0 0,-50 96 201 0 0,0 1 0 0 0,0 0 0 0 0,0-1 0 0 0,0 1 0 0 0,0-1 0 0 0,-1 1 0 0 0,1-1 0 0 0,-1 1 0 0 0,0-1 0 0 0,0 1 0 0 0,0-1 0 0 0,0 1 0 0 0,-1-1 0 0 0,0 1 0 0 0,-1-5 0 0 0,1 6 4 0 0,0 0 1 0 0,0 0-1 0 0,-1 0 0 0 0,1 0 0 0 0,-1 0 0 0 0,0 0 0 0 0,1 1 1 0 0,-1-1-1 0 0,0 0 0 0 0,0 1 0 0 0,0-1 0 0 0,0 1 1 0 0,0 0-1 0 0,0 0 0 0 0,0 0 0 0 0,-1 0 0 0 0,1 0 0 0 0,0 0 1 0 0,-1 1-1 0 0,1-1 0 0 0,0 1 0 0 0,-1 0 0 0 0,-2-1 1 0 0,-4 1-89 0 0,1 0 1 0 0,-1 1 0 0 0,1-1 0 0 0,0 2-1 0 0,-1-1 1 0 0,1 1 0 0 0,0 0-1 0 0,0 1 1 0 0,0 0 0 0 0,1 0 0 0 0,-15 9-1 0 0,18-10-70 0 0,1 0 0 0 0,0 1-1 0 0,-1-1 1 0 0,1 1 0 0 0,0 0-1 0 0,0 0 1 0 0,1 0-1 0 0,-1 0 1 0 0,1 0 0 0 0,-1 1-1 0 0,-2 6 1 0 0,4-8-32 0 0,0 1-1 0 0,0 0 1 0 0,1-1 0 0 0,-1 1 0 0 0,1 0 0 0 0,-1 0 0 0 0,1 0-1 0 0,0 0 1 0 0,0 0 0 0 0,0-1 0 0 0,1 1 0 0 0,-1 0-1 0 0,1 0 1 0 0,-1 0 0 0 0,1 0 0 0 0,0-1 0 0 0,0 1-1 0 0,2 3 1 0 0,6 8-1754 0 0,1-3-233 0 0</inkml:trace>
</inkml:ink>
</file>

<file path=ppt/ink/ink4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6:11:51.99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81 38 1244 0 0,'45'-32'5905'0'0,"-44"31"-5515"0"0,4-2-14 0 0,-5 3-362 0 0,0 0 0 0 0,0 0-1 0 0,0 0 1 0 0,1 0 0 0 0,-1-1 0 0 0,0 1-1 0 0,0 0 1 0 0,0 0 0 0 0,0 0 0 0 0,0 0-1 0 0,0 0 1 0 0,0 0 0 0 0,0 0 0 0 0,0 0-1 0 0,0 0 1 0 0,0 0 0 0 0,0 0 0 0 0,0 0-1 0 0,0 0 1 0 0,1 0 0 0 0,-1-1 0 0 0,0 1-1 0 0,0 0 1 0 0,0 0 0 0 0,0 0 0 0 0,0 0-1 0 0,0 0 1 0 0,0 0 0 0 0,0 0 0 0 0,0 0-1 0 0,1 0 1 0 0,-1 0 0 0 0,0 0 0 0 0,0 0-1 0 0,0 0 1 0 0,0 0 0 0 0,0 0 0 0 0,0 0-1 0 0,0 0 1 0 0,0 1 0 0 0,0-1 0 0 0,1 0-1 0 0,-1 0 1 0 0,0 0 0 0 0,0 0 0 0 0,0 0-1 0 0,0 0 1 0 0,0 0 0 0 0,0 0 0 0 0,0 0-1 0 0,0 0 1 0 0,0 0 0 0 0,0 0 0 0 0,0 0-1 0 0,0 0 1 0 0,0 1 0 0 0,0-1 0 0 0,0 0-1 0 0,0 0 1 0 0,0 0 0 0 0,1 0 0 0 0,-1 0-1 0 0,-6 29 392 0 0,2-1 0 0 0,0 1 0 0 0,3 0-1 0 0,0 0 1 0 0,5 45 0 0 0,-2-45-38 0 0,-1-19-235 0 0,-1 0-1 0 0,0-1 1 0 0,-1 1 0 0 0,0 0-1 0 0,0-1 1 0 0,-1 1-1 0 0,0-1 1 0 0,0 1 0 0 0,-5 9-1 0 0,6-19-124 0 0,1 1-1 0 0,-1 0 0 0 0,1 0 0 0 0,-1-1 1 0 0,1 1-1 0 0,-1 0 0 0 0,0-1 1 0 0,0 1-1 0 0,1-1 0 0 0,-1 1 1 0 0,0-1-1 0 0,0 1 0 0 0,1-1 1 0 0,-1 0-1 0 0,0 1 0 0 0,0-1 1 0 0,0 0-1 0 0,0 0 0 0 0,0 0 1 0 0,1 1-1 0 0,-1-1 0 0 0,0 0 1 0 0,0 0-1 0 0,0 0 0 0 0,0 0 1 0 0,0-1-1 0 0,0 1 0 0 0,0 0 1 0 0,1 0-1 0 0,-1 0 0 0 0,0-1 1 0 0,0 1-1 0 0,-1-1 0 0 0,-1 0-35 0 0,1 0 0 0 0,0 0-1 0 0,0 0 1 0 0,0 0-1 0 0,0 0 1 0 0,0-1 0 0 0,0 1-1 0 0,0 0 1 0 0,1-1 0 0 0,-1 0-1 0 0,0 1 1 0 0,-1-3-1 0 0,1 0-97 0 0,0 0 0 0 0,1-1 0 0 0,-1 1 0 0 0,1-1-1 0 0,0 1 1 0 0,0-1 0 0 0,1 0 0 0 0,-1 1 0 0 0,1-1-1 0 0,0 1 1 0 0,1-8 0 0 0,1-6-170 0 0,8-29 0 0 0,-2 10 526 0 0,-8 37-209 0 0,0-1 0 0 0,0 1 0 0 0,0-1 0 0 0,0 1 0 0 0,0-1 0 0 0,0 1 1 0 0,0-1-1 0 0,0 0 0 0 0,0 1 0 0 0,0-1 0 0 0,0 1 0 0 0,0-1 0 0 0,0 1 0 0 0,0-1 0 0 0,-1 1 0 0 0,1-1 0 0 0,0 1 0 0 0,0-1 1 0 0,-1 1-1 0 0,1 0 0 0 0,0-1 0 0 0,-1 1 0 0 0,1-1 0 0 0,0 1 0 0 0,-1 0 0 0 0,1-1 0 0 0,0 1 0 0 0,-1 0 0 0 0,1-1 0 0 0,-1 1 1 0 0,1 0-1 0 0,-1 0 0 0 0,0-1 0 0 0,-1 1 18 0 0,0-1 1 0 0,-1 1-1 0 0,1 0 1 0 0,0 0-1 0 0,0 0 1 0 0,0 0-1 0 0,0 0 1 0 0,-4 1-1 0 0,-33 10 152 0 0,38-11-184 0 0,-7 3 0 0 0,0 1 0 0 0,0 1 0 0 0,1-1 1 0 0,-1 1-1 0 0,-12 11 0 0 0,-10 14-2717 0 0,23-18-1265 0 0</inkml:trace>
</inkml:ink>
</file>

<file path=ppt/ink/ink452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767" units="cm"/>
          <inkml:channel name="Y" type="integer" max="32767" units="cm"/>
          <inkml:channel name="F" type="integer" max="8191" units="dev"/>
          <inkml:channel name="T" type="integer" max="2.14748E9" units="dev"/>
        </inkml:traceFormat>
        <inkml:channelProperties>
          <inkml:channelProperty channel="X" name="resolution" value="1290.03943" units="1/cm"/>
          <inkml:channelProperty channel="Y" name="resolution" value="2064.71338" units="1/cm"/>
          <inkml:channelProperty channel="F" name="resolution" value="0" units="1/dev"/>
          <inkml:channelProperty channel="T" name="resolution" value="1" units="1/dev"/>
        </inkml:channelProperties>
      </inkml:inkSource>
      <inkml:timestamp xml:id="ts0" timeString="2021-12-11T12:01:00.078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13877 3279 12 0,'-10'-4'153'0,"10"4"-17"16,-8-2-35-16,8 2-20 0,-6-3-21 15,6 3-9-15,-5-4-14 0,5 4 23 0,0 0 0 0,-9-6-19 16,9 6-11-16,0 0-2 0,-6-5-6 0,6 5-6 16,0 0-5-16,-7-5 1 0,7 5-5 0,0 0 2 15,0 0-5-15,-5-3 0 0,5 3 3 0,0 0-9 16,0 0 3-16,0 0 1 0,-4-5 0 0,4 5-2 16,0 0 0-16,0 0 10 0,-7-4 23 0,7 4 15 15,0 0 19-15,0 0 2 0,-7-4 28 0,7 4 0 16,0 0 6-16,0 0-17 0,-5-4 21 15,5 4-29-15,0 0 18 0,0 0-50 0,0 0 14 0,0 0-37 16,0 0 6-16,0 0-31 0,0 0 14 0,0 0-21 16,0 0 18-16,0 8-16 0,4-2 16 0,1 4-17 15,-1 2 22-15,2 2-21 0,2 1 24 0,-2 3-20 16,1 2 15-16,2 0-17 0,-4 2 26 0,0-1-27 16,-1 2 30-16,-3-4-24 0,-1 1 61 0,0 0 6 15,-1 1-18-15,-3 0 0 0,-1 0-1 0,-3 0-25 16,1-2 15-16,-4-1 12 0,2-2 9 0,-1 0-17 15,0-4 36-15,-2 0 4 0,2-4-23 0,1-3 7 16,-1 1 3-16,0-2 6 0,-1-3-27 0,11-1 12 16,-17-2-28-16,9-1 44 0,2-3-34 0,-1 0-13 15,3-3-5-15,2 0-2 0,-2-2-3 0,4-1-4 0,0 0-1 16,6-2-5-16,-2 0-5 0,1-3 6 16,3 0-7-16,1-1-27 0,4 0 30 0,-2 2-26 15,1 1 29-15,-1-1-28 0,1 1 30 0,-1 1-27 16,1 1 13-16,-2 2-58 0,0 0 24 0,-1 2-61 0,0 0 11 15,0 4-47-15,-1-3 14 0,-2 3-51 16,0 1-9-16,2 0-17 0,-8 4 7 0,12-5 9 16,-12 5-7-16,11-2 11 0,-11 2 20 0,14-3 27 0,-14 3 11 15,16 0 25-15,-16 0 20 0,15 0 10 0,-15 0 16 16,15 2 13-16,-15-2 39 0,18 1 25 0,-18-1 21 16,14 3 31-16,-4 0 5 0,-10-3-17 0,13 6 43 15,-6-1-6-15,-1-1-7 0,0 4-19 0,1-1 14 16,-2 3-2-16,-3-2 19 0,2 3-42 0,-4 0 13 15,0 2-42-15,0 0 21 0,-1 2-36 0,-2 0 24 16,1 0-9-16,-1 1-4 0,-2 0-7 16,1-1-8-16,-2-2 1 0,2 2 1 0,-1-1 1 0,0 1-3 15,-2-3-45-15,2 0-18 0,-1-3-38 0,2 0-30 16,-1-1-37-16,0-1-33 0,0-2-35 0,5-5-23 16,-12 5-177-16,12-5 123 0</inkml:trace>
  <inkml:trace contextRef="#ctx0" brushRef="#br0" timeOffset="162.37">13929 3559 253 0,'1'-7'360'16,"-1"7"-88"-16,1-11-48 0,-1 11-64 0,4-9-19 0,-4 9-9 16,6-4 14-16,-6 4-46 0,0 0 10 0,14 0-48 15,-14 0 15-15,13 4-33 0,-8 1 16 16,3 1-34-16,0 0 19 0,-2 1 0 0,4 3-9 16,-2-1-11-16,1 3 6 0,1-2 0 0,-1 1-9 0,-1 1-79 15,-2-1-9-15,4 1-56 0,-3 0-52 16,-1-1-56-16,-1-2-61 0,3-2-169 0,-3 0 59 15</inkml:trace>
  <inkml:trace contextRef="#ctx0" brushRef="#br0" timeOffset="341.08">14217 3531 384 0,'0'0'307'0,"7"-7"-85"0,-7 7 16 0,6-4-46 15,-6 4-13-15,8 5-23 0,-8-5 24 0,9 9-29 16,-7-2-31-16,2 1-18 0,0 3-22 0,-3-1-19 15,3 2-15-15,-1-2-13 0,-1 4 6 0,1 0-15 16,-2 0 6-16,3 0-14 0,-3-1 21 0,0 0-59 16,-1-1-49-16,2 0-64 0,-2-3-71 0,0 1-60 15,0-10-328-15,-2 14-108 0</inkml:trace>
  <inkml:trace contextRef="#ctx0" brushRef="#br0" timeOffset="492.76">14243 3378 412 0,'-4'-10'400'0,"2"1"-109"0,-1 1-27 16,-1 2-82-16,3 0-14 0,-2 1-63 0,3 5 11 15,-5-7-51-15,5 7 11 0,0 0-69 0,0 0-52 16,0 0-92-16,-10 5-85 0,10-5-304 0,0 11-29 0</inkml:trace>
  <inkml:trace contextRef="#ctx0" brushRef="#br0" timeOffset="914.11">13977 3832 138 0,'0'0'445'0,"0"-9"-76"0,0 9-73 16,0-9-44-16,0 9-85 0,0 0-13 0,0-7-54 16,0 7 17-16,0 0-17 0,0 0 42 0,8 10-28 0,-6-4-21 15,2 2-16-15,5 3-6 0,-3 1-32 16,2 1 25-16,2 3-24 0,2 1-5 0,-2 1-4 0,0 0-5 16,3 1-6-16,-4 1-2 0,4 0-5 0,-4 0 3 15,0 0-3-15,0 1-37 0,-1-1-64 0,0-1-34 16,-3 0-62-16,1-2-51 0,-4-1-80 15,3 0-309-15,-4-5-133 0</inkml:trace>
  <inkml:trace contextRef="#ctx0" brushRef="#br0" timeOffset="1190.84">14014 4132 341 0,'0'0'330'0,"-4"7"-58"0,4-7-38 0,-2 8-35 15,2-8-21-15,1 11 27 0,2-5-36 0,-1 1-23 16,5 0-4-16,-1-1 1 0,3 1-37 0,0 1-16 16,2-2-21-16,2 0-7 0,1 1-14 0,0-4-9 15,2 3-3-15,-1-2 1 0,-4 1-7 0,2-3-1 16,-1 1-18-16,-1-3 10 0,1 1-11 0,-12-1 12 16,18-3-18-16,-18 3 11 0,16-3-5 0,-8-2 10 15,-2 1-27-15,-1 0 13 0,2-1-6 0,-5-1 3 16,2 1-2-16,0-1-41 0,-3 1-57 0,-1 5-6 15,4-11-61-15,-4 11-79 0,4-8-91 0,-4 8-308 16,1-6-155-16</inkml:trace>
  <inkml:trace contextRef="#ctx0" brushRef="#br0" timeOffset="2096.67">14475 3817 274 0,'-5'-10'303'16,"5"10"-35"-16,-5-8-73 0,5 8 9 0,-2-7-65 15,2 7 16-15,-5-5-56 0,5 5-1 0,0 0-53 16,-4-6 24-16,4 6-36 0,0 0 28 0,0 0-20 16,-3 6 24-16,3-6-16 0,-2 8 21 0,2-8-26 15,0 15 22-15,0-7-14 0,1 4-7 0,-1 1-14 16,0 0-1-16,1 3-5 0,-1 1-1 0,0 1-2 15,2 1-3-15,-2-1 0 0,0 2-13 0,0 0-29 16,0-1-9-16,0 0-26 0,0 0-24 0,-2-1-26 16,2 0-21-16,-1-1-33 0,-2 0-32 0,2-1-29 15,-2-3-38-15,2-1-145 0,-3 0 134 0</inkml:trace>
  <inkml:trace contextRef="#ctx0" brushRef="#br0" timeOffset="2764.55">14385 4130 135 0,'0'0'277'0,"0"0"-43"0,0 0-28 15,0 0-21-15,0 0-28 0,-3-5-30 0,3 5-27 16,0 0-20-16,0 0-19 0,0 0-14 0,0 0-10 15,0 0-13-15,0 0-6 0,0 0-3 0,0 0-5 16,0 0-3-16,0 0-1 0,0 0 8 0,0 0 0 16,0 0-7-16,0 0 4 0,0 0 0 0,0 0-1 15,3 6 1-15,-3-6 6 0,0 0 0 0,0 0 1 16,4 6-3-16,-4-6-4 0,0 0 1 0,0 0 0 16,0 0 9-16,2 5 16 0,-2-5 2 0,0 0 7 15,0 0 7-15,0 0 3 0,0 0-1 0,0 0-2 16,0 0 4-16,0 0-10 0,0 0-6 0,4 5 2 0,-4-5-10 15,0 0-4-15,0 0-5 0,0 0-6 0,0 0-1 16,0 0-12-16,0 0 2 0,0 0 0 0,0 0-5 16,0 0 2-16,0 0-6 0,0 0 1 15,0 0-2-15,0 0-6 0,0 0 7 0,0 0 5 0,0 0-7 16,0 0-3-16,6 5-5 0,-6-5 11 0,0 0-3 16,4 7 6-16,-4-7-8 0,5 6 5 0,-5-6 1 15,4 7 3-15,-4-7 3 0,9 8-5 16,-9-8 0-16,10 5-1 0,-10-5 0 0,10 6 3 0,-10-6-1 15,12 4 5-15,-12-4-4 0,13 1-2 0,-13-1-1 16,14-1 5-16,-14 1 7 0,14-5 8 0,-6 2-3 16,-2-1-2-16,2-2-19 0,-1 0 19 0,0 0-4 15,-1-1-3-15,-1-1-1 0,-1 1-4 0,2 1 9 16,-2-3-15-16,0 2 6 0,0 0-4 0,-4 7-29 16,5-9-56-16,-5 9-43 0,4-9-52 0,-4 9-48 15,0 0-42-15,0 0-282 0,0 0-67 0</inkml:trace>
  <inkml:trace contextRef="#ctx0" brushRef="#br0" timeOffset="48341.11">17561 2578 252 0,'0'0'379'0,"0"0"-82"16,7-7-36-16,3 2-42 0,5 1-38 0,4-4-39 0,4 1-25 15,1-1-26-15,7 1-28 0,2 1-19 0,1-2-15 16,2 2-11-16,0 0-41 0,-3 1-48 16,2 2-42-16,-6-1-48 0,-1 3-68 0,-2-1-242 15,-7 0 47-15</inkml:trace>
  <inkml:trace contextRef="#ctx0" brushRef="#br0" timeOffset="48554.12">17609 2714 23 0,'-16'6'441'0,"3"-1"-121"0,0 0-36 0,4-2-15 16,9-3-15-16,-8 5-59 0,8-5 12 0,0 0-71 15,12 0-1-15,-1-3-54 0,1 1 14 0,6 0-46 16,0-4 18-16,7 3-36 0,-2-2 24 0,5 1-46 16,-3-2 33-16,2 3-41 0,-2-1 36 0,-1 0-38 15,-2 0-2-15,-4 2-57 0,0-1-13 0,-3 1-40 16,-1-1-45-16,-4 2-72 0,1-1-37 0,-11 2-63 15,15-1-141-15,-15 1 47 0</inkml:trace>
  <inkml:trace contextRef="#ctx0" brushRef="#br0" timeOffset="75873.08">26307 6175 10 0,'0'0'66'0,"0"0"-12"0,0 0-9 16,0 0-13-16,0 0-5 0,4 6-6 0,-4-6-1 15,0 0-3-15,0 7-4 0,0-7-3 0,0 0-5 16,0 5 1-16,0-5-2 0,0 0 6 0,-1 10-13 16,1-10 6-16,-1 6 12 0,1-6-17 0,0 8 14 0,0-8-14 15,0 9 6-15,0-9-10 0,-2 10 12 16,2-3-7-16,0-7 6 0,-1 12-11 0,0-4-11 15,1 0 15-15,-3 2 15 0,3 0-11 0,0 1 2 16,0 0-3-16,0-1 8 0,0 2-9 0,0-1 9 16,1 1-9-16,1 0 5 0,-1 0 8 0,0 0-13 15,-1-1-5-15,0 1 13 0,0-1-10 0,0 0 11 0,0-1-18 16,0 0 18-16,0-1-20 0,-1 0-15 16,0 0-100-16,-1-2 41 0</inkml:trace>
  <inkml:trace contextRef="#ctx0" brushRef="#br0" timeOffset="76309.97">26063 6520 135 0,'-2'-6'223'0,"2"6"-52"0,11-5-23 15,-1 4-34-15,6-3-7 0,3 0-17 0,6 0-20 0,2 1-12 16,8-1-15-16,-1 0-2 0,3 1-18 15,0 0-33-15,2 2-52 0,-2 0-72 0,-5 1-185 16,0 0 222-16</inkml:trace>
  <inkml:trace contextRef="#ctx0" brushRef="#br0" timeOffset="78522.67">26031 7746 1 0,'0'-10'164'16,"0"10"-25"-16,0-7-22 0,0 7-15 0,0 0-23 16,2-9-19-16,-2 9-15 0,0 0-12 0,0 0 1 15,0 0-8-15,0 0-5 0,0 0 1 0,0 0 32 16,0 0 3-16,0 0-10 0,1 9-9 0,-1-9-4 15,1 11 5-15,-1-11-5 0,1 9-4 0,-1-9-4 16,4 11 13-16,-1-6 50 0,-3-5-1 0,6 10 6 16,-1-6-14-16,4 0-11 0,3-2-8 0,-1 1-8 15,6-3-24-15,-1 0 16 0,5-3-26 0,3 1 17 16,-1-3-26-16,1-1 18 0,1 0-21 0,0 0 18 16,-2-2-28-16,0-1-9 0,-1 1-43 0,-2 1-25 15,-2-1-34-15,-1 1-41 0,-4 1-125 0,-2 3-125 16,-1-2 136-16</inkml:trace>
  <inkml:trace contextRef="#ctx0" brushRef="#br0" timeOffset="80803.53">25935 9136 26 0,'0'0'126'0,"0"0"-23"0,0 0-16 0,0 0-18 16,0 0-15-16,0 0-12 0,0 0-5 0,0 0-3 15,0 0-11-15,0 0-3 0,0 0-5 0,0 0-7 0,0 0 2 16,0 0-5-16,0 0 6 0,0 0-7 15,0 0 2-15,3 6 2 0,-3-6 21 0,1 8-28 16,-1-8 30-16,2 8-30 0,-2-8 24 0,2 13-24 16,1-8 37-16,2 2-24 0,-3-2 34 0,5-1 0 15,0 1 18-15,2 0-37 0,3-1 28 0,1-1-24 16,3-2 23-16,1 0-38 0,2-1 22 0,1 0-31 16,-2-2 22-16,5 1-30 0,0-3 25 0,0-2-28 15,0 0-1-15,-1 0 2 0,1-1-2 0,-2 0-2 16,-1 0-31-16,0-2-5 0,-2 3-20 0,-3-1-19 15,1 1 2-15,-1 1-62 0,-2 1-123 0,-3-2 81 16</inkml:trace>
  <inkml:trace contextRef="#ctx0" brushRef="#br0" timeOffset="82040.53">26064 10522 126 0,'0'0'211'0,"0"0"-22"0,8 4-32 16,-8-4 1-16,10-1-37 0,-10 1-9 0,18-3-6 15,-5 1-3-15,0-2-41 0,3 0 7 0,1 1-38 16,1-1 21-16,2 1-36 0,-2-2 22 0,1 0-62 16,-2 0 3-16,2 2-15 0,0-1-53 0,-1-1-24 15,1 1-26-15,-2 0-57 0,2 1-95 0,-2-1 250 16</inkml:trace>
  <inkml:trace contextRef="#ctx0" brushRef="#br0" timeOffset="83295.52">25971 11910 117 0,'0'0'153'16,"0"0"-38"-16,0 0-24 0,0 0 21 16,0 0-19-16,0 0-13 0,0 0-4 0,-9 1-13 0,9-1-6 15,0 0 9-15,-1 6 49 0,1-6 0 0,0 0 17 16,6 6-41-16,-6-6 41 0,14 1-43 0,-14-1 6 16,22-1-39-16,-4-1 7 0,2-3-32 0,2 0 14 15,1 0-40-15,3-3 8 0,3 1-57 0,-1-3-19 16,3 1-47-16,-2-3-13 0,1-1-18 0,-2 2-37 15,-4-3-249-15,4 1 109 0</inkml:trace>
  <inkml:trace contextRef="#ctx0" brushRef="#br0" timeOffset="84365.99">26165 13237 202 0,'0'0'187'0,"0"0"-41"0,0 0-30 16,0 0-28-16,0 0-16 0,0 0-11 0,0 0 3 15,0 0 5-15,0 0 16 0,0 0 16 0,0 0 24 16,0 0 33-16,2-5-14 0,-2 5-11 0,7-4-30 15,-7 4 1-15,16-4-36 0,-6 2 0 0,1-2-25 16,5 1 5-16,-2-2-27 0,2 0 13 0,0 0-27 16,0 1 17-16,2-2-36 0,-1 0 11 0,0 1-56 15,0-2 11-15,0 1-60 0,0-1 9 0,-1 2-45 16,-2-2-25-16,-1 1-58 0,2-2-223 16,-4 2 79-16</inkml:trace>
  <inkml:trace contextRef="#ctx0" brushRef="#br0" timeOffset="91897.39">27096 14474 2 0,'0'0'292'15,"-7"-6"-14"-15,7 6-65 0,-7-7-52 16,7 7-27-16,-4-7-12 0,4 7-21 0,-3-8-24 15,3 8-17-15,-2-7-10 0,2 7-14 0,1-7-6 16,-1 7-8-16,3-9-2 0,-3 9-7 0,5-7-5 0,-5 7 1 16,10-6-3-16,-10 6-5 0,10-5 0 0,-10 5 1 15,12-3-4-15,-12 3 4 0,14-2-4 16,-14 2 2-16,14 0 1 0,-14 0-2 0,16 1-1 16,-16-1 0-16,15 1 1 0,-15-1 1 0,13 3-2 0,-13-3 0 15,13 3-2-15,-13-3 1 0,14 5-1 16,-14-5 2-16,12 6-3 0,-12-6 3 0,10 6 15 0,-4-3-3 15,-6-3-3-15,8 10-4 0,-8-10 3 0,8 8-34 16,-6-2 35-16,2 0-3 0,-1 1-1 0,1 2 0 16,-1-2 0-16,0 4-3 0,-2-2 0 0,3 2-2 15,-3 2 9-15,1-2 17 0,0 5-3 0,-2 0-7 16,3-1 0-16,-3 2-16 0,1 1 11 0,0 0-7 16,-1 1 7-16,0 1-12 0,0 0 11 0,-1 0-6 15,0 3 11-15,-2 0-17 0,3 0 18 0,-2 1-14 16,0-2 11-16,0 2 9 0,-1 1 11 0,2-2-3 15,0 1-10-15,-1 1 1 0,-1-1-5 0,0-1-3 16,1 1 0-16,0-1 0 0,-2 1-3 0,2 0-20 16,-1 0 20-16,1 0 2 0,-1 1 0 0,-1 1-7 15,4-1 3-15,-2 0-3 0,0 2-18 0,-1-1 21 16,0 1-14-16,2-1 16 0,0 0-19 0,-1 0 22 16,0 0-17-16,-1 0 15 0,2-2-18 0,-2 2 19 15,1 0-19-15,0-2 17 0,0 0-19 0,-1 0 22 0,2-1-23 16,-3-1 21-16,2 1-13 0,-1 0 12 0,1-1-15 15,-1 1 22-15,-1-3-25 0,2 1 21 16,-2 1-16-16,1-3 18 0,-1-1-4 0,-1 0 0 16,2 3 0-16,-1-2-2 0,0-1-5 0,1 0 2 0,-1-1-18 15,2-1 19-15,-1 2-16 0,-1 1 16 0,1-1-17 16,0 0 18-16,1 0-16 0,0 0 17 16,0 1-17-16,-1-1 15 0,1 0-17 0,-1 0 23 0,0 0-16 15,-1 0 11-15,3 0-19 0,-4-1 22 0,3 0-21 16,-1 0 24-16,-1-4-27 0,2 3 2 0,-1-1 9 15,-1-3 2-15,2 0-3 0,-2-1-2 16,1-1-1-16,-2 1 5 0,0-3 5 0,1 2-12 0,-1-3 29 16,0 2 11-16,-1-3-6 0,-3-1-4 0,1 2-4 15,-2-4-4-15,-3 1-4 0,3-2-1 0,-2-1-1 16,0-1 2-16,-4 0 1 0,2 0 4 0,0-2-6 16,-4 1-16-16,3-2-19 0,-3 0-54 0,1 1-85 15,-2-2-77-15,3 0-251 0,-2 1 14 0</inkml:trace>
  <inkml:trace contextRef="#ctx0" brushRef="#br0" timeOffset="102175.57">12175 18446 63 0,'3'-6'98'0,"-2"0"23"16,3 0-68-16,-2-1 30 0,-2-1-58 0,1 1 22 15,1-1-35-15,-2 1 22 0,0-3-34 0,-2 3 46 16,1-2-56-16,1-1 41 0,-4-1-44 0,1 1 19 15,-1 0-23-15,0 0 45 0,0 0-44 0,0 0 23 16,-1 0-17-16,1-1 12 0,-3 1-12 0,2 1 34 16,-2 0-40-16,2 1 18 0,-1 0-18 0,-2 1 43 15,4-1-43-15,-2 2 49 0,2 0-55 0,-1 2 26 16,1-2-19-16,4 6 43 0,-9-8-46 0,9 8 13 16,-6-7-18-16,6 7 35 0,-7-5-52 0,7 5 44 15,-5-5-35-15,5 5 15 0,0 0-13 0,-6-3 16 16,6 3-17-16,0 0 18 0,0 0-11 0,0 0 10 15,-9-2-10-15,9 2 47 0,0 0-50 0,0 0 8 16,0 0-14-16,0 0 16 0,0 0 3 0,0 0 48 0,0 0-60 16,0 0 26-16,0 0-1 0,0 0 7 15,-10-2-12-15,10 2 46 0,0 0-59 0,0 0 58 16,0 0-54-16,0 0 14 0,0 0-19 0,0 0 24 0,-7-4-20 16,7 4 29-16,0 0-21 0,0 0 50 0,0 0-61 15,0 0 21-15,0 0-12 0,0 0 9 0,0 0-15 16,0 0 12-16,0 0-23 0,0 0 18 0,0 0-88 15,0 0 33-15</inkml:trace>
  <inkml:trace contextRef="#ctx0" brushRef="#br0" timeOffset="127272.87">13236 16726 112 0,'-7'3'144'0,"0"2"-23"0,-1 0-32 0,0 0-6 16,1 1-22-16,-2-1-7 0,0 2-29 0,0 0-11 15,-1 1-31-15,-1 2-29 0,1 2-157 0,0 0 62 16</inkml:trace>
  <inkml:trace contextRef="#ctx0" brushRef="#br0" timeOffset="173970.86">8802 16599 111 0,'0'0'164'0,"0"0"-39"0,-4-4-30 0,4 4-1 16,0 0-1-16,-2-5-15 0,2 5-11 0,0 0-6 15,-5-4 13-15,5 4-4 0,0 0 0 0,0 0-1 0,-4-7 4 16,4 7-24-16,0 0-2 0,0 0-17 15,0 0-7-15,0 0-9 0,0 0 0 0,0 0 10 16,0 0 21-16,0 0-29 0,-5 7 5 0,5-7-15 16,-1 8 8-16,1-8-14 0,1 13 9 0,-1-6-10 15,0 2 4-15,1 1-6 0,1 0 16 0,-1 2-4 0,0 0 5 16,-1 0-9-16,3 1 13 0,-2 0-4 16,3 2 10-16,-2 1-12 0,-1-2 19 0,2 1-6 0,0-1 6 15,-1 0-24-15,0-1 17 0,0 0-15 0,-1-2 8 16,1 0-13-16,-1-1 10 0,2-1-10 0,-2-1 15 15,-1-2-16-15,1 1 21 0,-1-7-20 0,3 10 15 0,-3-10-5 16,2 9 8-16,-2-9-9 0,0 8 15 16,0-8-33-16,1 6-28 0,-1-6-60 0,0 0-41 0,2 9-51 15,-2-9-31-15,0 0-200 0,0 7 123 0</inkml:trace>
  <inkml:trace contextRef="#ctx0" brushRef="#br0" timeOffset="174816.06">8773 16419 49 0,'0'0'83'0,"-17"-4"-14"15,17 4 8-15,-16-2-9 0,16 2-23 16,-22 0-2-16,10 3-7 0,0-1-4 0,-1 0 25 16,-1 1 6-16,0 2-17 0,-1-2-13 0,0 4-7 0,3-1-1 15,-4-1-11-15,3 3-2 0,1 0-4 0,-1 1-5 16,3 1 3-16,-3 0 12 0,3 1-2 0,0 1-2 15,1 1 4-15,2 0 36 0,1 3-5 16,-2-2-3-16,3 2-15 0,3 1-1 0,-1-1-10 0,2-1-2 16,1 2 2-16,0-1 28 0,1 0-17 0,3 1 5 15,0-1-9-15,2 1-5 0,-1-3 2 0,3 4 5 16,1-2-2-16,2 0-4 0,1-1-3 0,2-1-1 16,0-1-3-16,0-1-1 0,3 0 2 0,-2-1 2 15,4-1-6-15,-1-1 0 0,-4-1 5 0,4-3-6 16,-3 0 0-16,3 0 2 0,-2 0 3 0,1-3-9 0,0 1 6 15,2-2-4-15,-2-1 12 0,-1-1-17 16,2-1 16-16,0 0-12 0,-1-1 12 0,-2-1-13 0,3-1 13 16,-3 0-4-16,3-2 3 0,-5 1-19 0,4-1 16 15,-3 0-14-15,0-2 10 0,0 2-6 0,-2-2 28 16,0 2-33-16,2-1 29 0,-4 0-17 0,2-1 14 16,-1 1-8-16,-2 1 21 0,-1-1-21 0,0 1 22 15,-1 0-21-15,1 1 1 0,-3-1-9 0,2 1 18 16,-2-1-26-16,0 0 25 0,-2-1-29 0,0 1 16 15,2-2-16-15,-4 2 18 0,2-2-28 0,-3 0 18 16,3 0-13-16,-3 0 11 0,0 0-8 0,-2-1 7 16,1 1-15-16,-2-2 23 0,2 0-28 0,-4 1 31 0,0-2-34 15,-1 1 33-15,-2-2-30 0,0 1 16 0,-1-1-10 16,-2 2 12-16,1-1-11 0,-3-1 17 0,-1 0-17 16,0 1 20-16,-2 1-25 0,3 1 26 15,0 1-29-15,-2 0 28 0,0 1-30 0,1 1 21 0,-1 1-8 16,-2 0 7-16,1 1-11 0,0 1-1 0,-2 3-40 15,2 0-9-15,-1 1-40 0,-1 1-37 0,2 0-38 16,-2 3-40-16,2 1-36 0,1-1-137 0,2 1 160 16</inkml:trace>
  <inkml:trace contextRef="#ctx0" brushRef="#br0" timeOffset="-196971.77">29630 3903 231 0,'0'0'240'15,"1"-10"-61"-15,-1 10-29 0,2-9-27 0,-2 9-6 0,2-7-24 16,-2 7-17-16,0 0-22 0,0-9-8 0,0 9-16 15,0 0-2-15,0 0 36 0,0 0 5 0,12 3-24 16,-12-3 6-16,6 12-3 0,-2-3 47 0,2 5-31 16,-2 3 17-16,6 3 6 0,-3 8 12 0,0 1-51 15,1 4 20-15,0 8-31 0,-3 2 42 0,1 4 3 16,-2 2-10-16,-1 4-5 0,-1 4-7 16,0 11 7-16,-1 4-4 0,1 1-5 0,-2 2 5 0,2 0-2 15,1 0-6-15,-1 0-3 0,0 2 28 0,3 0-32 16,-3 2 14-16,-1 4-23 0,-1 0 1 0,1-1-3 15,-1 0 0-15,-1 0-3 0,1-2 17 0,1 1-26 16,-1-2 21-16,1-3-21 0,2-1 20 16,0-1-26-16,-1-2 1 0,3-4-5 0,-2-11-4 15,-1 0 4-15,1-4 9 0,1-2-16 0,-2-3 23 0,1-3-22 16,1-2 16-16,-2-8-22 0,2-2-21 0,-1-6-75 16,0-2-14-16,1-4-39 0,-4-3-39 0,4-2 22 15,-3-4-93-15,2-1-76 0,-2-4-446 0,-1-7-294 16</inkml:trace>
  <inkml:trace contextRef="#ctx0" brushRef="#br0" timeOffset="-196518.57">28343 5608 371 0,'0'0'265'0,"-11"-1"-61"0,11 1-31 16,0 0-14-16,5-5-45 0,4 2-16 0,7 1 1 0,6-2-4 15,7 1-12-15,8-1 13 0,11-1-1 0,7 1-11 16,3-1 9-16,18 1-9 0,4-2-3 0,9 1-16 16,3 2-9-16,5-1-15 15,6 2 5-15,3-2-4 0,7 3-7 0,22-1-7 0,2 2 0 0,1 1-3 16,-1-1 0-16,-2 1-2 0,1 0 5 0,-3 0-31 16,1 1 42-16,-22-1-26 0,1-1 29 0,-1-1-22 15,-3-1 20-15,-2 1-27 0,-3 0 35 16,-2 0-40-16,-4-2 37 0,-3 1-39 0,-8 0 33 0,-5-1-41 15,-6 0 27-15,-16-1-26 0,-7 0 32 0,-5 1-34 16,-12 1 32-16,-8-1-34 0,0 1 30 0,-5-3-33 16,-6 1 30-16,-2 0-75 0,-5-1-15 0,-2 0-68 15,-8 5-30-15,5-9-76 0,-5 9-87 0,-7-9-322 16,-5 4-162-16</inkml:trace>
  <inkml:trace contextRef="#ctx0" brushRef="#br0" timeOffset="-195762.8">30249 4476 80 0,'0'0'199'16,"0"0"-47"-16,0 0-27 0,-9 4-22 0,9-4-21 16,0 0 14-16,0 0 25 0,-7 3-24 0,7-3-10 15,0 0-14-15,0 0 25 0,0 8-19 0,0-8 10 16,0 0-4-16,5 7 9 0,-5-7 7 0,0 0-2 16,7 4 3-16,-7-4 16 0,0 0 0 0,6 4-16 15,-6-4-24-15,0 0-13 0,10-3-11 0,-10 3-8 16,5-4-15-16,-5 4-4 0,6-8-7 0,-6 8-4 15,2-10-3-15,-2 10 28 0,1-11-12 0,-1 11 5 16,-1-11-2-16,1 11-39 0,-1-11 26 0,1 11-4 16,-3-8-7-16,3 8-50 0,-6-6-44 0,6 6-14 15,-9-3-63-15,9 3-53 0,0 0-60 0,-13 5-332 16,13-5-121-16</inkml:trace>
  <inkml:trace contextRef="#ctx0" brushRef="#br0" timeOffset="-195091.96">30499 4699 179 0,'0'0'246'0,"0"0"-28"0,-4 6-24 0,4-6-2 15,0 0-25-15,0 0-1 0,-2 5-33 0,2-5-11 16,0 0-36-16,0 0 3 0,0 0-8 0,0 0 6 0,11 1-25 16,-11-1 31-16,0 0-18 0,13-2 35 15,-13 2-20-15,8-3-1 0,-8 3 10 0,7-3-11 16,-7 3-18-16,0 0-1 0,9-5 4 0,-9 5-2 15,0 0-7-15,7-5-18 0,-7 5-5 0,0 0-11 16,0 0-5-16,0 0-7 0,0 0-5 0,0 0-1 0,0 0 1 16,0 0-9-16,-3-5-2 0,3 5-12 0,0 0 11 15,0 0-5-15,0 0 4 0,0 0 1 0,0 0-1 16,0 0 6-16,0 0-4 0,0 0 0 16,-8 4-48-16,8-4-29 0,0 0-53 0,0 0-62 15,0 7-39-15,0-7-94 0,4 6-81 0,-4-6-165 0,7 2-81 16</inkml:trace>
  <inkml:trace contextRef="#ctx0" brushRef="#br0" timeOffset="-194720.82">30858 4669 61 0,'0'0'269'0,"0"0"-85"0,0 0-18 0,0 0-29 15,0 0-26-15,0 0-19 0,0 0-10 0,0 0 14 0,0 0 1 16,7 4-23-16,-7-4-1 0,10 2-24 0,-10-2 2 16,11 3-17-16,-11-3 4 0,13 1-1 15,-13-1 27-15,14-1-15 0,-14 1 25 0,12-3-23 0,-12 3 12 16,12-4-28-16,-12 4 10 0,7-7-27 16,-7 7 33-16,5-8-23 0,-5 8 35 0,1-10-31 0,-1 10 16 15,-6-8-31-15,6 8 17 0,-9-8-33 0,3 4 23 16,6 4-4-16,-13-6-2 0,13 6-14 0,-14-5 7 15,14 5-24-15,-13-2 23 0,13 2-20 0,-12-4 20 16,12 4-30-16,-10-2 26 0,10 2-22 0,0 0 30 16,-11-1-24-16,11 1 20 0,0 0-23 0,0 0 34 15,0 0-26-15,0 0 29 0,0 0-27 0,0 0 23 16,0 0-30-16,0 0 26 0,0 0-48 0,0 0-4 16,0 0-50-16,0 0-26 0,11 0-77 0,-11 0-102 15,0 0-236-15,0 0-31 0</inkml:trace>
  <inkml:trace contextRef="#ctx0" brushRef="#br0" timeOffset="-191235.45">30129 4069 30 0,'0'-7'215'0,"0"7"-54"15,0 0-35-15,0 0-19 0,1-7-3 0,-1 7-14 16,0 0-12-16,0 0-23 0,0 0-16 0,0 0-12 16,0 0-7-16,0 0-8 0,0 0-8 15,0 0-5-15,0 0-1 0,0 0 11 0,0 0 12 16,2 8 20-16,-2-8-9 0,0 10-1 0,0-10-8 0,0 13-6 16,0-13 3-16,2 13-2 0,-2-6 41 15,3-1-12-15,-3-6-9 0,0 15-5 0,2-10-3 16,-2-5-12-16,1 13 0 0,-1-13-3 0,1 12-3 15,-1-12 6-15,0 8 7 0,0-8 21 0,0 9 19 16,0-9 30-16,1 7-10 0,-1-7 31 0,0 0-25 0,2 7 31 16,-2-7-54-16,0 0 7 0,0 0-41 0,0 0 18 15,0 0-38-15,13-1 18 0,-13 1-34 16,12-4 27-16,-12 4-36 0,12-3 15 0,-12 3-13 16,11-4 2-16,-11 4-4 0,13-1 26 0,-13 1-24 0,10 2 22 15,-10-2-26-15,9 5 26 0,-9-5-31 16,8 7 32-16,-8-7-29 0,4 10 13 0,-4-10-6 0,2 8 13 15,-2-8-12-15,2 11 12 0,-2-11-12 0,-3 9 29 16,-1-2-25-16,2-3 25 0,-3 1-23 16,5-5 19-16,-9 9-22 0,4-5 15 0,5-4-13 15,-11 6 28-15,11-6-28 0,-14 5 16 0,14-5-19 16,-11 3-9-16,11-3-46 0,-13 0-5 0,13 0-45 0,-12-4-31 16,12 4-51-16,-7-6-45 0,7 6-38 15,-5-10-185-15,5 10 59 0</inkml:trace>
  <inkml:trace contextRef="#ctx0" brushRef="#br0" timeOffset="-191062.45">30224 4063 79 0,'0'0'244'0,"7"-8"-49"16,-2 3-12-16,0 0-27 0,-5 5 1 0,10-8-28 16,0 4-21-16,-3-1-26 0,-1 1-19 0,3 1-17 15,1-1-2-15,1 2-12 0,-2 0-3 0,2-1-8 0,-1 1-7 16,-10 2 6-16,19-1-4 0,-19 1-4 0,16-2-36 15,-16 2-60-15,14 3-64 0,-14-3-80 0,7 5-134 16,-7-5 179-16</inkml:trace>
  <inkml:trace contextRef="#ctx0" brushRef="#br0" timeOffset="-190051.19">30180 4068 250 0,'0'0'214'16,"0"0"-50"-16,-3-6-43 0,3 6-23 0,0 0-23 15,8-4-13-15,-8 4-8 0,14-3-25 0,-14 3-65 16,22-2-40-16,-9 2-52 0,4 0-132 0,2 0 81 16</inkml:trace>
  <inkml:trace contextRef="#ctx0" brushRef="#br0" timeOffset="-187893.12">29943 4529 67 0,'0'0'208'0,"0"0"-46"0,0 0 10 16,0 7-36-16,0-7-13 0,0 0-10 15,-2 10-17-15,2-10-5 0,-2 10 1 0,2-10-23 16,-4 11 4-16,3-5-17 0,1 0-5 0,-1 1-18 15,1 0 5-15,0-7-12 0,0 13-1 0,1-6-13 16,-1-7 13-16,0 13-11 0,3-6 12 0,-1-2-15 0,2 1 18 16,-4-6-17-16,5 9-15 0,0-3-40 0,-5-6-38 15,9 5-46-15,-9-5-63 0,11 3-227 0,-11-3 119 16</inkml:trace>
  <inkml:trace contextRef="#ctx0" brushRef="#br0" timeOffset="-187745.88">30044 4481 286 0,'-5'-8'280'0,"1"0"-42"0,0 2-26 0,2 0-48 16,-1 1-21-16,3 5-41 0,-6-9-5 0,6 9-33 15,-5-9-5-15,5 9-23 0,-5-6 1 0,5 6-9 16,0 0-27-16,-4-4-31 0,4 4-33 0,0 0-19 16,0 0-45-16,11 4-37 0,-11-4-243 0,9 4 134 0</inkml:trace>
  <inkml:trace contextRef="#ctx0" brushRef="#br0" timeOffset="-187514.57">30118 4583 79 0,'0'0'180'0,"0"0"-32"16,0 0-38-16,-6 3-15 0,6-3-16 0,0 0-4 0,0 0-8 15,0 0-4-15,0 0-9 0,2 9-10 0,-2-9-5 16,0 0-7-16,11 1-3 0,-11-1-10 16,12 2 2-16,-12-2-3 0,13 1-17 0,-13-1-48 15,17 3-21-15,-17-3-45 0,13 4-176 0,-13-4 254 16</inkml:trace>
  <inkml:trace contextRef="#ctx0" brushRef="#br0" timeOffset="-187259.15">30098 4703 255 0,'0'0'257'0,"-7"6"-46"0,7-6-37 0,0 0-40 0,-7 4-19 16,7-4-31-16,0 0-13 0,0 0-19 0,0 0 0 0,10 3-23 15,-10-3 7-15,15-1-32 0,-15 1-27 0,18-2-20 16,-6-1-8-16,-1 0-8 0,-1 1-13 16,3-1-6-16,-3-1 5 0,2-1 15 0,-1 1 17 15,-2 1 23-15,0-2 27 0,0 2 17 0,-1-1 29 16,-8 4 26-16,10-6 20 0,-10 6-8 0,10-6 8 15,-10 6-15-15,7-6-1 0,-7 6-27 0,0 0-4 0,5-4-23 16,-5 4 2-16,0 0-15 0,0 0 4 0,0 0-9 16,0 0 5-16,0 0-13 0,0 10 16 15,0-10-16-15,1 9 22 0,-1-9-34 0,0 14-47 16,3-8-67-16,-2 2-82 0,0 0-273 0,2-1 38 16</inkml:trace>
  <inkml:trace contextRef="#ctx0" brushRef="#br0" timeOffset="-186748.67">30366 4999 285 0,'-10'5'264'16,"10"-5"-47"-16,-10 5-15 0,3-1-22 0,2 0-12 15,-3 2-43-15,1-1-2 0,-1 1-32 0,2 2 13 16,-1-1-26-16,1 1 9 0,-3 1-36 0,5-1 6 15,-1 2-11-15,1-2-10 0,0 2-5 16,2-1-4-16,-1 1-1 0,1-1-4 0,2 1-3 0,-3-2 0 16,6 1-1-16,-3-2-1 0,1 1 0 0,0-1-32 15,1-1-19-15,0 1-22 0,1-1-38 0,-3-6-33 16,5 8-81-16,-5-8-39 0,9 2-233 0,-9-2 32 16</inkml:trace>
  <inkml:trace contextRef="#ctx0" brushRef="#br0" timeOffset="-186613.05">30323 5020 111 0,'-2'-7'330'0,"0"0"-78"0,1 1-17 0,1 6-42 0,-4-10-21 15,4 10-51-15,-3-10-16 0,3 10-36 0,-1-7-36 16,1 7-37-16,0 0 10 0,0-7-48 0,0 7-38 16,0 0-56-16,0 0-49 0,0 0-190 0,11-3 171 15</inkml:trace>
  <inkml:trace contextRef="#ctx0" brushRef="#br0" timeOffset="-186472.12">30458 5022 139 0,'0'0'275'0,"0"0"-73"0,0 0-49 0,7 3-32 16,-7-3-29-16,0 0-24 0,7 3-44 0,-7-3-56 15,10 3-61-15,-10-3-204 0,8 3 246 0</inkml:trace>
  <inkml:trace contextRef="#ctx0" brushRef="#br0" timeOffset="-186357.12">30470 5147 141 0,'0'0'335'0,"-3"7"-64"0,3-7-25 0,0 0-63 16,0 0-30-16,-2 5-51 0,2-5-12 0,0 0-62 16,0 0-47-16,15-1-57 0,-15 1-81 0,10-4-68 15,-1 0-113-15,-1 2 205 0</inkml:trace>
  <inkml:trace contextRef="#ctx0" brushRef="#br0" timeOffset="-185796.76">30641 5014 264 0,'0'0'233'0,"0"0"-38"16,0 0-17-16,-3-8-27 0,3 8 23 0,0 0-31 16,0 0-13-16,0-7-37 0,0 7-6 0,0 0-28 15,0 0 9-15,0-8-35 0,0 8 12 0,0 0-27 16,4-5 8-16,-4 5-22 0,0 0 12 0,5-5-18 16,-5 5 12-16,0 0-17 0,0 0 14 0,11-1-23 15,-11 1 12-15,0 0-8 0,8 4 18 0,-8-4-24 16,4 6 21-16,-4-6-11 0,4 7 12 0,-4-7-6 15,1 9 12-15,-1-9-15 0,2 11 10 0,-2-11-14 16,0 12 18-16,0-12-9 0,0 12 10 0,0-12-15 16,0 12 11-16,1-5-14 0,-1-7 14 0,1 13-8 15,1-7 13-15,-1 1-17 0,-1-7 14 0,1 12-15 16,-1-12 18-16,3 9-18 0,-3-9 15 0,1 10 5 16,-1-10 62-16,-1 7-15 0,1-7 17 0,-7 6-9 15,7-6-16-15,-9 6-14 0,9-6 11 0,-14 3 7 16,14-3-12-16,-14 1-5 0,14-1-7 0,-15-1-8 15,15 1-6-15,-14-2-29 0,14 2-29 16,-12-1-61-16,12 1-63 0,-10-4-74 0,10 4-73 0,-9-2-219 16,9 2-32-16</inkml:trace>
  <inkml:trace contextRef="#ctx0" brushRef="#br0" timeOffset="-185432.92">31104 4931 178 0,'0'0'317'0,"-16"2"-58"15,16-2-63-15,-9 4-11 0,9-4-39 0,-10 5-6 16,10-5-34-16,-8 8 1 0,2-4-6 16,2 2 1-16,2 0-40 0,0 0 14 0,0 0-38 0,0 1 4 15,1 0-17-15,2 0 22 0,1 0-26 0,0 1 21 16,0-1-30-16,2 1-20 0,-1-2-41 0,2 1-33 15,-2 0-56-15,1-3-57 0,-4-4-33 0,9 6-245 16,-9-6 45-16</inkml:trace>
  <inkml:trace contextRef="#ctx0" brushRef="#br0" timeOffset="-185307.92">31102 4902 100 0,'-4'-9'366'0,"-1"0"-80"0,0 2-41 0,1 1-57 16,2 0-28-16,-2 0-44 0,4 6-6 0,-5-10-50 15,5 10-51-15,-5-7-46 0,5 7-56 0,0 0-87 16,-3-5-242-16,3 5 115 0</inkml:trace>
  <inkml:trace contextRef="#ctx0" brushRef="#br0" timeOffset="-185173.76">31211 4951 227 0,'0'0'208'0,"0"0"-54"16,6 4-51-16,-6-4-44 0,0 0-62 0,0 0-103 16,11 2-99-16,-11-2 64 0</inkml:trace>
  <inkml:trace contextRef="#ctx0" brushRef="#br0" timeOffset="-185058.76">31220 5018 150 0,'0'0'181'0,"-3"5"-33"0,3-5-21 0,0 0-26 0,0 6-23 15,0-6-11-15,0 0-21 0,9 6-25 0,-9-6-47 16,0 0-71-16,14 0-154 0,-14 0 79 0</inkml:trace>
  <inkml:trace contextRef="#ctx0" brushRef="#br0" timeOffset="-184753.63">31390 4945 139 0,'4'-6'273'16,"-4"6"-79"-16,0 0-49 0,0 0-28 0,0 0-22 15,0 0-6-15,0 0-3 0,-3 9-11 0,3-9-13 16,0 7-19-16,0-7 3 0,-2 9-10 16,2-9-4-16,-2 11-6 0,2-11-1 0,-1 11-2 0,1-11 2 15,-3 10-10-15,3-10 5 0,-1 9-8 0,1-9 8 16,0 6-2-16,0-6 41 0,-2 6 38 0,2-6-38 16,0 0 9-16,0 0-29 0,0 0 11 0,0 0-39 15,11 0-1-15,-11 0 11 0,14-4-17 0,-14 4-1 16,14-4-8-16,-14 4-3 0,14-2 5 0,-14 2-8 15,17 0-2-15,-17 0-1 0,15 2 2 0,-15-2 7 16,12 6-9-16,-6-3 12 0,-3 3 2 16,-3-6 0-16,5 10 25 0,-5-10-24 0,-3 14 20 0,1-9-12 15,-3 3 15-15,-2-1-41 0,1 0-38 0,-1 0-39 16,-3-2-88-16,0 1-35 0,2-1-33 0,-3-3-136 16,2 0 158-16</inkml:trace>
  <inkml:trace contextRef="#ctx0" brushRef="#br0" timeOffset="-184640.63">31475 4945 82 0,'0'0'197'0,"8"-3"-47"0,-8 3-58 0,0 0-87 0,0 0-77 16,14 2-74-16,-14-2 40 0</inkml:trace>
  <inkml:trace contextRef="#ctx0" brushRef="#br0" timeOffset="-184096.08">31525 4807 150 0,'0'0'210'0,"0"0"-57"0,-5-6-17 0,5 6-26 16,0 0-15-16,-11 0-13 0,11 0 1 15,-11 4-9-15,5 0-13 0,-3 0-13 0,3 2 14 16,-1 0-5-16,0 1-13 0,-2 2 34 0,1 0-5 15,0 2-23-15,1 0-9 0,-1 0-3 0,0 1 8 0,2-1 6 16,0 1 12-16,-1 2-19 0,2-2 9 0,1 1-30 16,-1 0 12-16,3-1-17 0,0 1 16 15,0-2-10-15,0 0 18 0,1 1-25 0,1-1 15 16,0-1-27-16,1 0 34 0,1-2-34 0,-1 0 40 16,0 0-20-16,1-3 36 0,0 1-27 0,1-1 35 15,-3-5-38-15,6 7 35 0,-6-7-26 0,8 5 28 16,-8-5-42-16,0 0 32 0,0 0-28 0,14-2 26 15,-14 2-45-15,8-6 25 0,-8 6-29 0,5-8 22 16,-5 8-33-16,5-9 26 0,-5 9-30 0,1-11 36 16,-1 11-37-16,1-9 34 0,-1 9-43 0,0-10 42 15,0 10-45-15,-1-7 41 0,1 7-31 0,-1-8 35 16,1 8-45-16,-2-6 39 0,2 6-44 0,-6-4 8 0,6 4-54 16,0 0-8-16,-6-5-63 0,6 5-25 15,0 0-26-15,-8-4-47 0,8 4-33 0,0 0-35 16,-14-2-155-16,14 2 59 0</inkml:trace>
  <inkml:trace contextRef="#ctx0" brushRef="#br0" timeOffset="-182922.61">30773 4520 72 0,'0'0'132'0,"0"0"-25"15,0 0-13-15,0 0-15 0,-6-4-16 0,6 4-7 16,0 0-10-16,0 0-5 0,0 0-6 0,-5-4-4 16,5 4-10-16,0 0-4 0,0 0-3 0,-9-2-3 15,9 2-2-15,0 0-6 0,0 0 4 0,-15-1 4 16,15 1-7-16,0 0-3 0,-13 1 1 0,13-1 1 16,0 0 1-16,-11 0-6 0,11 0 7 0,0 0-1 15,-10 2 2-15,10-2-3 0,0 0 2 16,-11 1-1-16,11-1-2 0,0 0-1 0,-11 4 1 15,11-4 1-15,0 0-1 0,-12 2-8 0,12-2-29 0,0 0-42 16,-14 1-37-16,14-1-98 0,0 0 66 0</inkml:trace>
  <inkml:trace contextRef="#ctx0" brushRef="#br0" timeOffset="-181253.65">30364 4308 37 0,'0'0'60'0,"0"0"-15"0,0 0-8 0,0 0-8 15,-11-1-7-15,11 1-6 0,0 0-2 0,0 0 4 16,-14 1-10-16,14-1-9 0,0 0 6 0,-11 2 1 15,11-2-1-15,-9 3 1 0,9-3-2 0,-8 2 1 16,8-2-9-16,-9 2 3 0,9-2 3 16,-6 4-2-16,6-4-2 0,-9 4-4 0,9-4 6 0,-8 3 6 15,8-3-9-15,-6 5 7 0,6-5-5 0,-7 3 1 16,7-3 4-16,-7 7 1 0,7-7-5 0,-8 6 2 16,8-6-5-16,-6 6 7 0,6-6-1 0,-7 6-18 15,7-6 19-15,-5 8-14 0,5-8 43 16,-4 7-8-16,4-7 9 0,-7 9-6 0,7-9 6 0,-4 8-8 15,4-8-5-15,-4 10 2 0,4-10 4 0,-4 9-11 16,4-9 4-16,-4 11 4 0,4-11 14 0,-5 9-9 16,5-9 14-16,-2 13 11 0,2-13-10 0,-5 11-9 15,3-4-1-15,1-2-2 0,1 2-7 0,-2 1 13 16,2-8-5-16,-2 13-5 0,2-4-3 16,0-9 21-16,0 14-10 0,0-5 0 0,0-1-11 0,0-1 2 15,2 2-10-15,0 0 6 0,-2 1 7 0,3-1 9 16,-1 0-9-16,2 0 1 0,-3 1-11 0,4-1 0 15,-1 1-9-15,-1-1 4 0,1 1-9 0,0 0 12 16,-1-2-14-16,2 2 11 0,2-2-3 0,-3 2 8 16,2-2-11-16,-1 2 8 0,3-2-16 0,-3 1 11 15,1-1-10-15,1 2 11 0,-1-3-7 0,4 1 6 16,-3 0-8-16,0 0 6 0,1-1-11 0,1 1 7 16,0 0 9-16,0-2 31 0,1 0-25 0,-1 1 12 15,1-1-17-15,-1-1 11 0,1 1-15 0,-1-2 8 16,2 2-15-16,0-2 11 0,-1 1-17 0,-1-2 14 15,3 1-14-15,-1-1 13 0,-2 0-11 0,3 0 16 16,-1 0-22-16,-2-1 28 0,4 0-27 0,-3 1 34 16,3-2-20-16,-2 0 11 0,2 0-17 0,1 0 13 15,-2 0-23-15,2 0 15 0,-1 1-14 0,2-1 19 16,-2-1-21-16,2 1 17 0,-2 0-15 0,0 0 15 16,2-1-16-16,-2 1 11 0,1-1-37 0,-1 2 35 15,1-2-9-15,-3 0 23 0,1 0-12 0,-12 0 30 16,24 0-9-16,-24 0 36 0,20 0-27 0,-20 0 17 15,18 0-37-15,-18 0 10 0,21-2-17 0,-11 1 20 16,1 0-19-16,0-1 15 0,0 1-26 0,1-2 22 16,-2 1-22-16,1 0 20 0,1-1-26 0,-2 0 29 15,3 1-39-15,-3-1 19 0,2 0-9 0,-1 0 10 16,-1 0-1-16,1-1 42 0,-1 2-34 0,0-3 26 16,-1 3-20-16,0-1 62 0,1-1-53 0,-2 0 27 15,1-1-36-15,-2 1 25 0,2-1-34 0,-1 0 31 16,0 0-45-16,-1-1 35 0,0 0-34 0,-1 0 34 15,3 0-37-15,-4 0 46 0,2-1-19 0,-2 0 37 16,1 1-43-16,-1-1 44 0,0 1-33 16,0-1 22-16,-2 0-32 0,1 0 23 0,-3 0-40 0,4 0 35 15,-3-1-35-15,0 0 29 0,-1 1-35 0,1 0 26 16,0-1-28-16,-2 0 34 0,3 0-33 16,-2-1 31-16,-1 1-2 0,1-1-8 0,-1 1 0 15,0 0 2-15,0 0 22 0,0 0 10 0,0 0-15 16,0-1-2-16,0 2-9 0,-1-1-5 0,0 1 3 0,-2-2-25 15,3 2 22-15,-2-2-23 0,-1 2 22 16,3 0-25-16,-2 1 26 0,0-1-26 0,0 0 27 0,-1 1-23 16,2-1 17-16,-2 0-27 0,1 2 34 0,-1-1-28 15,1-1 29-15,-1 3-27 0,-1-2 25 0,4 6-28 16,-5-11 24-16,1 5-23 0,2 1 26 0,-1-1-23 16,-1 1 25-16,-1-1-31 0,1 1 30 0,-1 1-29 15,0-2 29-15,0 1-26 0,0-1 26 0,-2 1-29 16,1-1 28-16,0 1-23 0,-1 0 22 0,2 0-24 15,-1 0 25-15,-2-1-21 0,3 2 23 0,-1-2-29 16,1 2 27-16,-2-2-28 0,0 3 25 16,0-2-20-16,1 1 22 0,-1-2-24 0,0 3 31 0,-1-2-29 15,0 2 25-15,2-1-26 0,-2 0 24 0,-1 1-25 16,3-1 24-16,-2 1-26 0,1-1 30 16,-1 0-33-16,0 1 33 0,1 0-27 0,0 0 27 15,-3-1-30-15,2 1 28 0,1 0-26 0,7 3 28 16,-14-5-29-16,6 2 21 0,0 0-21 0,-1-1 25 0,0 2-24 15,2-1 27-15,-1 0-24 0,0 1 24 0,-2 0-30 16,3-1 28-16,-3 0-25 0,10 3 24 0,-17-3-23 16,8 1 26-16,0 0-24 0,-1 1 27 0,10 1-32 15,-18-3 28-15,18 3-26 0,-18-3 25 0,18 3-24 16,-16-2 26-16,16 2-30 0,-19-1 24 16,19 1-20-16,-19-2 26 0,19 2-24 0,-17-1 22 0,17 1-23 15,-24 0 26-15,24 0-27 0,-20 0 24 0,20 0-27 16,-22 0 23-16,22 0-19 0,-23 1 21 0,10-1-21 15,2 2 23-15,-1-1-25 0,0 0 25 0,-1 2-26 16,-1-1 31-16,1-1-32 0,-1 1 32 16,-3 1-28-16,1 0 28 0,0 0-26 0,-3 1 18 0,2 0-24 15,0 0-7-15,0 0-42 0,-1 3-11 0,1-1-73 16,1-1-62-16,-2 5-71 0,1 0-130 0,1 1-233 16,2 0-155-16</inkml:trace>
  <inkml:trace contextRef="#ctx0" brushRef="#br0" timeOffset="-180408.4">30350 4495 290 0,'0'0'237'0,"0"0"-34"16,0 0-43-16,0 0-16 0,0 0-36 0,0 0-23 16,0 0-19-16,-11 0-5 0,11 0 16 0,0 0 1 15,0 0-7-15,0 0-7 0,0 0-7 0,0 0 1 0,0 0-5 16,0 0 16-16,0 0 8 0,0 0 6 16,0 0 5-16,0 0 8 0,0 0 0 0,0 0-13 15,0 0-15-15,0 0-13 0,0 0 20 0,0 0-3 16,0 0-19-16,0 0-11 0,0 0-7 0,2-6-6 15,-2 6-7-15,0 0-7 0,-2-7 0 0,2 7-11 16,-5-7 4-16,5 7-4 0,-4-7 3 0,4 7-6 16,-7-4 3-16,7 4-3 0,-9-6 1 0,9 6-2 15,-9-3-4-15,9 3 4 0,-11-3-2 0,11 3-1 16,-8-3 2-16,8 3 3 0,0 0-1 0,-9-2-2 16,9 2 1-16,0 0-1 0,0 0-3 0,-9-2 0 15,9 2 1-15,0 0 0 0,0 0-5 0,0 0 5 16,-8-3 6-16,8 3-3 0,0 0-3 0,0 0 8 15,0 0 3-15,0 0-6 0,0 0 5 0,0 0-3 16,0 0-34-16,0 0-45 0,0 0-73 0,1 6-93 16,-1-6-91-16,5 5-326 0,-5-5-165 0</inkml:trace>
  <inkml:trace contextRef="#ctx0" brushRef="#br0" timeOffset="-179915.26">30573 4696 311 0,'4'4'360'0,"-4"-4"-91"0,0 0-32 0,4 7-65 15,-4-7-26-15,0 0-46 0,4 4-5 0,-4-4-34 16,0 0-2-16,0 0-21 0,2 6 0 0,-2-6-21 15,0 0 6-15,0 0-18 0,0 0 11 0,4 6-21 16,-4-6 21-16,0 0-22 0,0 0 20 0,0 0-18 16,0 0 19-16,0 0-15 0,0 0 10 0,4 5-17 15,-4-5 22-15,0 0-17 0,0 0 10 0,0 0-11 16,0 0 20-16,0 0-12 0,0 0 27 0,0 0-16 16,0 0 18-16,0 0-20 0,0 0 29 0,0 0-24 15,-4 5 23-15,4-5-20 0,0 0 24 0,-6 5-33 16,6-5 9-16,0 0-17 0,-7 5 31 0,7-5-38 15,0 0 17-15,-6 6-23 0,6-6 18 0,0 0-17 16,-4 6 18-16,4-6-19 0,0 0 27 0,0 0-30 16,-4 5 26-16,4-5 6 0,0 0 50 0,0 0-34 15,0 0 34-15,7 5-2 0,-7-5-43 0,0 0 19 16,9-2 9-16,-9 2 0 0,6-5 21 0,-6 5-12 16,5-5-15-16,-5 5-4 0,4-4-12 0,-4 4-1 15,1-8-7-15,-1 8-6 0,3-7-5 0,-3 7 3 16,-3-6-5-16,3 6-3 0,-5-5-1 0,5 5-7 15,-5-3-16-15,5 3-43 0,0 0-28 0,-10-2-64 16,10 2-34-16,0 0-17 0,-12 3-45 0,12-3-51 16,-5 3-30-16,5-3-192 0,0 0-22 0</inkml:trace>
  <inkml:trace contextRef="#ctx0" brushRef="#br0" timeOffset="-179565.23">30845 4650 198 0,'-3'-7'380'16,"3"7"-87"-16,0 0-30 0,-4-7-63 0,4 7-20 16,0 0-60-16,-5-3-1 0,5 3-48 0,0 0 1 15,0 0-27-15,0 0-1 0,0 0-23 0,0 0 12 16,-9 2-25-16,9-2 15 0,0 0-11 0,0 0 34 0,-2 8 6 15,2-8 25-15,0 0-39 0,2 7 27 16,-2-7-7-16,0 0 36 0,5 3-18 0,-5-3-42 16,0 0 22-16,0 0-40 0,0 0 28 0,16-1-43 15,-16 1 36-15,5-3-32 0,-5 3 26 0,7-6-5 16,-7 6-6-16,4-8-2 0,-4 8-1 0,2-7-5 16,-2 7 6-16,0-8-8 0,0 8-3 0,-2-7 2 15,2 7-12-15,-7-5 14 0,7 5-7 0,-9-2-6 16,9 2 9-16,-14 0-63 0,14 0-37 0,-13 4-58 15,13-4-56-15,-13 7-65 0,6-1-66 0,2-2-240 0,0 2-92 16</inkml:trace>
  <inkml:trace contextRef="#ctx0" brushRef="#br0" timeOffset="-177991.45">30609 4740 76 0,'0'0'264'0,"0"0"-51"15,0 0-39-15,0 0-3 0,-9-4-15 0,9 4-2 16,0 0-36-16,0 0 4 0,0 0-23 0,0 0 8 16,-9-2-33-16,9 2-3 0,0 0-30 0,0 0 6 15,0 0-28-15,0 0 13 0,5-6-26 0,-5 6 16 16,0 0-17-16,10-4 13 0,-10 4-19 0,11-4 15 15,-11 4-16-15,14-4 11 0,-14 4-16 0,16-3 18 16,-5 0-19-16,1 0 16 0,-3 2-24 0,5-1 21 16,-3 0-15-16,0 0 17 0,3 0-15 0,-2 0 14 15,0 1-18-15,-1-1 19 0,0 1-20 0,-1-2 23 16,1 2-38-16,-11 1 58 0,16-1-9 0,-16 1 17 16,14-3-23-16,-14 3 14 0,14-3-25 0,-14 3 17 15,16-3-22-15,-16 3 28 0,11-4-21 0,-11 4 23 16,12-4-12-16,-12 4 26 0,9-2-28 0,-9 2 14 15,7-2-21-15,-7 2 23 0,0 0-31 0,9-3 22 16,-9 3-31-16,0 0 18 0,0 0-31 0,0 0 28 16,0 0-12-16,0 0 18 0,0 0-20 0,0 0 24 15,0 0-25-15,0 0 24 0,-13 4-23 0,13-4 24 16,-11 3-32-16,11-3 29 0,-15 3-30 0,4-1 33 16,2 0-26-16,-3 0 23 0,1 1-24 0,-3 0 22 15,3-1-18-15,-1 0 22 0,-2 2-28 0,0-1 26 16,2-1-28-16,-1 2 20 0,0-2-13 0,1 1 28 15,1-1-32-15,-2 0 26 0,4 1-22 0,0-1 26 16,9-2-23-16,-16 2 30 0,16-2-27 0,-13 3 33 16,13-3-28-16,-13 3 19 0,13-3-25 0,-8 3 20 15,8-3-24-15,-9 1 23 0,9-1-28 0,0 0 27 16,-10 3-19-16,10-3 20 0,0 0-32 0,0 0 26 0,-10 1-25 16,10-1 35-16,0 0-29 0,0 0 24 15,0 0-25-15,0 0 26 0,0 0-28 0,0 0 24 16,9-3-28-16,-9 3 31 0,14-4-30 0,-6 2 27 15,2 0-26-15,1-1 31 0,1 0-24 0,1 1 22 16,-2-1-29-16,6-1 24 0,-2 0-20 0,2 0 20 16,-1 1-29-16,1-3 31 0,-2 3-26 0,3-2 32 15,-2 1-31-15,0-2 28 0,-2 3-21 0,3-2 16 16,-3 2-25-16,1-2 22 0,-1 1-19 0,-2-1 26 16,-1 2-30-16,1-1 32 0,-1 0-34 0,-1 1 32 15,0-1-25-15,0 1 23 0,-10 3-23 0,12-5 30 16,-12 5-23-16,13-4 29 0,-13 4-29 0,10-2 30 15,-10 2-36-15,9-3 29 0,-9 3-27 0,0 0 27 16,0 0-36-16,0 0 31 0,0 0-28 0,0 0 31 16,0 0-28-16,-14 3 28 0,14-3-35 0,-16 3 36 15,5 1-33-15,-2-1 27 0,-2 0-30 0,0 2 35 16,0-2-32-16,-2 1 34 0,0 1-29 0,0 0 24 16,0-2-27-16,0 1 29 0,3 0-29 0,-2-1 29 15,0 2-3-15,4-3 2 0,1 1-4 0,-1 1 1 16,3-2-8-16,0-1 3 0,9-1-18 15,-14 4 16-15,14-4 1 0,-13 3-3 0,13-3-2 0,-9 2 0 16,9-2 5-16,-10 3-9 0,10-3 32 0,0 0 7 16,-9 1-7-16,9-1-2 0,0 0-3 0,0 0-1 15,0 0-34-15,0 0 33 0,11-4-35 0,-11 4 32 16,14-2-32-16,-6 0 34 0,1-1-38 0,2 0 22 16,1 1 11-16,1-2-37 0,-2 1 35 0,3 1-33 15,0-2 36-15,-1 2-32 0,0 0 33 16,0-2-34-16,-1 1 33 0,-1 1-29 0,-1 0 31 0,1-2-38 15,-11 4 39-15,13-3-26 0,-13 3 22 0,14-3-29 16,-14 3 27-16,12-4-32 0,-12 4 33 0,0 0-34 16,0 0 38-16,0 0-38 0,0 0 36 0,-7 4-36 15,-3-1 39-15,0 0-38 0,-2 1 32 0,0-1-27 16,-3 1 31-16,0 1-33 0,2 0 34 0,-2-1-35 16,0 1 31-16,-1 0-28 0,4-1 29 0,-4 0-3 15,5 0-32-15,-1-1 19 0,1 0 11 0,1-1 2 16,-1 1-33-16,2 0 46 0,9-3-30 0,-14 4 42 15,14-4-36-15,-12 4 27 0,12-4-30 0,-11 2 24 16,11-2 10-16,-9 1-29 0,9-1 34 0,0 0-29 16,-9 3 28-16,9-3-33 0,0 0 26 0,0 0-9 15,-10 1-8-15,10-1-4 0,0 0-21 0,0 0-23 16,0 0-37-16,0 0-75 0,3-6-74 0,-3 6-59 16,7-4-86-16,-7 4-279 0,11-5-154 0</inkml:trace>
  <inkml:trace contextRef="#ctx0" brushRef="#br0" timeOffset="-177284.35">30961 4572 100 0,'5'-6'240'0,"-5"6"-56"16,0 0-28-16,5-6-33 0,-5 6-28 0,0 0-15 16,0-7-19-16,0 7-8 0,0 0-6 0,-7-6 8 15,7 6-12-15,-7-4-5 0,7 4-5 0,-11-4 19 16,11 4-4-16,-15-2 1 0,7 0-11 0,8 2 9 16,-19-3-14-16,8 1 4 0,0 2-12 0,-4-1 2 15,4 0-1-15,-3 1-2 0,0 0-3 0,-2 0 0 16,2 0-6-16,1 1 2 0,-2 0-5 0,0 0-5 15,-2 2 2-15,2-1-29 0,-3 0 29 0,1 1-8 16,2 1 5-16,-2-1-6 0,3 1 9 0,-1 1-12 16,1-1 9-16,2 1-13 0,-2 1 13 0,1-1-12 15,1 1 13-15,1 1-15 0,1-1 12 0,1-1-6 16,0 2 4-16,0-1-3 0,2 1 5 0,-1 0-9 16,0 0 10-16,3 1-6 0,-1 0 5 0,1 0-9 15,-2 0 11-15,4-1-9 0,-1 0 15 0,1 1-10 16,1 0 16-16,-1-1-10 0,2 0 54 0,-2 0-25 15,3 0 13-15,0-7-29 0,0 14 19 0,3-7-26 16,-2 0 16-16,2-1-22 0,-1 1 20 0,3 0-4 16,0 0 18-16,3-3-28 0,-2 3 26 0,2-2-36 15,0 0 19-15,2 0-24 0,0 0 28 0,-1-2-24 16,4 2 20-16,-3-3-22 0,4 2 26 0,2-1-25 16,-2-1 16-16,2 0-19 0,3 1 34 0,-2-2-29 15,1-1 27-15,1 1-37 0,0 0 30 0,2-1-28 16,-2-1 14-16,1 1-17 0,1-1 30 0,-1 0-26 15,1-2 26-15,0 1-30 0,-3 1 28 0,3-3-3 16,-1 0 24-16,-1 2-33 0,-1-3 29 0,2 1-36 16,-3-3 18-16,1 3-2 0,-1-3 35 15,3-1-45-15,-6 0 37 0,2 1-26 0,-2-2 61 0,1 1-29 16,-3-2 14-16,-1 0-35 0,-1 0 22 0,0-1 12 16,-2 0 8-16,1 0-26 0,-4 0 4 0,0 1 34 15,-3-2-2-15,0 1-13 0,-2 0-13 0,0 1-21 16,-2-1 4-16,0 0-7 0,-3 1-7 0,0 0-3 15,-4 1-6-15,0 0-5 0,0 1-1 0,-3 0 0 16,0 2-4-16,-3 2-78 0,-1 1-31 0,1 2-50 16,-2-1-59-16,-3 4-83 0,1 1-88 0,-2-1-439 15,-4 4-358-15</inkml:trace>
  <inkml:trace contextRef="#ctx0" brushRef="#br0" timeOffset="-175657.45">11923 18826 35 0,'13'-2'136'0,"-4"1"-81"16,-9 1 54-16,15-3-51 0,-15 3 29 0,14-2-64 16,-14 2 40-16,11-1-34 0,-11 1-29 0,7-2-189 15,-7 2 55-15</inkml:trace>
  <inkml:trace contextRef="#ctx0" brushRef="#br0" timeOffset="-173842.01">28309 6939 218 0,'0'0'265'0,"-4"-6"-52"0,4 6-36 0,-5-5-19 0,5 5-22 16,-9-4-22-16,9 4-23 0,-14-4-13 16,14 4-7-16,-17-4-30 0,17 4 29 0,-23 0-39 15,10 0 26-15,-1 1-23 0,1 2 25 0,-3-1-25 16,0 2 27-16,1 2-19 0,0 0 17 0,-2 1-36 15,4 1 23-15,-3 3-10 0,2 2 27 0,0-2-3 0,3 3-13 16,1-1-11-16,4 3-13 0,1-4 3 16,2 4-5-16,3-1-6 0,3 1 0 0,1 1-10 15,3 1 10-15,3 2-3 0,1 0-2 0,4 0-2 16,0 3-17-16,3-2 15 0,-1 1-14 0,1 0 22 16,-3-2-19-16,3 1 17 0,-6-4-20 0,0-2 19 15,0 0-20-15,-6-1 17 0,4-2-13 0,-5-2 6 16,1 1-3-16,-3-4 44 0,1 3 42 0,-4-10-5 15,-1 12-3-15,-3-6-12 0,-2-1 8 0,-1-1-24 16,-5-2 29-16,1 0-24 0,-3 1 10 0,0-2-20 16,-1 0 15-16,0-1-21 0,-1-1 6 0,-2 0-23 15,-1 0 10-15,4-1-24 0,0 1 22 0,2 0-26 0,-1 0 12 16,2 0-11-16,2-1 9 0,10 2-62 16,-17-2-22-16,17 2-38 0,-14-1-70 0,14 1-13 15,-10-4-69-15,10 4-8 0,0 0-75 0,6-7-267 16,1 3-123-16</inkml:trace>
  <inkml:trace contextRef="#ctx0" brushRef="#br0" timeOffset="-173662.01">28326 7277 250 0,'8'-3'399'0,"1"1"-120"0,-9 2-61 16,10-5-51-16,-10 5-25 0,0 0 1 0,13 2-20 15,-13-2-19-15,5 6-18 0,-5-6-20 0,2 8-10 16,-1 0-11-16,-1-8-6 0,0 13-6 0,0-3-4 15,0-2-2-15,0 2-6 0,0 0-22 0,1 1 32 16,-1 0-22-16,0 0 3 0,0 1-116 0,1-3-3 16,1 2-100-16,-1-3-34 0,1 1-266 0,-2-2-4 15</inkml:trace>
  <inkml:trace contextRef="#ctx0" brushRef="#br0" timeOffset="-173083.99">28378 7217 301 0,'0'0'271'0,"0"-11"-68"0,0 11-50 15,0-9-8-15,0 9-24 0,0-9-36 0,0 9-20 0,3-5-12 16,-3 5-15-16,0 0-14 0,0 0 0 0,13 0 18 16,-13 0-8-16,9 8-8 0,-1 0 9 15,-3-3 13-15,1 5-9 0,1 0-9 0,-1 2-3 16,2-1 21-16,-2 3 10 0,-1-1-11 0,0-1 7 15,1 1-8-15,-3 1-7 0,2-4 55 0,-1 1-34 0,-1 1 12 16,-1-2-34-16,0-1 3 0,0 0-17 0,-1-2 14 16,1 0 7-16,-2-7 36 0,2 11 28 15,-2-11 0-15,2 9-2 0,-2-9-38 0,0 0 0 0,-3 5-22 16,3-5 6-16,0 0-26 0,0 0 10 0,-4-8-25 16,4 8 12-16,0-12-19 0,0 5 16 15,4-2-22-15,-1 1-7 0,2-1 5 0,-1 1 2 0,2-1-4 16,0 1-4-16,-1 2 1 0,2 0-3 0,-1 1 3 15,2 2 0-15,-8 3-2 0,13-2 6 0,-13 2-6 16,14 0 8-16,-14 0 0 0,12 3-4 0,-12-3 17 16,12 7-17-16,-6-2 11 0,-2 0-12 15,0 0 14-15,-4-5-17 0,5 11 19 0,-5-11-16 0,5 8 21 16,-5-8-18-16,2 10 18 0,-2-10-12 0,0 7 40 16,0-7 11-16,0 0 21 0,0 7-36 15,0-7 14-15,0 0-26 0,0 0 13 0,0 0-21 0,0 0 12 16,-4-7-24-16,4 7 41 0,1-7-27 15,0 0 8-15,-1 7-19 0,5-9-8 0,-1 4 2 16,1-1-1-16,-5 6-5 0,7-6-5 0,-7 6 4 0,6-6-3 16,-6 6 20-16,9-4-20 0,-9 4 19 15,0 0-15-15,15 4 15 0,-15-4-17 0,9 5 15 16,-9-5-17-16,8 7 20 0,-8-7-55 0,8 9-3 16,-8-9-17-16,6 9-15 0,-3-4-32 0,-3-5-12 15,2 9-43-15,-2-9-44 0,3 10 11 0,-3-10-28 0,0 8-21 16,0-8-1-16,0 0-64 0,2 6-197 0,-2-6-3 15</inkml:trace>
  <inkml:trace contextRef="#ctx0" brushRef="#br0" timeOffset="-172863.03">28798 7099 122 0,'3'-7'462'0,"-3"7"-145"15,4-10-72-15,-4 10-48 0,0 0-16 0,0 0-34 0,0 0-4 16,5 7-5-16,-5 0-3 0,0 2 4 0,0 1-7 15,0 3-30-15,0 1-10 0,0 0-20 0,0 3-9 16,0 1-8-16,0 0 22 0,0 1-22 0,0 0 5 16,-2 1-26-16,2-1 11 0,0 0-19 0,0 0 8 15,-1 0-15-15,0-1 9 0,0 0 1 0,1-1-54 16,-2 0-46-16,2-3-60 0,0-2-56 0,-1-1-10 16,1 0-68-16,1-2-39 0,-1-3-315 0,0-6-130 15</inkml:trace>
  <inkml:trace contextRef="#ctx0" brushRef="#br0" timeOffset="-172458.17">28807 6979 1 0,'-1'-7'483'0,"0"0"-99"16,-1 1-95-16,2 6-10 0,-1-14-70 0,1 14-20 16,-3-10-57-16,3 10-9 0,-1-9-46 0,1 9-4 15,-3-7-31-15,3 7 6 0,0 0-79 0,0 0-27 16,0 0-55-16,0 0-66 0,0 0-44 0,-3 5-315 0,3-5-48 15</inkml:trace>
  <inkml:trace contextRef="#ctx0" brushRef="#br0" timeOffset="-172230.34">29004 6997 337 0,'2'6'329'0,"1"2"-50"0,-2 1-18 0,-1 4-37 0,1-1-20 15,1 3-27-15,-2 3-26 0,0 0 12 0,0 0-38 16,0 2-23-16,0 0-25 0,-2 0-7 16,1-1-18-16,1 3-5 0,0-1-10 0,-1-2-5 0,0 1-8 15,-1 0 1-15,1-1-4 0,0-1-1 0,-1 0-3 16,1-3 0-16,1 1 5 0,-1-3-63 16,0 0-47-16,1-2-27 0,0-1-64 0,-2-2 5 0,2 1-62 15,0-9-4-15,4 9-303 0,-4-9-53 0</inkml:trace>
  <inkml:trace contextRef="#ctx0" brushRef="#br0" timeOffset="-171553.68">29235 7313 219 0,'-2'-11'354'0,"2"11"-70"0,-8-7-39 15,8 7-50-15,-12-5-38 0,12 5-5 0,-21 0-26 16,8 2-14-16,0 2-20 0,0-1-14 0,-1 3-19 15,3 2-3-15,-1-3-19 0,2 5-1 0,2-3-9 16,1 0-23-16,0 3 21 0,4-3-23 0,1 3 30 0,1-3-29 16,1 2 22-16,1-4-18 0,2 1 26 0,2 2-21 15,1-4 20-15,1 1-21 0,0-1 17 16,-7-4-39-16,17 2 7 0,-17-2-49 0,19-1 6 16,-9-2-13-16,-1 0 7 0,0-1 12 0,1 1 10 0,-3 0 6 15,-1-2 0-15,-6 5 28 0,13-5 18 16,-13 5-3-16,10-4-14 0,-10 4-3 0,8-3 0 15,-8 3-8-15,0 0 8 0,0 0 23 0,8 2 0 16,-8-2-6-16,0 0-5 0,2 7-1 0,-2-7 8 0,3 8 0 16,-3-8-12-16,5 6 13 0,-5-6-27 0,4 7 30 15,-4-7-14-15,6 8 39 0,-6-8-21 16,5 5 6-16,-5-5-9 0,9 4 12 0,-9-4-16 16,10 3 15-16,-10-3-21 0,0 0 15 0,14-2-16 0,-14 2-1 15,11-5-9-15,-4 0 8 0,0-3 0 16,0 1-2-16,1-2 0 0,1-1-17 0,-1-1 9 0,-1 2-9 15,2-1 4-15,-4 3 0 0,3-2 0 16,-3 4-3-16,0-1-10 0,-5 6 5 0,8-9-4 0,-8 9-2 16,7-5 8-16,-7 5 3 0,0 0 0 0,0 0 3 15,11 4 2-15,-11-4 2 0,4 9-8 0,-4-9 5 16,2 7 4-16,-2-7 0 0,3 11 0 0,-3-11-2 16,2 9 1-16,-2-9 6 0,2 10-10 0,-2-10 10 15,0 7 4-15,0-7-6 0,3 6-6 0,-3-6 19 16,0 0 11-16,0 7 11 0,0-7-10 0,0 0 0 15,0 0-6-15,12-1-5 0,-12 1-9 0,10-9-1 16,-1 5 0-16,-1-2-6 0,1-2 2 0,0 1-8 16,3 0 2-16,-4 1-2 0,0 0 10 0,1 0 21 15,-2 1-2-15,0 0-4 0,-1 2-3 0,-6 3-8 16,10-6-9-16,-10 6 5 0,9-5-4 0,-9 5 5 16,0 0 7-16,13 0 1 0,-13 0 2 0,8 3-4 15,-8-3-1-15,6 8 6 0,-6-8-5 0,4 8 12 16,-4-8-56-16,3 11-14 0,-3-11-44 0,1 11-51 15,-1-11-5-15,-1 9-34 0,1-9-35 0,-4 10-45 0,4-10-22 16,-6 7-251-16,6-7-37 0</inkml:trace>
  <inkml:trace contextRef="#ctx0" brushRef="#br0" timeOffset="-171327.69">29525 7317 17 0,'-1'-11'280'0,"1"2"-63"0,0-2-49 0,0 2-5 0,1-5-35 15,3 3-25-15,0-3-24 0,2 0-14 0,-1-1-22 0,4 1-30 16,2-2-48-16,-1 2-29 0,1-2-24 15,2 3 0-15,-4 2 22 0,4 0 7 0,-3 4 21 16,-1 0 12-16,0 2 38 0,-1 2 45 0,-8 3 41 16,11-3 35-16,-11 3-11 0,10 3-19 0,-10-3 10 15,9 9-8-15,-6-1-18 0,-1 0-14 0,0 3-7 0,0-1-9 16,-2 2-9-16,2 3-11 0,-2-2-7 16,1 0 1-16,-1 2-1 0,-1 0-4 0,1 1 2 0,-2-3-4 15,2 1-43-15,-2 0-30 0,-1-2-57 0,1 0-34 16,-2-1-40-16,0-3-33 0,-1 0-224 15,-3-2 90-15</inkml:trace>
  <inkml:trace contextRef="#ctx0" brushRef="#br0" timeOffset="-170900.68">29596 7334 230 0,'0'0'218'0,"5"-6"-42"16,-5 6-23-16,9-8-20 0,-2 4-7 0,2-1-7 16,0 0-13-16,3 1-26 0,-1-1 0 0,3 0 2 15,0-1-8-15,-2 1-4 0,2 1-10 0,-3-1-7 16,-2 0 7-16,3 1-9 0,-3 2-3 0,-2-1-15 15,-7 3-10-15,14-2 23 0,-14 2 23 0,0 0 10 16,15 1-7-16,-15-1-12 0,3 6-23 0,-3-6 2 16,3 10-7-16,-3-10-7 0,2 10-5 0,-2-10-6 15,2 12-4-15,-2-12 1 0,1 9-2 0,-1-9 3 16,2 11 4-16,-2-11 0 0,4 7 2 0,-4-7-8 16,7 3-1-16,-7-3-35 0,0 0-51 0,16 0-34 15,-16 0-9-15,13-5 3 0,-5 0 2 0,-2 3 30 16,4-4 6-16,-4 2 22 0,1 1 4 0,-7 3 26 15,9-4-7-15,-9 4 6 0,10-3 39 0,-10 3 15 16,0 0-6-16,11 4 58 0,-11-4-9 0,4 9 5 16,-3-1-3-16,0-1 13 0,-1 4-10 0,0-2-9 15,1 3 9-15,-1 0 2 0,-1 0-16 0,1 1 0 16,0 0 21-16,-2-3-16 0,0 4-2 0,-2-4 5 16,-1 3 8-16,0 0-13 0,-1-3-7 0,-4 0-8 0,2-2-6 15,-1 2-1-15,-1-4 21 0,1-2-2 0,0 3-7 16,-1-4-10-16,1 0-4 0,9-3-19 15,-16 2 12-15,16-2-18 0,-14 0 13 0,14 0-52 16,-11-5-25-16,11 5-59 0,-7-11-29 0,7 11-56 16,0-11-69-16,0 2-24 0,3 0-110 0,2-2-227 0,1-3-133 15</inkml:trace>
  <inkml:trace contextRef="#ctx0" brushRef="#br0" timeOffset="-170745.66">30072 7200 80 0,'0'0'398'15,"0"0"-102"-15,0 0-48 0,0 0-35 0,4 6-8 0,-8-2-40 16,-1 5-17-16,-1 0-6 0,-1 2-36 0,1 1-10 16,-2 1-19-16,3 2-13 0,1-1-16 0,0 2 1 15,3 0-24-15,-1 1 11 0,2 0-19 0,1 0 15 16,3 1-13-16,2-2-18 0,1 2-124 0,5 0-82 16,1-3-471-16,2-3-184 0</inkml:trace>
  <inkml:trace contextRef="#ctx0" brushRef="#br0" timeOffset="-169944.65">30283 7283 41 0,'0'0'370'0,"1"-5"-56"0,-1 5-71 15,0 0-35-15,0 0-71 0,0 0-20 0,0 0-8 0,0 0 10 16,0 0 9-16,0 0-13 0,-3 8-7 16,1-2 24-16,0 0-13 0,-1 1-22 0,2 3-18 15,0-3 13-15,-1 4-8 0,2-3-11 0,0 2-10 16,0-1-17-16,2 2 1 0,0-1-19 0,1 1 9 0,1-1-22 16,1-1 12-16,2 1-8 0,-2-2 3 0,4 3-7 15,-2-4 10-15,2-1-38 0,0 1-45 16,-2-2-44-16,2-2-85 0,3 0-31 0,-12-3-84 15,16 1-378-15,-6-3-188 0</inkml:trace>
  <inkml:trace contextRef="#ctx0" brushRef="#br0" timeOffset="-169816.65">30448 7232 13 0,'-3'-11'392'0,"0"3"-100"0,-1-1-34 15,1 2-54-15,1-1-28 0,-2 1-45 0,1-1-8 0,1 2-40 16,-1 2-1-16,0-3-36 0,3 7-19 15,-3-9-79-15,3 9-45 0,-5-6-53 0,5 6-90 0,0 0-168 16,0 0 129-16</inkml:trace>
  <inkml:trace contextRef="#ctx0" brushRef="#br0" timeOffset="-169640.64">30557 7423 228 0,'1'6'375'0,"-1"-6"-93"0,-1 14-55 0,1-14-22 16,-2 12-67-16,2-6 1 0,-2 0-50 0,2-6 5 16,-3 12-41-16,1-6 23 0,0 0-38 0,0 0-51 15,2-6-94-15,-4 10-40 0,4-10-72 0,-3 10-241 16,3-10 63-16</inkml:trace>
  <inkml:trace contextRef="#ctx0" brushRef="#br0" timeOffset="-169391.65">30591 7335 278 0,'8'-6'270'0,"-1"0"-51"0,0 1-15 16,2 1-30-16,1 0-6 0,-1-1-36 0,0 3 0 16,1-1-42-16,-10 3 7 0,15-2-31 0,-15 2 54 15,18 1-21-15,-18-1-21 0,14 6 22 0,-7-1-6 16,0 1-17-16,0 1 13 0,-1 2-18 0,-1 0-13 15,-1 1-6-15,1 0-9 0,0 3-6 0,-1-1-8 16,-1-2-11-16,-1 2 1 0,0 1-9 0,-1-2 10 16,-1 2-2-16,-1-3-1 0,-1 1-4 0,1 1-43 15,-3-2-44-15,2-1-72 0,-3 0-44 0,1-2-103 16,-1 1-398-16,-2-4-197 0</inkml:trace>
  <inkml:trace contextRef="#ctx0" brushRef="#br0" timeOffset="-169203.34">30663 7406 215 0,'0'0'362'0,"3"-10"-66"0,1 4-48 0,0 3-50 15,0-3-58-15,1 1-11 0,0 0-45 0,3 1-1 16,-2-2-31-16,2 3 3 0,-2-1-33 16,3 1 21-16,0 1-26 0,-9 2 15 0,14-6-20 0,-14 6 14 15,16-2-32-15,-16 2-25 0,12-2-42 0,-12 2-40 16,16-3-50-16,-16 3-79 0,11-1-196 0,-11 1 91 15</inkml:trace>
  <inkml:trace contextRef="#ctx0" brushRef="#br0" timeOffset="-168991.34">30902 7229 58 0,'7'-7'436'0,"-7"7"-124"0,0 0-71 16,7-3 25-16,-7 3-57 0,7 2 8 0,-7-2-48 15,11 10 12-15,-4-3-42 0,-2 1-14 0,0 4-24 0,2 2 3 16,-1 0-17-16,1 2-20 0,-1 2-11 0,-1 1-14 16,0-2-4-16,-2-1 7 0,-2 4-15 0,-1-2 4 15,0 1-14-15,-4 2 10 0,-1 0-17 0,-1-1 11 16,-2-1-38-16,-3-1-43 0,0 0-66 0,-3-1-68 16,2-1-55-16,-4 0-78 0,1-5-335 0,-2-1-170 15</inkml:trace>
  <inkml:trace contextRef="#ctx0" brushRef="#br0" timeOffset="-164401.77">30291 7855 74 0,'0'0'266'0,"0"0"-74"0,0 0-35 15,0 0-41-15,-3 6-20 0,3-6-22 0,0 0-18 16,0 0 20-16,0 0 34 0,0 0-27 0,0 9-5 15,0-9-2-15,0 0 12 0,0 8-20 0,0-8-18 16,0 0-8-16,3 8-3 0,-3-8-9 0,0 7 2 16,0-7 49-16,1 7-8 0,-1-7-13 0,1 9 6 15,-1-9-4-15,0 8-32 0,0-8 13 0,-1 11-13 16,1-11 48-16,-1 11 2 0,1-11-16 16,-3 13-9-16,3-7-15 0,-1 1-3 0,0 0 16 0,-1 1-3 15,1 0-17-15,1 0-1 0,-1 0-8 0,0-1-24 16,-1 0 20-16,2 1-2 0,-1-1 2 0,0 1-6 15,1-2-2-15,0-6-1 0,-3 14-9 0,3-14 5 16,0 13 16-16,0-6-13 0,0-7 5 16,0 12-40-16,0-12-63 0,1 10-29 0,-1-10-46 15,4 9-51-15,-4-9-87 0,4 8-341 0,-4-8-153 0</inkml:trace>
  <inkml:trace contextRef="#ctx0" brushRef="#br0" timeOffset="-164176.77">30512 8039 24 0,'0'0'418'0,"2"6"-129"15,-2-6-34-15,0 6-35 0,0-6-28 0,0 8-13 16,0-8-34-16,-2 10-28 0,2-10-20 0,-3 10-22 16,1-5-13-16,2-5-10 0,-4 13-11 0,3-7-9 15,-2 3 0-15,3-2 2 0,0 0-5 0,-1 2-4 16,0-2-17-16,1 0 14 0,0 1-80 0,0-8-7 15,1 14-46-15,-1-14-22 0,1 11-28 0,-1-11-21 16,0 10-8-16,0-10-69 0,3 5-118 0,-3-5 166 16</inkml:trace>
  <inkml:trace contextRef="#ctx0" brushRef="#br0" timeOffset="-163848.77">30636 7960 56 0,'6'-8'234'0,"-1"0"-57"16,1 2-26-16,1 0-22 0,-1 0-9 0,0 1-16 16,-3 0-19-16,-3 5-24 0,8-6-11 0,-8 6-14 15,10-3-2-15,-10 3-1 0,9 2 0 0,-9-2-8 16,5 6 52-16,-5-6-9 0,3 10-2 0,-3-10-28 0,-1 13 3 16,-1-5-13-16,1 0 1 0,-1 2 9 15,0 0 15-15,2-1-11 0,-2 2-2 0,2 0-9 0,0-1-7 16,2 0-2-16,0 0-2 0,1 2 0 15,0-1 13-15,1-2 4 0,3 5-3 0,-3-3-7 0,3-1-9 16,-2 0-1-16,-1-1-3 0,1 1-5 0,-3-2 1 16,3 0 4-16,-3 0 38 0,-1-2 9 0,-1-6-16 15,-3 12 5-15,-2-7-21 0,0 1 9 0,-4-2-17 16,0 0 7-16,-1 0-9 0,1-3 9 0,-1 2-13 16,10-3 10-16,-19 0-31 0,19 0-65 0,-17-3-54 15,7 2-84-15,2-2-88 0,2-1-291 0,-1-2-104 16</inkml:trace>
  <inkml:trace contextRef="#ctx0" brushRef="#br0" timeOffset="-163648.77">30972 7873 108 0,'10'-3'469'0,"0"-1"-165"0,-10 4-51 0,16-3-74 15,-16 3-26-15,13-1-33 0,-13 1 32 0,8 4-24 16,-8-4-21-16,5 8-6 0,-3-2-23 0,-2 2-12 15,-3 1-9-15,-1 1-4 0,-2 1-8 0,-2 4-1 16,-1 1-39-16,-3 0-33 0,-1 0-20 0,0 1-18 16,-5 2-36-16,-2 0-48 0,-1-1-37 0,1 0-59 15,-3-1-255-15,-1-2 8 0</inkml:trace>
  <inkml:trace contextRef="#ctx0" brushRef="#br0" timeOffset="-162975.33">28799 7898 90 0,'4'-8'364'0,"-4"-1"-100"0,0 9-58 0,2-10-47 16,-2 10-36-16,0-10-33 0,0 10-25 0,0 0-19 15,-4-5-12-15,4 5-16 0,0 0 1 0,-3 5 1 16,3-5-2-16,1 11 37 0,3-4-1 16,1 4-8-16,3-2-10 0,0 3-4 0,3 1 0 15,2 1 6-15,2 0 13 0,0 3-6 0,2-3-5 0,1 3-12 16,-4-1-4-16,1-1-7 0,-3 0-2 0,-2-1 2 15,0-2-6-15,-3 1 5 0,-1-1 45 16,-4-1 11-16,-1 0-25 0,-1-1 30 0,-3-1-11 16,-1 0 1-16,-2-1-9 0,-2-2-4 0,-2-1-16 15,1 1-3-15,-2-3-6 0,-1 0-3 0,-1 0-6 0,1-2 2 16,0 0-6-16,-1-1-1 0,13 0-7 0,-21-1-21 16,21 1-23-16,-18-3-24 0,18 3-70 0,-13-3-39 15,13 3-62-15,-9-5-57 0,9 5-293 0,-1-8-94 16</inkml:trace>
  <inkml:trace contextRef="#ctx0" brushRef="#br0" timeOffset="-162137.64">29158 7902 176 0,'0'0'286'0,"0"0"-79"0,7 2-3 0,-7-2-14 16,4 11-30-16,-2-4-9 0,-2 3-7 16,2 0 4-16,-2 1-19 0,0 1 16 0,0 1-10 15,0-1-37-15,0 3-7 0,0-2-25 0,0 0-1 16,0 2-20-16,0-3 24 0,0 1-16 0,-2-1-5 0,2-1-9 16,0 1-6-16,0-1-6 0,0-4-5 15,0 2 3-15,0-2-2 0,0-7 4 0,0 13-9 0,0-13-33 16,0 5-1-16,0-5-21 0,0 0-8 15,0 0-26-15,0 0-12 0,3-5-16 0,-2-2-33 16,0-1-24-16,1-2-25 0,1-3-1 0,-1 0 15 16,0-1 13-16,-1-2 13 0,2 1 3 0,-2-1-7 0,1 0 7 15,0 2 7-15,-2 1 35 0,0 0 11 16,3-1 26-16,-2 3-6 0,0 0 30 0,1-2 25 16,-1 4 28-16,0-2-3 0,1 3 12 0,-2-1-6 15,1 3 2-15,-1-1-4 0,0 7-6 0,1-11-10 16,-1 11 6-16,1-10-10 0,-1 10 11 0,5-8-8 15,-5 8 0-15,4-7-16 0,-4 7 4 0,8-6-4 0,-8 6 10 16,10-4-9-16,-10 4 9 0,15-4-2 16,-15 4 20-16,16-3 5 0,-16 3 28 0,19 0 14 15,-19 0 25-15,22 4 7 0,-12-2-11 0,0 2 27 16,2 2 4-16,-2 1-12 0,0 0 34 0,0 4-20 16,-1-1 8-16,0 3 32 0,-1-1-26 0,-1 0-21 0,1 1-18 15,-3 3 31-15,1-4-24 0,-1 3-20 16,0-2-10-16,-2 1-16 0,1-3-9 0,-1 0-7 15,-2-1-2-15,2 1-5 0,-1-1 4 0,0-2-8 16,0-1-1-16,-2 0 4 0,0-7 30 0,3 11 41 16,-3-11 7-16,2 10 5 0,-2-10-33 0,0 0 1 0,3 6-32 15,-3-6 7-15,0 0-26 0,3-5 8 16,-3 5-21-16,6-9 7 0,-2 3-21 0,-1 3-2 16,3-3-4-16,-1 0 3 0,2 2-5 0,-2 1-2 15,-5 3 1-15,11-7-1 0,-11 7 0 0,12-4 4 16,-12 4 0-16,11 1 1 0,-11-1 0 0,11 3 0 15,-11-3 1-15,10 4 13 0,-10-4-26 0,8 5 28 16,-8-5-19-16,6 5 18 0,-6-5-15 0,7 5 12 16,-7-5-7-16,0 0 18 0,6 5-5 0,-6-5 31 15,0 0-23-15,0 0 15 0,10-4-23 0,-10 4 7 16,7-8-17-16,-1 2-1 0,-2-3-2 0,5 2-1 16,0-2-4-16,-1 0 17 0,2 1-16 0,0-1 12 0,-2 3-15 15,1-1 5-15,-1 2-7 0,2 1 11 16,-1 2-12-16,-9 2 14 0,17-1-13 0,-17 1 15 15,17 3-14-15,-8 3 1 0,-1-2 17 0,-1 4-13 16,0 0 14-16,0 2-15 0,2 0-17 0,-4 2-38 16,2 1-15-16,0 0-9 0,0-1-19 0,-1 3-18 0,2-1-50 15,-2 0-22-15,3-1-58 0,-1 1-6 0,0 0-69 16,3-2-276-16,-1-1-114 0</inkml:trace>
  <inkml:trace contextRef="#ctx0" brushRef="#br0" timeOffset="-161180.77">31316 7977 535 0,'0'0'452'0,"0"0"-70"15,0 0-53-15,0 0-35 0,0 0-21 0,0 0-37 16,-6 4-29-16,6-4-26 0,0 0-22 0,0 0-32 16,0 0-27-16,0 0-22 0,0 0-16 0,0 0-16 15,0 0-9-15,-2 5-11 0,2-5-4 0,0 0-8 16,0 0 2-16,0 0-6 0,0 0 0 0,0 0 0 15,0 0-1-15,0 0-2 0,0 0 0 0,0 0 5 16,0 0 0-16,0 0 5 0,0 0-3 0,0 0-3 16,0 0 1-16,0 0-5 0,0 0 1 0,1-6-2 15,-1 6-11-15,0 0 10 0,3-9 2 0,-3 9-2 16,0 0 1-16,2-7-4 0,-2 7-1 0,0 0-3 16,3-6 3-16,-3 6-6 0,0 0 0 0,0 0 0 15,0 0-1-15,3-6-3 0,-3 6 0 0,0 0-1 16,0 0-42-16,0 0-26 0,0 0-24 0,0 0-22 15,0 0-39-15,-7 5-40 0,7-5-41 0,0 0-32 16,-4 8-65-16,4-8-329 0,0 0-175 0</inkml:trace>
  <inkml:trace contextRef="#ctx0" brushRef="#br0" timeOffset="-160106.21">31528 7821 128 0,'0'0'401'0,"-4"-10"-135"0,4 10 11 0,-4-10-46 0,4 10-51 15,-2-9-40-15,2 9-30 0,0-8-20 0,0 8-26 16,5-6-15-16,-5 6 1 0,0 0-10 0,10-2-3 15,-10 2-2-15,12 6 11 0,-6-2 13 16,1 3-32-16,1 1 15 0,1 1-30 0,-1 2 20 0,-1 0-34 16,-1 1 25-16,0 1-16 0,-2-2 13 0,0 2-23 15,-2-1 29-15,1-1-30 0,-2 1 29 0,-2-1-26 16,-2 0 31-16,1-2-17 0,-1 1 55 0,-1-2-6 16,-1-1 1-16,1 1 10 0,-1-2-1 0,0-2-5 15,5-4-6-15,-10 6-2 0,10-6-11 0,0 0-1 16,-13-2-13-16,13 2-8 0,-6-7-6 0,4 1-4 15,-1 0-4-15,3-1 3 0,1-1-4 0,1-1-7 16,2-2 1-16,1 0-7 0,0 0 3 0,3 0 5 16,0 1-3-16,1-1-3 0,0 2 1 0,0-1-7 15,1 3-35-15,1 0-17 0,-2-2-19 0,3 4-21 16,-3-1-34-16,0 2-30 0,2 0-12 0,-2 1-25 16,0 1-23-16,-9 2-11 0,17-2-16 0,-17 2-25 15,15-1-138-15,-15 1 128 0</inkml:trace>
  <inkml:trace contextRef="#ctx0" brushRef="#br0" timeOffset="-159726.22">31845 7853 124 0,'6'5'311'0,"-6"-5"-69"0,2 9-26 15,-2-9-46-15,0 10 18 0,0-10-52 16,2 12-9-16,-1-5-51 0,-1 0 14 0,3 1-27 16,-1 1 5-16,0-1-31 0,0 2 9 0,-1-1-19 0,2 0 5 15,-2 0-20-15,1 1 25 0,0 0-18 0,-2-2 17 16,0 1-27-16,1-3-26 0,1 3-51 0,-2-2-30 16,1-1-56-16,-1-6-57 0,1 12-46 0,-1-12-143 15,0 7 140-15</inkml:trace>
  <inkml:trace contextRef="#ctx0" brushRef="#br0" timeOffset="-159214.21">31961 7906 97 0,'0'0'349'16,"8"-8"-76"-16,-8 8-68 0,9-6-10 0,-2 2-39 0,-7 4-14 15,12-7-47-15,-12 7 1 0,13-3-37 0,-13 3 3 16,14 0-22-16,-14 0 1 0,11 2-18 0,-11-2 13 16,10 8-14-16,-6-4 19 0,-4-4-16 0,4 11 21 15,-3-4 0-15,-1 0 21 0,-1 1-35 0,0-1 22 16,-1 0-37-16,1 1 24 0,1-1-36 0,0 1 26 15,0 0-28-15,0 0 25 0,1 1-32 0,3-2 26 16,0 3-26-16,0-3 22 0,1 2-25 0,0-1 15 16,2-1-16-16,-2 0 26 0,0-1-27 0,0 0 16 15,-2 0-19-15,0-1 32 0,-3-5-20 0,8 7 26 16,-8-7-35-16,0 0 18 0,-4 10-10 0,4-10 25 16,-11 3-30-16,11-3 27 0,-16 3-25 0,6-1 29 15,1 0-47-15,-1-1-29 0,-1 0-70 0,0 0-49 16,0 1-79-16,-1 0-329 0,2 0-91 0</inkml:trace>
  <inkml:trace contextRef="#ctx0" brushRef="#br0" timeOffset="-155662.66">30328 8708 424 0,'-12'-2'342'0,"12"2"-39"0,-14-2-26 15,14 2-44-15,-11-3-34 0,11 3-45 0,-10-1-27 0,10 1-25 16,0 0-32-16,-11-3-15 0,11 3-8 0,0 0-9 16,0 0-8-16,0 0-3 0,16 2-3 0,-4-2-2 15,1 1-3-15,1 0-3 0,4-1-1 16,1 2-3-16,2-1-6 0,-1 0 5 0,2 0-1 15,0 1-1-15,-2 0 5 0,-1 0 0 0,2-1-39 0,-5 1-45 16,0 0-55-16,-4-1-47 0,1 1-35 0,-1-2-14 16,-12 0-16-16,14 1-248 0,-14-1 28 15</inkml:trace>
  <inkml:trace contextRef="#ctx0" brushRef="#br0" timeOffset="-155443.66">30486 8597 346 0,'0'0'240'0,"0"0"-64"0,0 0-37 16,-9 1 35-16,9-1-12 0,-5 8-14 16,5-8 9-16,-4 11-28 0,3-2 3 0,1-2-16 0,-1 4-16 15,1-2-13-15,-1 2-15 0,1 0-16 0,0 1-6 16,0 0-11-16,0 0-9 0,1 0 0 0,0 3-4 16,-1-4-6-16,0 3-4 0,1-1-1 0,1-3 0 15,-1 4 3-15,0-1-7 0,-1-2 9 16,3 1-45-16,-2 0-43 0,0-3-22 0,-1 3-83 15,0-5-42-15,0 3-61 0,0-4-249 0,0-6-26 0</inkml:trace>
  <inkml:trace contextRef="#ctx0" brushRef="#br0" timeOffset="-153860.4">31065 8521 131 0,'0'0'234'0,"-1"-10"-39"0,1 10-11 0,-3-11-28 15,3 11-9-15,-3-10-26 0,3 10-27 0,-4-8-25 16,4 8-17-16,-7-7-12 0,7 7-11 0,-9-2-10 0,9 2-2 15,-12 2 1-15,4 1-5 0,0 3 1 0,-1 0 2 16,-1 3-7-16,1 1-1 0,1 0-2 0,2 3 1 16,0 0-4-16,3 0 7 0,1 3-11 0,2 0 10 15,2-1-6-15,2 3 6 0,2 1-7 0,3 0 8 16,0 1-16-16,3-1 15 0,2 3-10 0,-3-4 8 16,3 0-9-16,-2-1 8 0,1-2-8 15,-3-1 1-15,-2 0-6 0,-1-2 6 0,2-3-8 0,-4 1 6 16,0-2 9-16,1 0 50 0,-4-1 21 0,1-1 34 15,-3-6-12-15,-3 10-13 0,3-10-18 0,-6 5-12 16,6-5-11-16,-13 4-6 0,13-4-5 0,-17 1-7 16,17-1-3-16,-18 0-3 0,18 0-3 0,-19-2-8 15,19 2 8-15,-18-3-7 0,18 3 6 0,-14-2-3 16,14 2-6-16,-14-1-46 0,14 1-31 0,-10-2-43 16,10 2-48-16,-9-3-45 0,9 3-32 0,0 0-34 15,0 0-161-15,-3-7 98 0</inkml:trace>
  <inkml:trace contextRef="#ctx0" brushRef="#br0" timeOffset="-152960.34">31321 8741 222 0,'5'-5'197'0,"-5"5"-31"0,3-7-16 16,-3 7-33-16,2-6-19 0,-2 6-21 0,3-6-11 15,-3 6-15-15,1-6-3 0,-1 6 1 0,0 0 8 16,2-8-4-16,-2 8 14 0,0 0-6 0,0-8-5 16,0 8-15-16,0 0 14 0,0-9-2 0,0 9 4 15,0 0-22-15,0-8 6 0,0 8-23 0,0 0 18 16,0-9 1-16,0 9 19 0,0 0-27 0,0-8 17 16,0 8-3-16,0 0-5 0,0-7-6 0,0 7-3 15,0 0 0-15,0 0-2 0,0-7-9 0,0 7-6 16,0 0-1-16,0 0 1 0,0 0-5 0,0 0-5 15,0-7 0-15,0 7-2 0,0 0-5 0,0 0-7 0,0 0-17 16,0 0 19-16,0 0-31 0,0 0 39 16,0 0-19-16,0 0 21 0,0 0-14 0,0 0 19 15,0 0-21-15,0 0 21 0,4 6-16 0,-4-6 19 16,0 0-21-16,1 6 20 0,-1-6-17 0,0 0 19 16,0 0-20-16,3 7 23 0,-3-7-21 0,0 0 22 0,0 0-19 15,3 6 18-15,-3-6-17 0,0 0 19 0,0 0-19 16,0 0 20-16,0 0-22 0,2 6 24 15,-2-6-19-15,0 0 23 0,0 0-23 0,0 0 20 0,0 0-23 16,0 0 28-16,0 0-36 0,0 0 28 0,0 0-25 16,0 0 24-16,0 0-18 0,0 0 16 0,0 0-22 15,0 0 23-15,0 0-23 0,0 0 18 16,0 0-19-16,0 0 23 0,0 0-21 0,0 0 24 0,0 0-22 16,0 0 15-16,0 0-20 0,0 0 19 0,0 0-20 15,0 0 21-15,0 0-26 0,0 0 26 0,0 0-25 16,0 0 21-16,0 0-27 0,0 0 16 0,0 0-19 15,0 0 21-15,0 0-18 0,0 0 18 0,3 6-8 16,-3-6 15-16,0 9-13 0,0-9 23 0,0 14 30 16,0-7 15-16,0 1-12 0,1 0-9 0,0 1-10 15,1 1 0-15,-1 1-3 0,0-3-7 0,1 3 3 16,-1-1-3-16,1-1-1 0,0 0-2 0,0 1-4 16,-1-1 5-16,1-1-2 0,-1 1-3 0,0-2-6 15,-1 1-30-15,0-1-56 0,0 0-55 0,1 1-50 16,-1-8-51-16,-1 12-48 0,1-12-201 0,0 7 23 15</inkml:trace>
  <inkml:trace contextRef="#ctx0" brushRef="#br0" timeOffset="-152400.14">31325 8608 276 0,'-2'-8'260'0,"2"8"-38"0,-2-10-47 0,2 10-33 15,-3-10-36-15,3 10-23 0,-1-8-36 0,1 8-4 16,0 0-14-16,3-5-14 0,-3 5-31 0,0 0-17 16,12 1-16-16,-12-1-8 0,18 5-5 0,-9-2 10 15,1 3 7-15,1 1 7 0,0 0 6 0,2 1 3 0,-2 1 2 16,3 1 9-16,-3 0 3 0,0 2 5 0,1 0 40 16,-3 0 5-16,0 2 28 0,1-1 14 0,-3-1-12 15,1 3 23-15,-1-2-12 0,-1 0 3 0,0-1 11 16,-1 2-2-16,-1-5-30 0,1 2 1 0,-2-3-25 15,0 2 5-15,0-3-19 0,-1 1 11 0,1-1 8 16,0-3 56-16,-3-4 26 0,2 11 23 0,-2-11 4 16,4 7-2-16,-4-7 17 0,2 7-10 0,-2-7-26 15,0 0-28-15,0 0-20 0,0 0-18 0,0 0-9 16,0 0-7-16,-2-6-9 0,2 6-10 0,-1-8-1 16,1 8-9-16,-1-11-3 0,1 11-1 0,2-11-9 0,-2 4 0 15,3 1-1-15,-1 0-2 0,2-1-3 0,2 2-5 16,0-1 2-16,1 1-2 0,-1 2 0 0,-6 3 2 15,12-4-7-15,-12 4 6 0,17 0-1 0,-17 0 6 16,14 4-4-16,-5-1-2 0,-3 2 2 0,1-1 2 16,-1 1 3-16,1-1-2 0,0 4-5 0,-2-3 4 15,-1 2 5-15,1-1 4 0,-1 0-4 0,0-2 0 16,0 4-1-16,-4-8-2 0,4 8 2 0,-4-8 5 16,0 11 1-16,0-11-3 0,-2 7 0 0,2-7 1 0,-6 7 1 15,6-7 0-15,-6 7-1 0,6-7 2 16,-7 3 1-16,7-3 0 0,0 0 0 0,-11 3-2 0,11-3 0 15,0 0-4-15,-10 3-34 0,10-3-13 0,0 0-11 16,0 0-20-16,-11 1-10 0,11-1-41 0,0 0 5 16,0 0-34-16,0 0-33 0,-9-2-18 0,9 2-49 15,0 0-37-15,0 0-258 0,-1-7-63 0</inkml:trace>
  <inkml:trace contextRef="#ctx0" brushRef="#br0" timeOffset="-151966.14">31739 8800 224 0,'0'0'267'0,"0"0"-49"0,2-6-37 16,-2 6-34-16,4-6-24 0,-4 6-24 0,5-6 14 15,-5 6-9-15,9-5-7 0,-9 5-25 0,7-4-13 16,-7 4-28-16,10-3 7 0,-10 3-20 0,11-2 5 15,-11 2-13-15,12 4 12 0,-12-4-22 0,11 5 18 16,-7-1-18-16,3-1 20 0,-2 3-20 0,0 0 16 0,0 0-13 16,-1 1 13-16,0 1-16 0,-1-1 22 15,1 2-16-15,-1-2 15 0,-1 2-12 0,0-2 9 0,1 1-14 16,-1 0 11-16,-1-1-10 0,0 2 20 0,-1-4-17 16,0 3 20-16,0 0-24 0,0-8-33 15,0 12-49-15,0-12-30 0,1 8-18 0,-1-8 1 0,0 9-51 16,0-9-279-16,0 0 69 0</inkml:trace>
  <inkml:trace contextRef="#ctx0" brushRef="#br0" timeOffset="-151708.14">32034 8540 337 0,'0'0'240'16,"0"0"-35"-16,-14 2-28 0,6 1-8 0,1 1-27 15,-1 1-8-15,-1 1-32 0,1 1 35 0,-1 1-47 16,2 3 7-16,0 0-34 0,0 1 10 0,3 1-30 16,-1-1 5-16,3 3-22 0,0-3 14 0,1 1-22 15,1 1 15-15,1-1-21 0,1 3 21 0,1-2-29 16,0 1 30-16,2-1-29 0,0 1 22 0,0-2-18 16,-1-1 21-16,1 1-28 0,0-4 14 0,-1 1-67 15,0-2-7-15,2 1-34 0,-2-2 4 0,0-2-41 16,-1 1-24-16,-3-6-36 0,11 5-37 0,-11-5-205 0,14 0 103 15</inkml:trace>
  <inkml:trace contextRef="#ctx0" brushRef="#br0" timeOffset="-151494.14">32159 8690 122 0,'0'0'404'0,"4"-8"-110"16,-4 8-51-16,3-7-73 0,-3 7-40 0,0 0-44 15,6-5-9-15,-6 5-30 0,0 0 15 0,0 0 18 16,6 7 9-16,-6-7-24 0,4 10 32 0,-3-4-37 0,2 1 10 15,0 1-31-15,-1 2 20 0,1-2-40 0,-1 4 18 16,1-3-28-16,-1 2 22 0,1-1-26 0,-2 1 23 16,0 1-23-16,1-1 22 0,-1 1-26 0,0-2 25 15,-1 2-25-15,0-2 26 0,0 0-34 0,-1 1-43 16,0-3-35-16,1 0-54 0,0 0-56 0,-2-1-32 16,2-7-18-16,2 11-215 0,-2-11 59 0</inkml:trace>
  <inkml:trace contextRef="#ctx0" brushRef="#br0" timeOffset="-151278.04">32398 8838 176 0,'5'4'262'0,"-5"-4"-64"0,4 6-34 0,-4-6 8 16,3 6 13-16,-3-6-50 0,2 8-22 0,-2-8-32 15,0 10 13-15,0-10-3 0,0 10 1 0,0-10-32 16,-1 11 5-16,1-11-34 0,-3 13 18 0,3-13-23 15,-1 9 13-15,-1-2-21 0,2-7 23 0,-4 10-32 16,4-10 27-16,-5 10-27 0,5-10-48 0,-4 8-60 16,4-8-37-16,-4 7-28 0,4-7-23 0,0 0-292 15,-4 5 38-15</inkml:trace>
  <inkml:trace contextRef="#ctx0" brushRef="#br0" timeOffset="-150935.96">32572 8766 223 0,'0'0'268'0,"0"0"-63"15,0 0-37-15,0 0-15 0,-13 6 13 0,13-6-35 16,-9 7-12-16,4-1-26 0,1 0-7 0,-2 0-23 16,2 1-4-16,0 2-27 0,2-2 10 0,-1 3-14 15,3-3 9-15,0 2-5 0,0 0 23 0,3 0-30 0,-1 0 14 16,2 0-25-16,-1 0 13 0,2-2-19 0,0 2 23 15,-1-2-26-15,0-2 25 0,-1 2-24 0,1-4 26 16,-4-3-23-16,7 7 17 0,-7-7-24 0,8 4 18 16,-8-4-21-16,0 0 11 0,11-4-16 0,-11 4 14 15,5-4-12-15,-5 4 30 0,1-7-35 0,-1 7 8 16,0-9-1-16,0 9 9 0,-4-7-11 0,4 7 12 16,-5-9-16-16,5 9 30 0,-6-7-31 0,6 7 29 15,-7-4-31-15,7 4 27 0,-8-6-22 0,8 6-26 0,-6-3-40 16,6 3-9-16,0 0-36 0,-9-4-7 15,9 4-16-15,0 0-5 0,0 0-6 0,0 0-16 0,0 0-56 16,0 0-103-16,6-4 215 0</inkml:trace>
  <inkml:trace contextRef="#ctx0" brushRef="#br0" timeOffset="-150736.95">32779 8705 67 0,'0'0'286'0,"14"-2"-59"16,-14 2-33-16,9 1-31 0,-9-1-23 0,8 6-11 0,-3-1 26 15,-1 1-23-15,-1 1-30 0,0 1-14 0,0 1-20 16,-1 2-13-16,1-2-6 0,1 3-16 16,-2 0 4-16,-2 0-8 0,3 1-1 0,-3 1-7 0,0-2 13 15,-3 4-16-15,-1 0 19 0,-1 0-21 0,0-3 26 16,-3 1-59-16,-3 2-33 0,-1-1-47 0,-2-1-45 16,2-3-53-16,-1 1-39 0,0-3-213 0,1-1 80 15</inkml:trace>
  <inkml:trace contextRef="#ctx0" brushRef="#br0" timeOffset="-150161.86">33038 8922 265 0,'0'0'403'0,"0"0"-79"0,0 0-36 16,0 0-63-16,7-5-42 0,-7 5-35 15,0 0-32-15,0 0-19 0,0 0-28 0,5-3-17 0,-5 3-58 16,0 0-26-16,0 0-41 0,0 0-45 0,0 0-64 16,0 0-54-16,0 0-242 0,5 4 34 15</inkml:trace>
  <inkml:trace contextRef="#ctx0" brushRef="#br0" timeOffset="-149861.73">33330 8679 101 0,'0'0'269'16,"0"0"-86"-16,0 0-39 0,0 0 2 0,0 0 0 15,0 0-15-15,0 0 5 0,0 9-27 0,0-9-21 16,-5 11-15-16,2-5-16 0,-1 1-13 0,2 2 0 16,-2-1-13-16,0 2-2 0,-1-1-6 0,1 2-3 0,0-2 1 15,-1 2-3-15,1 3-3 0,-1-5 6 16,1 4 0-16,-2 0 2 0,2-2-20 0,0 0-70 16,-1-1-37-16,3 1-16 0,-3-3-53 0,1 2-57 0,-1-3-152 15,0 1 163-15</inkml:trace>
  <inkml:trace contextRef="#ctx0" brushRef="#br0" timeOffset="-149587.7">33157 8739 301 0,'0'0'246'0,"0"0"-58"0,1-8-51 0,-1 8-6 16,0 0 4-16,0 0-27 0,0 0-15 0,16 4 3 16,-10 0 12-16,1-1-14 0,2 2-20 0,0 1-15 15,3 1-10-15,-1 0-9 0,0 3-12 0,2-2 7 16,0 2-12-16,-1-2-1 0,1 3-2 0,-2-1 2 16,0 1-7-16,-1-2-22 0,-1 1-46 0,3-1-40 15,-5 1-56-15,0-2-26 0,-2 1-22 0,0-3-230 16,-1-1 105-16</inkml:trace>
  <inkml:trace contextRef="#ctx0" brushRef="#br0" timeOffset="-149445.71">33244 8867 201 0,'0'0'141'0,"8"-7"-7"0,-8 7-47 0,11-5 7 16,-11 5-46-16,16-4 17 0,-16 4-40 15,15-1-19-15,-15 1-100 0,17 0-29 0,-17 0-61 16,16 0 52-16</inkml:trace>
  <inkml:trace contextRef="#ctx0" brushRef="#br0" timeOffset="-146412.27">29564 9229 20 0,'0'0'162'0,"0"0"-31"0,0 0-32 16,10 3-17-16,-10-3-9 0,18 2 0 0,-5-1-3 0,4 0-6 15,6 2 0-15,2 1 9 0,12-1 3 0,1 0 2 16,11 1-2-16,4 3-20 0,6-2-6 0,14 1-9 15,5 3-7-15,2-2-3 0,5 2-5 16,4-1-5-16,5 2-10 0,4-2 1 0,5 1-8 0,21 2 5 16,0 0-4-16,-21-4-2 0,19 3-2 0,-16-2-1 15,-1-2-2-15,1 2 4 0,0-3-8 0,-5 1 1 16,-2 1 1-16,-5-3 1 0,-3 0-1 0,-5-1-1 16,-5 2-4-16,-4-1 6 0,-13-2-2 0,-4 1 4 15,-2-2-2-15,-4 0-1 0,-2 1 0 0,-10-1 3 16,-4-1 2-16,-1 2-3 0,-7-1-1 0,-2-1 2 15,-5 1 1-15,-3-1-2 0,-2 2-5 0,-3-2-39 16,0 1-30-16,-3-1 7 0,-12 0 24 0,14 2 15 16,-14-2-11-16,0 0-38 0,2 6-33 0,-2-6-162 0,-13 6 273 15</inkml:trace>
  <inkml:trace contextRef="#ctx0" brushRef="#br0" timeOffset="-145067.55">30182 9453 341 0,'0'0'274'0,"-2"-9"-58"0,2 9-51 15,-2-7-36-15,2 7-30 0,-6-4-11 0,6 4-14 0,0 0-15 16,-18 2-14-16,18-2-6 0,-14 5-10 0,6 2-10 16,1-1-4-16,1-1-5 0,3 4 2 0,1-1-6 15,1 2 1-15,1-1-2 0,3 4 0 16,-1 0 1-16,5-1-3 0,-1 2-1 0,3 1 1 0,0 0-4 15,1 1 1-15,0-1 5 0,1 1-6 0,-1 0 1 16,-1-2 1-16,-2-2-3 0,1 0 0 0,-1 0 1 16,-2-4 0-16,0 2 34 0,-3-2 83 0,1 0 21 15,-3-1-9-15,0-7-35 0,-5 10-7 0,-2-7-29 16,1 1-7-16,-2-2-8 0,8-2 22 0,-19 1-18 16,19-1-1-16,-20 0-16 0,8-1 6 0,1 0-9 15,11 1 1-15,-19-4-1 0,11 2-2 16,8 2-30-16,-13-3-47 0,13 3-59 0,-10-7-21 0,10 7-43 15,1-8-38-15,5 3-29 0,-1 0-29 0,7-1-201 16,0-2 43-16</inkml:trace>
  <inkml:trace contextRef="#ctx0" brushRef="#br0" timeOffset="-144906.99">30403 9627 108 0,'0'0'219'0,"13"4"34"0,-13-4-56 0,8 5-40 15,-8-5-34-15,7 7-26 0,-7-7-19 0,6 10-15 16,-3-4-14-16,-1-1-5 0,1 2-2 0,0 0-6 15,-2 0-5-15,2 0 2 0,-1 0-3 0,1 1 0 16,-2-1-13-16,2 0-74 0,-2 0-27 0,-1-7-61 16,3 12-21-16,-3-12-22 0,2 8-114 0,-2-8 238 15</inkml:trace>
  <inkml:trace contextRef="#ctx0" brushRef="#br0" timeOffset="-144398.8">30458 9621 28 0,'0'-10'277'0,"3"3"-71"15,-1 1-44-15,1-1-44 0,-3 7-22 0,5-11-28 16,-5 11-10-16,9-7-15 0,-9 7-13 0,10-4-8 0,-10 4-8 16,14 3-2-16,-5-1 2 0,-1 3 6 15,0 1 51-15,0 1-17 0,1 1-16 0,0 2-14 16,-2 1 3-16,2-1-3 0,-3 1 40 0,-1 1-2 16,0-2 11-16,-1 1-1 0,-1-1-15 0,2 0-24 15,-3-1 11-15,1 0-25 0,-2 0 19 0,0-2-18 16,1-1 24-16,-2-6 25 0,2 12 54 0,-2-12 26 15,2 8 5-15,-2-8-33 0,0 0-29 0,0 0-9 16,0 0-20-16,0 0-6 0,0 0-17 0,0 0-4 16,-4-5-12-16,4 5-4 0,4-9-14 0,-4 9 3 15,7-9-7-15,-3 3 5 0,5 2-14 0,-3 0-1 16,3 0-2-16,0 2 2 0,1 1-5 0,-10 1 16 16,17 0-14-16,-7 1 9 0,1 1-10 0,-4 1 7 15,3 1-3-15,-3 0 4 0,-1 1-5 0,1 0 9 16,-2 1-3-16,-1-1 4 0,1 0-4 0,-5-5 7 15,5 10-6-15,-5-10 9 0,2 10-12 0,-2-10 10 16,0 7-5-16,0-7 7 0,-2 6-6 0,2-6 10 0,0 0-4 16,0 0 10-16,-8 2-15 0,8-2 12 15,0 0-18-15,-5-8 15 0,5 8-4 0,1-9 5 16,-1 9-13-16,7-13-2 0,-2 7 2 0,1-1-3 16,3 0-4-16,1 1 1 0,2 0 1 0,-2 1-9 15,0 1 10-15,2 2-6 0,-3 0 2 0,-9 2 5 16,19-1-1-16,-19 1 5 0,15 4-1 0,-5-1 1 15,-3 2 0-15,-1 2 7 0,-1-1 2 0,2 1-26 16,-5 0-34-16,1-1-9 0,-1 3-33 0,-2-2-21 16,-1 0-52-16,0 1 24 0,-2 1-51 0,1-1 1 15,-2-1-38-15,0 1-30 0,2-2-182 0,-2-2 85 16</inkml:trace>
  <inkml:trace contextRef="#ctx0" brushRef="#br0" timeOffset="-144030.3">31280 9682 351 0,'6'-5'298'0,"-6"5"-77"0,0 0-58 0,8-3-23 15,-8 3-25-15,0 0-5 0,0 0-25 0,-4 4-2 16,4-4-9-16,-6 8-12 0,2-2-14 0,0-2-9 15,-2 3-4-15,1 0-4 0,-2 0 3 0,2 0-2 16,-3 2 0-16,0 0-12 0,-1 0-93 16,-2 1-55-16,1 0-50 0,0-3-41 0,-2 1-215 0,0-2 94 15</inkml:trace>
  <inkml:trace contextRef="#ctx0" brushRef="#br0" timeOffset="-143833.45">31081 9715 396 0,'5'-5'290'0,"-5"5"-59"0,9-3 6 0,-9 3-23 16,12 0-41-16,-3 1-30 0,4 2-18 15,1 1-7-15,0 2-21 0,3-1-24 0,-1 4-4 16,1-1-10-16,1 2-11 0,-3 1-22 0,1-2 15 0,-2 3-24 16,-2-1 13-16,0 0-11 0,-2-1-3 0,-1 0-84 15,-1 0-37-15,-2-2-70 0,-2 1-39 0,2-1-14 16,-2-1-48-16,-1-1-153 0,-3-6 103 0</inkml:trace>
  <inkml:trace contextRef="#ctx0" brushRef="#br0" timeOffset="-143510.24">31598 9678 61 0,'5'-4'318'0,"-2"-1"-66"0,-3 5-75 0,4-9-35 16,-4 9-40-16,0 0-19 0,-2-7-19 0,2 7-11 16,0 0-11-16,-11 0-6 0,11 0-14 0,-9 5 4 15,9-5-23-15,-10 9 11 0,7-4-4 0,-1 1-1 16,3 2-2-16,0 0 2 0,1-1-3 0,1 4 1 16,0-1 4-16,3 0-4 0,-2 0 1 0,1 2-2 15,2-2 0-15,-2-1-1 0,-1 2-1 0,2-2-2 16,-1 1 0-16,-2-3 2 0,2 1 8 0,-2 0 58 15,-2-2 1-15,-1 0-9 0,0 0-7 0,-3-3-12 16,5-3-1-16,-13 7-31 0,5-4 24 0,8-3-24 16,-14 3 18-16,14-3-24 0,-18 1 27 0,18-1-28 15,-14-1-4-15,14 1-68 0,-14-3-49 0,14 3-87 16,-9-3-84-16,9 3-125 0,-4-8 124 0</inkml:trace>
  <inkml:trace contextRef="#ctx0" brushRef="#br0" timeOffset="-143357.89">31702 9786 190 0,'0'0'274'16,"11"5"-55"-16,-11-5-56 0,8 6-27 0,-8-6-32 0,6 7-12 15,-6-7-21-15,4 9-8 0,-4-9-14 0,6 11-5 16,-6-11-4-16,4 11 1 0,-4-4-1 0,0-7-4 16,0 12-2-16,1-5-35 0,-1-7-104 0,0 11-57 0,0-11-63 15,2 8-124-15,-2-8 196 0</inkml:trace>
  <inkml:trace contextRef="#ctx0" brushRef="#br0" timeOffset="-142852">31744 9730 61 0,'0'0'306'0,"0"-12"-83"16,0 12-59-16,2-10-28 0,-2 10-41 0,4-8-13 15,-4 8-17-15,7-4-17 0,-7 4-13 16,12-1-3-16,-12 1-12 0,13 2-4 0,-4 4-6 0,0-2-2 15,0 1-6-15,-1 1 7 0,2 2-9 0,0 1 4 16,-1-1 7-16,-1 2-1 0,1-3-3 0,-3 1 2 16,-1 0-7-16,0 1 1 0,1-3 1 0,-3 3 18 15,1-2 35-15,-1-3-7 0,-3-4 6 0,2 13 41 16,-2-13-4-16,1 8 7 0,-1-8-12 0,-2 6-17 16,2-6-5-16,-5 5-13 0,5-5-7 0,0 0-5 15,0 0-9-15,-12-1-2 0,12 1-12 0,-5-6 2 0,5 6-1 16,-2-8-10-16,2 8 2 0,-2-7-7 0,2 7-1 15,4-8-2-15,-4 8-18 0,7-7 19 16,-7 7-25-16,10-7 22 0,-10 7-19 0,11-6 12 0,-11 6-18 16,13-2 25-16,-13 2-24 0,13 1 21 0,-13-1 5 15,11 4-3-15,-11-4 6 0,12 7-14 0,-12-7 12 16,9 7-3-16,-9-7 0 0,6 8 2 0,-6-8-1 16,7 8 3-16,-7-8-3 0,4 6-1 0,-4-6 9 15,3 5 8-15,-3-5 55 0,0 0 28 0,7 7 36 16,-7-7 3-16,0 0-24 0,0 0-24 0,0 0-18 15,0 0-17-15,0 0-10 0,7-5-8 0,-7 5-10 0,4-6-6 16,-4 6-4-16,9-5-7 0,-9 5-7 16,10-6-1-16,-10 6 0 0,9-3-3 0,-9 3-2 15,13-2 0-15,-13 2-3 0,13 1 5 0,-13-1-32 0,11 3-12 16,-11-3-20-16,9 7-40 0,-9-7-23 0,9 8-15 16,-9-8-11-16,5 10-51 0,-5-3-42 0,0-7-8 15,0 12-42-15,0-12-173 0,-5 11 48 0</inkml:trace>
  <inkml:trace contextRef="#ctx0" brushRef="#br0" timeOffset="-141676.23">28452 8099 52 0,'-4'13'65'0,"1"0"20"0,1 4 22 16,-1 2-5-16,1 4-57 0,-1 4 25 0,2 5-14 16,-2 4-7-16,-2 7-8 0,1 3-4 0,-1 3-5 15,1 1 39-15,-1 0 4 0,0 1-17 0,3-1-10 16,0 0-11-16,2-3 2 0,0-1-5 0,4-1-22 16,-1-2 44-16,2-1 10 0,1-4 5 0,3-4-35 15,0 1 18-15,5-7 18 0,2 4 7 0,1-8-19 16,3-3 11-16,5 2-28 0,6-5 19 0,2-2-29 15,7-4 19-15,-1-1-30 0,3-3 21 0,4-3-31 16,1 0-45-16,2-3-93 0,-8-1-51 0,4-1-328 16,4-1 0-16</inkml:trace>
  <inkml:trace contextRef="#ctx0" brushRef="#br0" timeOffset="-140384.28">19911 17909 134 0,'9'-5'195'16,"4"-4"-65"-16,3 0-36 0,1-1-28 0,3-2-22 0,-1 0-30 15,4 0-28-15,3-1-49 0,-2 1-45 16,-1-1-47-16,-1 4 40 0</inkml:trace>
  <inkml:trace contextRef="#ctx0" brushRef="#br0" timeOffset="-140229.99">20136 17978 1 0,'-12'8'206'0,"3"-3"11"15,2 0-59-15,7-5-8 0,-11 3-64 0,11-3 15 16,-6-4-66-16,6 4 3 0,6-12-17 0,3-1-46 16,2 1-32-16,4-4-42 0,2-2-42 0,4 0-78 15,-2 0 69-15</inkml:trace>
  <inkml:trace contextRef="#ctx0" brushRef="#br0" timeOffset="-104151.97">9471 3834 13 0,'0'0'184'16,"0"0"-27"-16,0-9-19 0,0 9-21 0,0 0-35 16,1-7-21-16,-1 7-13 0,0 0 1 0,0 0 13 15,0 0 3-15,0 0-9 0,9 7 48 0,-5-2 6 16,-2 3-31-16,1 1-7 0,1 1-13 0,-2 5-3 0,1 0-8 16,-2 3 11-16,3 0-9 0,-3 1 1 0,-1 1-15 15,0 0 8-15,0 1-20 0,0-1 8 0,0 1-12 16,0-1 10-16,0 1-20 0,0-1 8 15,0-1-13-15,0 0 17 0,0 0-18 0,1-1 19 0,1-3-13 16,0 1 12-16,2-1-41 0,-1-3-33 0,-2 0-33 16,3-2-34-16,0 0-21 0,-2-3-47 0,3-3-34 15,-5-4-159-15,11 5 164 0</inkml:trace>
  <inkml:trace contextRef="#ctx0" brushRef="#br0" timeOffset="-103434.47">9517 3751 200 0,'0'0'202'0,"-4"-10"-42"16,4 10-30-16,-4-7-10 0,4 7 4 0,-4-9-28 0,4 9-11 15,0-5-21-15,0 5-6 0,-1-6-19 16,1 6-4-16,4-7-11 0,-4 7 4 0,9-5-7 0,-3 1 6 16,4 2-9-16,3-1 6 0,0-1-1 0,4 1 2 15,-1 1-3-15,5-2 11 0,4 1-13 16,1 0 0-16,3-1 5 0,6 1 6 0,2-1-5 16,2 1 13-16,11 0-19 0,1-2 11 0,2 1-26 0,3 0 15 15,5 1-8-15,11-2 3 0,3 0-12 0,-2-1 8 16,4 1-4-16,-3 0 9 0,1 0-9 0,-2 1 15 15,0 0-14-15,-10 1 4 0,11-1-7 0,-13 1 10 16,2 1-24-16,-3 0 18 0,0-1-13 0,-3 2 11 16,-2 0-19-16,-1-1 25 0,-2 0-23 0,-3 1-2 15,-7 0-7-15,-1-1 19 0,-3 1-12 0,2 0 16 16,-6 0-15-16,-3-1 18 0,-2 0-21 0,0 1 19 16,-5 0-14-16,3-1 16 0,-5 1-11 0,-1-2 8 15,-2 0-10-15,2 2 16 0,-3-1-16 0,0 1 15 16,-2-2-19-16,0 1 20 0,-1 1-17 0,-1 0 15 15,1 0-21-15,-3-2 24 0,1 0-19 0,-1 2 15 16,0 0-15-16,1 0 18 0,-2 0-20 0,-1 0 21 16,3-2-16-16,-3 3 13 0,2-1-13 0,1 0 15 15,-2 0-22-15,2 0 22 0,-2 1-17 0,5-2 20 16,-3 2-19-16,1 0 10 0,1-1-8 0,-2 1 12 16,2 0-16-16,-2 0 10 0,1 0-5 0,-3 1 6 15,1-1-10-15,1 2 7 0,-3-1-6 0,1 0 14 0,0 1-7 16,-4 1 7-16,1 0-8 0,1 2 21 0,-4 0 6 15,0 1 10-15,0 0-6 0,-1 2 54 0,-3 0-36 16,1 2 20-16,-2 1 35 0,0 1-26 16,-3 0-10-16,3 1-5 0,-2 3-11 0,-1-1-11 0,3 1-2 15,-1 1 5-15,-2 1-7 0,3 0-2 0,-1 0-3 16,-2 0-7-16,2 1-7 0,-3-1-2 0,3 0-3 16,-2 0-3-16,2-1-4 0,-1-1-24 0,0 1 37 15,1-1-37-15,1-1 37 0,0 0-37 0,0-3 41 16,1 1-36-16,1 1-29 0,0-4-54 0,-1 1-13 15,1 0-37-15,-1-3-34 0,0 1-44 0,2-2-19 16,-3-7-37-16,1 9-210 0,-1-9 19 0</inkml:trace>
  <inkml:trace contextRef="#ctx0" brushRef="#br0" timeOffset="-103213.92">11972 3957 275 0,'0'0'227'0,"-9"7"-33"16,9-7-11-16,-4 8-35 0,4-8 23 15,0 8-34-15,0-8-2 0,10 7-29 0,-3-4 16 0,2 0-43 16,2 0 10-16,3-2-39 0,-1 0-14 0,5 1-22 16,2 0 3-16,-3-2-24 0,3 1-18 0,0-1-40 15,-1 0-83-15,0 0 3 0,-1-1-61 0,0-1-40 16,-3-1-116-16,3 1 184 0</inkml:trace>
  <inkml:trace contextRef="#ctx0" brushRef="#br0" timeOffset="-102081.93">14810 3924 244 0,'-5'10'211'0,"0"2"-35"0,-4 3-27 15,1 2-20-15,1 1-2 0,0 0-12 0,-1 1-16 16,1-2-15-16,3-1-19 0,0-1-5 16,2 2-18-16,-1-2 3 0,1 1-16 0,-2 0 4 15,4-3-35-15,-1 0-36 0,1 0-60 0,1-2-43 0,-1 0-43 16,2-1-178-16,0-2 180 0</inkml:trace>
  <inkml:trace contextRef="#ctx0" brushRef="#br0" timeOffset="-101868.89">14763 3903 60 0,'0'0'178'0,"13"-4"-16"15,-3 0-36-15,5 1-10 0,2 1-18 0,6 1-17 16,4 0-23-16,2 0-13 0,3 1-7 0,8 0-6 16,1 0-9-16,7 1-6 0,3 0-8 0,2 1-13 15,2-1-1-15,2-1-2 0,1 1-3 0,0 2-14 16,4 0-8-16,-1-2-18 0,3 0 3 0,-1 0-26 16,-2 0-19-16,3 1-25 0,-1-1-68 0,-1-1 53 15</inkml:trace>
  <inkml:trace contextRef="#ctx0" brushRef="#br0" timeOffset="-101568.04">17614 3855 39 0,'0'0'120'0,"7"7"-11"0,-7-7-16 16,4 8 57-16,-4-8-27 0,2 12-25 0,-2-5-22 16,0 2-14-16,0 0 30 0,0 3 23 0,-1 0-27 15,1 1-12-15,-1 0-24 0,1 2-8 0,0 2-8 16,-2-1 1-16,2 1-15 0,0 1 1 0,0 0-8 16,0 0 5-16,0 0-6 0,0 0 1 0,0 0-8 15,0 0 11-15,0 0-5 0,0-1 7 0,2 0-8 16,-1-1 8-16,0-1-5 0,-1-1 3 0,3-2-67 15,0 2-39-15,-1-4-48 0,-1 2-43 16,0-3-199-16,-1-2 167 0</inkml:trace>
  <inkml:trace contextRef="#ctx0" brushRef="#br0" timeOffset="-101100.22">17161 4257 145 0,'0'0'212'15,"0"0"-15"-15,-7 4-20 0,7-4-16 16,0 0-25-16,0 0-13 0,-4 5-26 0,4-5-20 15,0 0-21-15,0 0-4 0,0 0-15 0,0 0-7 16,0 0-11-16,13 1 8 0,-13-1-14 0,14-1 4 0,-14 1-10 16,18-2 5-16,-18 2-24 0,22 0-21 0,-11-1-11 15,3 0 3-15,-1 1-11 0,0-1 17 0,1 1 3 16,1 0 11-16,-2-1-3 0,2 1 7 0,-2 0 4 16,-1 0 6-16,2 0-2 0,-3-1 0 0,-11 1-2 15,22 0 3-15,-22 0-4 0,18 0 10 0,-18 0-3 16,16 0 10-16,-16 0 14 0,13 1 24 0,-13-1-4 15,14-1 1-15,-14 1-14 0,11-2 3 0,-11 2-4 16,12-1 10-16,-12 1-11 0,12-3 11 0,-12 3-1 16,10-4 5-16,-10 4-24 0,13-5 13 0,-13 5-16 15,10-5 8-15,-10 5-16 0,14-5 11 0,-14 5-11 0,10-8 9 16,-10 8-10-16,11-6 10 0,-11 6-13 16,11-7 11-16,-11 7-12 0,9-7-32 0,-9 7-45 15,6-5-48-15,-6 5-58 0,8-7-233 0,-8 7 118 16</inkml:trace>
  <inkml:trace contextRef="#ctx0" brushRef="#br0" timeOffset="-96517.24">14818 4062 83 0,'0'9'140'0,"0"1"2"0,-1 1-36 0,1 2-16 16,-2-1-17-16,1 1-4 0,1 2 28 0,-1 0-17 15,0 0-8-15,-1 0-17 0,0 0 4 0,0-1-10 16,1-2-4-16,0 1-34 0,0 0 27 0,-1 0-6 15,0-3-4-15,-2 2-9 0,3-2 1 0,-1 1-10 16,1-3 7-16,0 1-2 0,0-4 4 0,-2 3-3 16,3-8 3-16,-1 10-1 0,1-10 5 0,-3 9-40 15,3-9-78-15,0 0-21 0,-2 6-53 0,2-6-161 16,0 0 213-16</inkml:trace>
  <inkml:trace contextRef="#ctx0" brushRef="#br0" timeOffset="-95762.59">14744 4066 97 0,'-3'-8'188'16,"3"8"-20"-16,-1-10-14 0,1 10-22 0,-3-11-16 0,3 11-31 15,-2-10-12-15,2 10-18 0,4-7-7 0,-4 7-16 16,7-8-3-16,1 3-8 0,0 1-4 0,3-1-8 16,1 2 4-16,4-2-11 0,0 1 10 0,0 0-4 15,4 0 4-15,1 1-2 0,2 0 2 0,3-1-2 16,-2 0 1-16,3 1-4 0,1 1 6 0,-1-1-9 15,2 0 5-15,-1 0-8 0,3 1 4 0,-3 0-1 16,3 0 4-16,-2 0-12 0,3 1 8 16,-1-2-2-16,-2 2 0 0,3-1-4 0,-3 1 4 0,1-1-2 15,-2 2 0-15,-2-1 0 0,1 0 4 0,-3 1-5 16,-1-2 2-16,-3 2-8 0,3 0 10 0,0-1-4 16,0 1 3-16,-2-1-5 0,-1 1 3 0,3-1 0 15,-2 1 4-15,-1-1-8 0,2 1 7 0,-3-1 0 16,4 1 5-16,0-2-5 0,-1 1 10 0,1 1-13 15,4-1 8-15,-1 0-4 0,1 1 11 0,3-1-9 16,0 0 1-16,1 1-6 0,1 0 5 0,0 0-7 16,1 0 9-16,4-2-10 0,-1 2 5 0,-2 0-5 15,-2 0 8-15,0 0-4 0,0 0-1 16,0 0 1-16,-1 0 10 0,-1 0-23 0,1-1 19 0,-3 1-9 16,-2 0 6-16,0 0-9 0,-5 0 10 0,2 0-12 15,-2 0 9-15,-1 0-5 0,0 0 5 0,0 1-2 16,-1-1 4-16,1 0-5 0,0 0 8 0,-1 0-15 15,1 0 15-15,-2 0-5 0,1 0 7 0,-1 0-9 16,1 2 10-16,0-2-6 0,-2 0 2 0,2 0-7 16,-3 0 9-16,-1 1-7 0,0-1 2 0,2 1-7 15,-3-1 7-15,1 0-4 0,-1 0 4 0,0 0-4 16,-2 0 4-16,-1 0-5 0,2 0 9 0,-1 0-9 0,0-1 7 16,-1 0-1-16,-11 1 38 0,20-2-15 0,-20 2 6 15,17-1-9-15,-17 1 32 0,16-3-16 16,-16 3 28-16,14-2-21 0,-14 2 22 0,14-2-15 0,-14 2 13 15,9-1-22-15,-9 1 17 0,0 0-23 0,13-3 9 16,-13 3-10-16,0 0-9 0,0 0-12 0,14-1-32 16,-14 1 21-16,0 0-25 0,0 0 21 0,0 0-19 15,12 2 21-15,-12-2-23 0,2 6 27 0,-2-6-24 16,3 10 26-16,-3-10-19 0,1 12 25 0,-1-5 3 16,0 1 23-16,1 1-36 0,-1-1 21 0,-1 1-24 15,1 1 20-15,0 1-25 0,0-1 21 0,0 1-21 16,0-1 27-16,0 1-35 0,0 0 31 0,0 0-31 15,0 0 30-15,1-2-23 0,1 2 17 0,-2-1-22 16,1-1 29-16,-1 2-4 0,2-2 2 0,0 1-44 16,0-2-49-16,-2-1 0 0,0 0-33 0,3-1-18 15,-3-6-32-15,1 11-9 0,-1-11-17 0,5 8-39 16,-5-8-29-16,0 0-145 0,4 4 151 0</inkml:trace>
  <inkml:trace contextRef="#ctx0" brushRef="#br0" timeOffset="-95469.45">17034 4149 24 0,'-12'3'236'0,"1"1"-48"0,11-4-50 0,-13 4-32 15,13-4-24-15,-11 5-8 0,11-5 42 0,-10 7-15 16,10-7 6-16,-6 8 14 0,6-8 0 16,2 7-11-16,-2-7 9 0,9 7-33 0,-2-3-1 0,4-1-29 15,-1-1 12-15,4 1-31 0,-1-2 16 0,1 0-23 16,0 0 17-16,1 1-42 0,-1-2 37 0,-1-2-30 15,2 2 22-15,-3-1-2 0,0-1 59 0,0-1-37 16,-2 1 15-16,2 0-36 0,-2-3 20 0,-2 0-37 16,2 0 25-16,-4-1-20 0,1 0 41 0,-1 0-42 15,0-1 32-15,-3 0-46 0,-1 0 25 0,1 1-34 16,-2-2 33-16,1 2-35 0,-2 6 28 0,2-12-42 16,-2 12-14-16,0-10-86 0,0 10-71 0,1-8-61 15,-1 8-1-15,0 0-1 0,0 0-48 0,0 0-143 16,0 0 83-16</inkml:trace>
  <inkml:trace contextRef="#ctx0" brushRef="#br0" timeOffset="-94303.75">14622 4262 186 0,'0'0'166'15,"0"0"-54"-15,0 0-25 0,0 0 6 0,0 0-12 0,2 9 6 16,-2-9-3-16,4 9-9 0,-2-3-15 15,2 0-1-15,0 1 3 0,0 1 28 0,2 0-18 16,-1 1-5-16,0-1-11 0,2 1 25 0,-2-1-9 0,4-2-7 16,-3 1-8-16,2 1-11 0,1-3-4 0,2 1-1 15,-2-1 8-15,4-2-4 0,3 1-6 0,1-2 0 16,0 0-9-16,2-2-7 0,0-2 1 16,0 1-5-16,2-1-3 0,-3-2 0 0,2 2 1 0,-2-3-4 15,0 0-21-15,-2 0 24 0,0 1-21 0,0-2 19 16,-3 0-36-16,4 0-26 0,-4-1-34 0,-2 0-2 15,3 2-68-15,-1-1-62 0,-2 0-49 0,0 2-157 16,-2-1 118-16</inkml:trace>
  <inkml:trace contextRef="#ctx0" brushRef="#br0" timeOffset="-27508.24">9330 4135 165 0,'-4'-8'308'0,"-1"-1"-60"0,1 2-24 15,-1 1-34-15,3-3-48 0,-2 2-16 0,0 2-13 16,4 5-4-16,-5-11-46 0,5 11-12 15,-4-7-24-15,4 7 2 0,0 0-17 0,0 0 15 0,0 0-16 16,3 5 18-16,1 1 16 0,-1 3 4 0,4-1-21 16,0 3 8-16,1 1-21 0,1 0 16 0,0 1-26 15,1-1 17-15,3 1-16 0,-4 1 12 0,4-4-12 16,-3 1 85-16,5-1-6 0,-5-1-29 0,2 0-1 16,2-1-3-16,-1-3 21 0,1 0-1 0,-1-3-10 15,1 0-4-15,0-2-6 0,-1-3-11 0,3-1-5 16,-3 0-2-16,4-2-8 0,-6-3-27 0,3 2 41 15,-1-4-21-15,2-2 24 0,-3 0-13 0,-2-2 19 16,1 1-36-16,-3 1 24 0,0 0-6 0,-3-1-5 16,3 1-5-16,-5 1-6 0,1 2-33 0,0 1-20 15,-1 0-49-15,-2 2-52 0,-1 7-55 0,3-9-17 16,-3 9-36-16,0 0-81 0,0 0-297 0,-7 6-138 16</inkml:trace>
  <inkml:trace contextRef="#ctx0" brushRef="#br0" timeOffset="-26220.16">9706 4227 168 0,'-9'-6'186'0,"3"3"-44"15,-5-2-20-15,1 3-28 0,0-1-20 0,-3 1-20 16,-1 1-3-16,-2 1-6 0,-1 1-5 0,-5 1-13 16,3 1-2-16,-3 0-1 0,1 3 8 0,-1 0-7 0,0 2 12 15,0 2 16-15,-2 3-3 0,1 3 12 0,1 1 8 16,-7 6-1-16,2 0-1 0,2 5 35 15,-1 1-26-15,2 2 9 0,3 1-15 0,1 1 10 0,2 1-16 16,3 0 3-16,3 1-12 0,2-3 7 16,2 0-19-16,4 0-5 0,3 0-2 0,1-3-8 15,3 3-4-15,2-2-9 0,1-2 8 0,7 0-1 0,0 0 2 16,3-4 26-16,6 2-3 0,2-3-10 0,6-3 0 16,-2-6-15-16,2-2 3 0,10-2-10 0,-5-3 5 15,4-4-5-15,0-2 3 0,-1-3 0 16,9-4-5-16,-3-4-2 0,2-2-1 0,-5-3 13 0,-3-5-2 15,-1 0 21-15,-4-6-2 0,-2-2 4 0,-4-3-7 16,-4-4 14-16,-3-1-11 0,-3-2 24 0,-5-2-23 16,-3-1 10-16,-2 1-11 0,-4 4-15 0,-5 1-4 15,-2-1 8-15,-1 2-9 0,-6-3-2 0,-3 3-6 16,-2 2-3-16,-3 3-8 0,4 5 2 0,-4 2-1 16,0 2-37-16,-1 3-23 0,4 2-19 0,-1 4-33 15,2 0-71-15,3 4-87 0,0 0-41 0,1 4-52 16,11 3-292-16,-16 0-162 0</inkml:trace>
  <inkml:trace contextRef="#ctx0" brushRef="#br0" timeOffset="-25426.16">12001 4053 256 0,'0'0'268'0,"0"0"-73"0,-14 2-50 16,14-2-22-16,-15 7-36 0,5-2-11 0,-2 2-21 15,-1 1-2-15,-2 3-17 0,0 2 6 0,-2 1-7 16,3 3 15-16,-4 0-17 0,4 5 20 0,-3 1 11 16,5 1 12-16,-2 1-4 0,2 2-3 0,1 1-3 15,2 2-66-15,1 1 98 0,0 2-45 0,2-1 24 16,2 3-21-16,2-3-7 0,0 3-9 0,4-1-2 16,0-1-6-16,3 2-11 0,4-2 6 0,0 3 22 15,4-3-5-15,2 1-19 0,-1-3 3 0,3-6-3 16,3 4-2-16,-3-6-6 0,3-1-5 0,2-3 5 0,1-2-11 15,0-1 16-15,0-4-1 0,0-2 11 0,-2-3-5 16,-1-1 15-16,-1-4-5 0,2-2 0 16,-2-2-3-16,0-5 25 0,3-2-11 0,-3-4 4 15,-1-5-10-15,1-3-1 0,-4-4-6 0,3-5 6 0,-4-4 42 16,-1 0-15-16,-4 3 27 0,0-1-12 16,-3-2-2-16,-3 0-7 0,-3 1 4 0,-2-3-28 0,-1-2-3 15,-5-1-9-15,-2-2-9 0,-2 2-5 0,-3 1-11 16,2 1-1-16,-3 2-5 0,0 3-36 0,0 6-28 15,0 1-3-15,1 3-41 0,0 2-33 0,-2 6-36 16,2 3-57-16,-4 3-66 0,-1 4-52 0,1 3-456 16,-6 3-324-16</inkml:trace>
  <inkml:trace contextRef="#ctx0" brushRef="#br0" timeOffset="-23812.99">9379 5176 134 0,'-14'1'309'15,"2"1"-48"-15,2 0-91 0,10-2-3 16,-13 3-57-16,13-3 13 0,-15 2-52 0,15-2 14 0,-8 3-36 16,8-3 43-16,0 0-4 0,0 0 21 0,19 1-43 15,1-3 23-15,8-2-39 0,15-2 18 0,7-1-6 16,19-1-11-16,3-1-10 0,4-2-4 0,6 0-11 15,6 2-18-15,3-1 21 0,2 1-8 16,3 0-2-16,3 1 0 0,1 0-4 0,1 0-6 0,0 1 6 16,2 1-4-16,0 1-2 0,-1 1-1 0,-2 0-1 15,0 1-1-15,-6 0-3 0,-4 3 6 0,-6-1-5 16,-1-1-2-16,-7 1-3 0,-14 1 8 0,0-1-5 16,-2 1-3-16,-5 0 2 0,-2-1 2 0,-10 1-3 15,-3 0 3-15,-4-1 0 0,-4 1 1 0,-4-1-6 16,-6 1 36-16,0-2 18 0,-3 2 28 0,-4 0 8 15,-1-1 0-15,-1 0-6 0,0-1-7 0,-2 0 6 16,-3 0-16-16,-8 2-16 0,14-6-11 0,-14 6-3 16,8-8-6-16,-8 8 8 0,2-10-3 0,-2 10-8 15,-5-11-3-15,1 3-7 0,-3 0 3 0,0-1-4 0,0-1-7 16,-4-2 6-16,0 1-3 0,-2-3-2 16,-2-1 15-16,1-1-23 0,-5-2 22 0,0-1-23 15,-1-2 12-15,1 2-18 0,1-1 18 0,0 0-20 16,0 1 21-16,3 4-21 0,1 0-48 0,-1 2-74 0,2 1-82 15,-1 5-63-15,2 1-71 0,-3 5-453 16,2 1-324-16</inkml:trace>
  <inkml:trace contextRef="#ctx0" brushRef="#br0" timeOffset="-22725.5">9493 4964 244 0,'-6'-4'235'0,"6"4"-50"0,-7-6-54 0,7 6-34 16,0 0-27-16,-9-3-16 0,9 3-4 0,-8 6 25 15,3-1-18-15,1 2 3 0,0 2 19 0,0 0-6 16,1 2-3-16,-2 0-15 0,1 3 27 0,0-1 27 15,0 0-51-15,3-2 6 0,-2 2-29 0,2-2 21 16,0-1-42-16,-2 1 26 0,3 0-29 0,0-2 28 16,1 2-37-16,2-2 31 0,-2-2-33 0,0 0 36 15,2 0-35-15,1-1 29 0,-4-6-30 0,10 9 29 16,-10-9-40-16,12 5 21 0,-12-5-48 0,14 2 6 16,-14-2-62-16,19-3 21 0,-9 0-20 0,0-1-43 15,1 0-26-15,0-3-20 0,3 1 21 0,0-1-221 16,0-1 163-16</inkml:trace>
  <inkml:trace contextRef="#ctx0" brushRef="#br0" timeOffset="-22073.44">9865 5173 238 0,'-4'5'251'0,"4"-5"-68"0,0 0-45 16,0 0-25-16,6 5-20 0,-6-5-10 0,18-1-10 15,0-2 17-15,1 1-16 0,8-1 4 0,6-3-15 0,12 2-7 16,5-2-9-16,3-2-9 0,5 1-4 16,11 0-8-16,1-1-1 0,4 1-8 0,-4-2 1 15,1 2-1-15,0 0-2 0,-3 0-4 0,-9 0-3 16,0 0 3-16,-3 3-8 0,0-2-5 0,-1 0-11 16,-3 1-3-16,-3 0-5 0,-2 2 8 0,-7 0 3 15,-4-1-3-15,-2 1 4 0,-3 0-6 0,-3 1 11 16,0 1 0-16,-4-3 1 0,-2 3 2 0,-1-2 0 0,-1 2-2 15,-1-1-1-15,-1 1 3 0,-3-2-4 0,0 1 2 16,0 1 4-16,-4 0 2 0,2-2 8 16,-1 0 3-16,-1 2 5 0,-1-1-6 0,-1 0 3 15,0-1 5-15,-1 1-1 0,2-2-8 0,-2 2 0 0,0 1-3 16,-1-3-1-16,2 0-3 0,-1 1 3 0,-2-2-3 16,4 3 2-16,-2-2-1 0,0-1 1 0,-2 1-3 15,3-1-3-15,-3 1 0 0,1-3 3 0,-1 1-1 16,1 0-1-16,0-2-2 0,0 1 2 0,-1-2-5 15,-1 0 2-15,4-3 0 0,-4 3 0 0,2-3-3 16,-1 1 2-16,-1-1 0 0,-1 0-1 0,2 0 0 16,1 0 3-16,-2-1 0 0,0 2-4 0,0-2 0 15,-1 1 3-15,2 0-2 0,1 0 3 0,-1 0 4 16,1 0 2-16,0 1-6 0,-2 2 2 0,2 0-4 16,-1 0 2-16,-1 2 2 0,-1 0-4 0,2 1-51 0,1-1 25 15,-2 1-8-15,0 0-10 0,-1 1-12 16,1 1-7-16,1 0-23 0,-6 4-12 0,8-8-20 15,-4 4-28-15,-4 4-23 0,8-8-124 0,-8 8 250 0</inkml:trace>
  <inkml:trace contextRef="#ctx0" brushRef="#br0" timeOffset="-21817.85">11963 4238 134 0,'-3'-8'155'16,"1"1"-27"-16,-2 0-22 0,0-2-3 0,0 3-31 15,-1-2-18-15,0 0-13 0,-3 1-4 0,2-1-8 16,-3 2-5-16,0-2-5 0,-2 0-5 0,-1 0-4 16,-2 0-12-16,1 3 6 0,-5-1 0 0,2-1-3 15,-6 2-9-15,-1-1-12 0,1 1-10 0,-5 0-21 16,-1 1 3-16,0 2-12 0,-6-1-18 0,-2 0-19 15,-2 0 17-15,-2 2-68 0,0 0 42 0</inkml:trace>
  <inkml:trace contextRef="#ctx0" brushRef="#br0" timeOffset="-21087.89">9034 4456 24 0,'-4'10'23'15,"0"0"2"-15,0 0-14 0,2 3 1 0,-2 0 15 16,1 2-23-16,1 0 16 0,-2 2-23 0,3 1 21 15,-2 1-20-15,3 1 15 0,0 2-15 0,0 3 14 0,0 0-14 16,3 1 15-16,2-1-15 0,0 0 15 0,1 2-23 16,5 0 25-16,1-3-11 0,2 1 13 15,3-2-14-15,2 0 23 0,0-3-17 0,8 3 17 0,1-2 20 16,3-2 5-16,2-1 6 0,4-1-5 16,4-2 9-16,2-1-4 0,1-1-4 0,6-1-6 15,-2-2-7-15,5 0 0 0,2-2 5 0,0 0 0 16,0-1-5-16,2-4 7 0,2-2 1 0,1-2 6 0,4-1-6 15,9-2-1-15,0-3-1 0,0-2-9 16,-1 0-4-16,0-3 2 0,-1 0-7 0,1-3-1 0,-2 3-7 16,-3-3-3-16,-1-1 3 0,-2 2-14 0,-3-2 11 15,0 0-15-15,-1-2 11 0,-3 0 1 0,-8 2 2 16,6-3-9-16,-8 1 10 0,-2-1 0 0,-1 0 5 16,7-5 5-16,-11 4-9 0,1-4-1 0,-3 2 1 15,1-2 12-15,-5-1 16 0,1 0-5 0,-1-1-33 16,-3-1 38-16,-3 1-11 0,-1-2-7 0,-3 1-1 15,-3 0-9-15,0-1 4 0,-7 3 4 0,2 1 10 16,-5-1-8-16,1-1-1 0,-6 4-10 0,0-2 17 16,-3 1-44-16,0-3 39 0,-5 2-34 0,0-1 27 15,-6-3-28-15,-2 1 22 0,-7-4-22 0,-4 0-3 16,-5 3-11-16,0 1 9 0,-9 1-21 0,-2 2 21 16,-11-2-21-16,-5 4 3 0,4 5-35 0,-12 1-8 15,-3 5-12-15,-4 2-11 0,-2 4-34 0,3 5-38 16,-12 4-21-16,-7 3-197 0,-3 5 159 0</inkml:trace>
</inkml:ink>
</file>

<file path=ppt/ink/ink453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767" units="cm"/>
          <inkml:channel name="Y" type="integer" max="32767" units="cm"/>
          <inkml:channel name="F" type="integer" max="8191" units="dev"/>
          <inkml:channel name="T" type="integer" max="2.14748E9" units="dev"/>
        </inkml:traceFormat>
        <inkml:channelProperties>
          <inkml:channelProperty channel="X" name="resolution" value="1290.03943" units="1/cm"/>
          <inkml:channelProperty channel="Y" name="resolution" value="2064.71338" units="1/cm"/>
          <inkml:channelProperty channel="F" name="resolution" value="0" units="1/dev"/>
          <inkml:channelProperty channel="T" name="resolution" value="1" units="1/dev"/>
        </inkml:channelProperties>
      </inkml:inkSource>
      <inkml:timestamp xml:id="ts0" timeString="2021-12-11T12:11:39.133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0 13794 89 0,'0'0'314'0,"0"0"-72"16,0 0-59-16,0 0-36 0,0 0-38 0,0 0-13 0,0 0-34 15,0 0-3-15,0 0-19 0,0 0-1 16,0 0-12-16,0 0 20 0,0 0-11 0,0-8 17 0,0 8-18 16,0-11 18-16,0 4-21 0,0 1 8 0,0-1-23 15,0-1 12-15,0-2-27 0,0 3 23 0,0-3-20 16,0 1-9-16,0-4-47 0,0 4-3 0,0-2-42 15,0 2-14-15,0 1-17 0,0 0-24 0,0-1-226 16,0 1 167-16</inkml:trace>
  <inkml:trace contextRef="#ctx0" brushRef="#br0" timeOffset="2684.74">5121 11616 153 0,'-2'8'253'0,"2"1"-23"15,-1 1-72-15,1 0 6 0,0 1-36 0,0 1-25 16,0-3-12-16,0 3 31 0,0-1-48 0,1 0 12 16,1-2-49-16,-1 0 69 0,1 0 19 0,3-1 62 15,-1-2-25-15,4-2 11 0,1-2-3 0,-9-2-36 0,28-4-9 16,-5-1-30-16,5-4 1 0,4-3-32 15,5-4 7-15,3-1-21 0,-1-1 10 0,0 1-29 16,-2-1 13-16,-1-2-16 0,-2 2 4 0,-2 2-7 0,-4 1 0 16,-4 1-5-16,1 1-30 0,-7 4-56 0,1-1-74 15,-5 4-46-15,-3 3-34 0,0 2-31 0,-11 1-40 16,12 4-41-16,-8 1-273 0,-1 1-115 0</inkml:trace>
</inkml:ink>
</file>

<file path=ppt/ink/ink4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56:46.48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712 0 0,'22'25'9454'0'0,"-19"-23"-8558"0"0,3 1-549 0 0,0 0 0 0 0,0 0 0 0 0,1-1 0 0 0,-1 0 0 0 0,1 0 0 0 0,-1-1 0 0 0,1 0 0 0 0,9 1 0 0 0,64 0 417 0 0,-44-1-483 0 0,155-1-413 0 0,-108 0-4258 0 0,-64-2-170 0 0</inkml:trace>
</inkml:ink>
</file>

<file path=ppt/ink/ink4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56:47.10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 2180 0 0,'1'0'205'0'0,"0"-1"-1"0"0,0 1 1 0 0,1 0 0 0 0,-1-1-1 0 0,0 1 1 0 0,0 0 0 0 0,0 0-1 0 0,0 0 1 0 0,0 0 0 0 0,1 0-1 0 0,-1 0 1 0 0,0 0-1 0 0,0 1 1 0 0,0-1 0 0 0,0 0-1 0 0,0 1 1 0 0,0-1 0 0 0,0 1-1 0 0,0-1 1 0 0,0 1-1 0 0,0-1 1 0 0,0 1 0 0 0,0 0-1 0 0,0-1 1 0 0,0 1 0 0 0,0 0-1 0 0,-1 0 1 0 0,1 0 0 0 0,0-1-1 0 0,0 1 1 0 0,-1 0-1 0 0,1 0 1 0 0,-1 0 0 0 0,1 0-1 0 0,-1 0 1 0 0,1 1 0 0 0,-1 0-1 0 0,4 8 393 0 0,0 0 0 0 0,-1 0 0 0 0,2 14 0 0 0,-2-13-156 0 0,15 65 747 0 0,52 179-1394 0 0,-67-247-226 0 0,1 1-1232 0 0</inkml:trace>
</inkml:ink>
</file>

<file path=ppt/ink/ink4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56:47.49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86 60 0 0,'0'0'5640'0'0,"1"2"-4624"0"0,0 4-651 0 0,1 0-1 0 0,0 0 1 0 0,1 0 0 0 0,-1 0-1 0 0,1-1 1 0 0,0 1 0 0 0,1-1-1 0 0,-1 0 1 0 0,1 0 0 0 0,5 5-1 0 0,48 49 1179 0 0,-52-55-1409 0 0,45 42 609 0 0,3-3-1 0 0,109 71 0 0 0,-157-112-589 0 0,-1 1 0 0 0,1-1 0 0 0,-1 0-1 0 0,1 0 1 0 0,0 0 0 0 0,0-1-1 0 0,0 1 1 0 0,0-1 0 0 0,0 0 0 0 0,0-1-1 0 0,6 1 1 0 0,-9-1-94 0 0,0-1 0 0 0,0 1-1 0 0,0 0 1 0 0,0-1 0 0 0,1 0 0 0 0,-1 1-1 0 0,0-1 1 0 0,0 0 0 0 0,-1 0-1 0 0,1 0 1 0 0,0 0 0 0 0,0 0 0 0 0,0 0-1 0 0,-1-1 1 0 0,1 1 0 0 0,0-1 0 0 0,-1 1-1 0 0,0-1 1 0 0,1 1 0 0 0,-1-1 0 0 0,0 0-1 0 0,0 0 1 0 0,0 0 0 0 0,0 0 0 0 0,0 0-1 0 0,0 0 1 0 0,0 0 0 0 0,-1 0 0 0 0,1-2-1 0 0,3-10 146 0 0,-2-1-1 0 0,0 0 0 0 0,0 0 1 0 0,-2 0-1 0 0,1 0 0 0 0,-2 0 0 0 0,0 0 1 0 0,-1 0-1 0 0,-1 1 0 0 0,0-1 1 0 0,-8-23-1 0 0,3 16-521 0 0,-1 1 1 0 0,-17-30-1 0 0,12 28-2601 0 0,-30-37 0 0 0,32 41-4597 0 0</inkml:trace>
</inkml:ink>
</file>

<file path=ppt/ink/ink4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56:47.87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 1 208 0 0,'2'0'298'0'0,"0"0"1"0"0,0 1-1 0 0,0-1 1 0 0,0 1-1 0 0,0 0 0 0 0,0-1 1 0 0,0 1-1 0 0,0 0 1 0 0,-1 0-1 0 0,1 0 0 0 0,0 0 1 0 0,-1 1-1 0 0,1-1 1 0 0,0 0-1 0 0,-1 1 1 0 0,0-1-1 0 0,1 1 0 0 0,-1-1 1 0 0,0 1-1 0 0,0 0 1 0 0,0 0-1 0 0,0-1 0 0 0,1 3 1 0 0,0 3 289 0 0,-1-1 0 0 0,0 1 0 0 0,0-1 0 0 0,-1 1 0 0 0,0 12 0 0 0,0-9-456 0 0,0-2 30 0 0,1-1 0 0 0,0 1 0 0 0,0 0 0 0 0,0-1 0 0 0,1 1 0 0 0,0-1 0 0 0,1 0 0 0 0,0 0 0 0 0,0 0 0 0 0,0 0 0 0 0,1 0 0 0 0,5 7 0 0 0,-1-3 73 0 0,1-1 1 0 0,0 0-1 0 0,0 0 0 0 0,1-1 0 0 0,21 15 0 0 0,-29-23-175 0 0,0 0-1 0 0,0 0 1 0 0,0 0-1 0 0,0 0 1 0 0,0-1-1 0 0,1 1 0 0 0,-1 0 1 0 0,0-1-1 0 0,1 0 1 0 0,-1 1-1 0 0,0-1 1 0 0,1 0-1 0 0,-1 0 0 0 0,5-1 1 0 0,-5 1-44 0 0,-1-1 5 0 0,1 1 0 0 0,-1 0 0 0 0,0-1 1 0 0,1 1-1 0 0,-1-1 0 0 0,1 1 0 0 0,-1-1 0 0 0,0 0 1 0 0,1 1-1 0 0,-1-1 0 0 0,0 0 0 0 0,0 0 1 0 0,0 0-1 0 0,1 0 0 0 0,-1 0 0 0 0,0 0 0 0 0,0-1 1 0 0,-1 1-1 0 0,1 0 0 0 0,0 0 0 0 0,0-1 0 0 0,0 1 1 0 0,-1 0-1 0 0,1-1 0 0 0,-1 1 0 0 0,1-3 1 0 0,0 0 6 0 0,0 0 1 0 0,0-1-1 0 0,0 1 1 0 0,-1 0-1 0 0,0-1 1 0 0,0 1-1 0 0,0-6 0 0 0,-1 4-10 0 0,0 0 0 0 0,-1 0-1 0 0,1 0 1 0 0,-1 1-1 0 0,-1-1 1 0 0,1 0-1 0 0,-1 1 1 0 0,1-1 0 0 0,-2 1-1 0 0,1 0 1 0 0,0 0-1 0 0,-1 0 1 0 0,0 0-1 0 0,0 1 1 0 0,-1 0 0 0 0,1 0-1 0 0,-1 0 1 0 0,-6-4-1 0 0,0 1-280 0 0,-1 1 1 0 0,0 0-1 0 0,0 1 0 0 0,0 0 0 0 0,-1 1 0 0 0,1 1 0 0 0,-19-4 1 0 0,-4 7-3491 0 0,21 1-1101 0 0</inkml:trace>
</inkml:ink>
</file>

<file path=ppt/ink/ink4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56:48.24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8 128 0 0,'3'-1'2298'0'0,"-1"0"-1924"0"0,0 0 0 0 0,0 0 0 0 0,0 0 0 0 0,0 1 0 0 0,0-1 0 0 0,0 1 0 0 0,0-1 0 0 0,0 1 0 0 0,0 0 0 0 0,1 0-1 0 0,-1 0 1 0 0,0 0 0 0 0,0 0 0 0 0,0 1 0 0 0,0-1 0 0 0,3 1 0 0 0,-3 0-192 0 0,0 0 0 0 0,1 1-1 0 0,-1-1 1 0 0,0 1 0 0 0,0-1 0 0 0,0 1 0 0 0,0-1-1 0 0,-1 1 1 0 0,1 0 0 0 0,0 0 0 0 0,-1 0 0 0 0,1 0-1 0 0,-1 0 1 0 0,0 1 0 0 0,2 1 0 0 0,39 84 2207 0 0,47 143 0 0 0,-83-220-853 0 0,-2-18-889 0 0,0-33-665 0 0,-1 17 134 0 0,0 1-152 0 0,2 1-1 0 0,0 0 1 0 0,2 0-1 0 0,0 1 1 0 0,15-29-1 0 0,-22 48 34 0 0,0 0-1 0 0,1 0 0 0 0,-1 0 0 0 0,1 0 0 0 0,0 1 1 0 0,-1-1-1 0 0,1 0 0 0 0,0 1 0 0 0,-1-1 0 0 0,1 0 1 0 0,0 1-1 0 0,0-1 0 0 0,0 1 0 0 0,0-1 0 0 0,-1 1 1 0 0,1-1-1 0 0,0 1 0 0 0,0 0 0 0 0,0-1 0 0 0,0 1 1 0 0,0 0-1 0 0,0 0 0 0 0,0 0 0 0 0,0 0 0 0 0,0 0 1 0 0,0 0-1 0 0,0 0 0 0 0,0 0 0 0 0,0 0 0 0 0,0 0 1 0 0,0 0-1 0 0,0 1 0 0 0,0-1 0 0 0,0 0 0 0 0,0 1 1 0 0,0-1-1 0 0,-1 1 0 0 0,1-1 0 0 0,0 1 0 0 0,0-1 1 0 0,0 1-1 0 0,-1 0 0 0 0,2 0 0 0 0,5 5 9 0 0,-1-1 0 0 0,0 1 0 0 0,10 13 0 0 0,-14-16-6 0 0,11 15 39 0 0,17 30 0 0 0,-14-20-564 0 0,4 2-3253 0 0,-11-23-243 0 0</inkml:trace>
</inkml:ink>
</file>

<file path=ppt/ink/ink4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56:50.83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0 166 948 0 0,'-2'-1'3821'0'0,"-26"-5"4022"0"0,30 4-7532 0 0,0 0-268 0 0,0 1-1 0 0,0-1 1 0 0,0 1 0 0 0,0 0-1 0 0,0 0 1 0 0,1 0-1 0 0,-1 0 1 0 0,0 0 0 0 0,1 0-1 0 0,-1 1 1 0 0,0-1 0 0 0,4 1-1 0 0,37-4 196 0 0,-21 3-144 0 0,15-3 12 0 0,0 0-81 0 0,0 0 0 0 0,0 3 0 0 0,65 5 0 0 0,-100-4-16 0 0,0 1 0 0 0,-1-1 0 0 0,1 0 0 0 0,0 1 0 0 0,0-1-1 0 0,0 1 1 0 0,-1 0 0 0 0,1 0 0 0 0,0-1 0 0 0,-1 1 0 0 0,1 0 0 0 0,-1 0 0 0 0,1 1-1 0 0,-1-1 1 0 0,1 0 0 0 0,-1 0 0 0 0,0 1 0 0 0,1-1 0 0 0,-1 1 0 0 0,0-1 0 0 0,0 1-1 0 0,0-1 1 0 0,0 1 0 0 0,-1 0 0 0 0,1 0 0 0 0,0-1 0 0 0,-1 1 0 0 0,1 0-1 0 0,-1 0 1 0 0,1 0 0 0 0,-1-1 0 0 0,0 1 0 0 0,0 0 0 0 0,0 0 0 0 0,0 0 0 0 0,0 0-1 0 0,0 0 1 0 0,-1 2 0 0 0,-2 8 90 0 0,0 0 1 0 0,0 0-1 0 0,-1-1 0 0 0,-10 20 1 0 0,7-16-79 0 0,6-10 5 0 0,-43 108 246 0 0,39-96-115 0 0,1 0 0 0 0,0-1-1 0 0,1 2 1 0 0,-1 32 0 0 0,4-47-104 0 0,0 0 0 0 0,0 1 0 0 0,0-1 0 0 0,0 0 1 0 0,1 0-1 0 0,-1 0 0 0 0,1 1 0 0 0,0-1 0 0 0,0 0 0 0 0,1 0 1 0 0,-1 0-1 0 0,0 0 0 0 0,1 0 0 0 0,0-1 0 0 0,-1 1 1 0 0,1 0-1 0 0,0-1 0 0 0,4 4 0 0 0,-3-4-16 0 0,1 1 0 0 0,-1-1 0 0 0,0-1 0 0 0,1 1-1 0 0,0 0 1 0 0,-1-1 0 0 0,1 0 0 0 0,0 0 0 0 0,0 0 0 0 0,0 0 0 0 0,-1 0 0 0 0,1-1 0 0 0,5 0 0 0 0,6 0 8 0 0,-1-1 1 0 0,1-1 0 0 0,-1-1-1 0 0,1 0 1 0 0,-1 0 0 0 0,27-12 0 0 0,-14 3-20 0 0,-1 0 0 0 0,-1-2-1 0 0,42-30 1 0 0,-54 35-27 0 0,-1-1 0 0 0,0 0 0 0 0,-1-1 0 0 0,-1-1 0 0 0,0 1 0 0 0,0-2 0 0 0,-1 1 0 0 0,13-24 0 0 0,-20 31-11 0 0,1-1-1 0 0,-1 1 1 0 0,0-1-1 0 0,0 1 1 0 0,-1-1-1 0 0,2-8 1 0 0,-3 12 3 0 0,0-1-1 0 0,0 1 1 0 0,0-1 0 0 0,-1 1 0 0 0,1 0-1 0 0,0-1 1 0 0,-1 1 0 0 0,0 0 0 0 0,1 0-1 0 0,-1-1 1 0 0,0 1 0 0 0,0 0 0 0 0,0 0-1 0 0,0 0 1 0 0,-1 0 0 0 0,1 0 0 0 0,-3-3-1 0 0,3 5 8 0 0,0-1 0 0 0,0 0 0 0 0,0 1 0 0 0,0-1 0 0 0,0 1 0 0 0,0 0 0 0 0,0-1 0 0 0,0 1 0 0 0,0 0 0 0 0,0-1 0 0 0,0 1 0 0 0,0 0 0 0 0,0 0 0 0 0,0 0 0 0 0,0 0 0 0 0,0 0 0 0 0,0 0 0 0 0,-1 0 0 0 0,1 0 0 0 0,0 1 0 0 0,0-1 0 0 0,0 0 0 0 0,-1 1-1 0 0,-20 9-14 0 0,22-10 17 0 0,-3 1 3 0 0,1 1-1 0 0,0-1 1 0 0,-1 1-1 0 0,1 0 0 0 0,0 0 1 0 0,0 0-1 0 0,0 0 1 0 0,0 0-1 0 0,0 0 0 0 0,1 0 1 0 0,-1 1-1 0 0,1-1 1 0 0,-1 0-1 0 0,1 1 0 0 0,0 0 1 0 0,0-1-1 0 0,0 1 1 0 0,0 0-1 0 0,0-1 1 0 0,1 1-1 0 0,-1 0 0 0 0,1 0 1 0 0,0 0-1 0 0,0-1 1 0 0,0 1-1 0 0,0 0 0 0 0,0 0 1 0 0,1 0-1 0 0,-1-1 1 0 0,1 1-1 0 0,1 3 0 0 0,0-1 10 0 0,-1 0 0 0 0,1 0-1 0 0,0-1 1 0 0,1 1-1 0 0,-1-1 1 0 0,1 0-1 0 0,0 0 1 0 0,0 0-1 0 0,0 0 1 0 0,0 0-1 0 0,1-1 1 0 0,0 1-1 0 0,0-1 1 0 0,0 0 0 0 0,0 0-1 0 0,6 3 1 0 0,-5-4 0 0 0,0 0 0 0 0,1 0 0 0 0,-1 0 0 0 0,0-1 0 0 0,1 0-1 0 0,-1 0 1 0 0,1 0 0 0 0,0 0 0 0 0,-1-1 0 0 0,1 0 0 0 0,-1-1 0 0 0,1 1 0 0 0,-1-1 0 0 0,1 0 0 0 0,8-2 0 0 0,-7 0-11 0 0,0-1-1 0 0,0 1 0 0 0,0-1 1 0 0,0 0-1 0 0,0 0 1 0 0,-1-1-1 0 0,0 0 1 0 0,0 0-1 0 0,0-1 0 0 0,4-6 1 0 0,2-2-35 0 0,-1-1 1 0 0,-1 0-1 0 0,-1-1 0 0 0,0 0 1 0 0,-1 0-1 0 0,-1-1 0 0 0,0 0 1 0 0,7-32-1 0 0,-8 31-92 0 0,-5 15 59 0 0,0 0 0 0 0,1 0 0 0 0,-2 0-1 0 0,1 0 1 0 0,0 0 0 0 0,-1 0 0 0 0,1-5 0 0 0,3 9 31 0 0,-3-1 35 0 0,-1-1 0 0 0,1 1-1 0 0,-1 0 1 0 0,1 0 0 0 0,-1 0-1 0 0,1 0 1 0 0,-1 0 0 0 0,1 0-1 0 0,-1 0 1 0 0,0 1 0 0 0,1-1-1 0 0,-1 0 1 0 0,1 0 0 0 0,-1 0-1 0 0,1 0 1 0 0,-1 1 0 0 0,1-1-1 0 0,-1 0 1 0 0,0 0 0 0 0,1 1-1 0 0,-1-1 1 0 0,1 0 0 0 0,-1 1-1 0 0,29 43-30 0 0,-22-34 44 0 0,0-1-1 0 0,-1 2 1 0 0,0-1-1 0 0,0 1 1 0 0,-1-1-1 0 0,0 2 1 0 0,5 20-1 0 0,-7-15 8 0 0,2 31 0 0 0,-5-43 18 0 0,0 0 0 0 0,0 0 0 0 0,-1-1 1 0 0,0 1-1 0 0,1 0 0 0 0,-1-1 0 0 0,-1 1 0 0 0,1-1 1 0 0,-1 1-1 0 0,0-1 0 0 0,-3 6 0 0 0,5-10-28 0 0,-1 1 0 0 0,1 0-1 0 0,-1-1 1 0 0,0 1 0 0 0,0-1-1 0 0,1 1 1 0 0,-1-1 0 0 0,0 1-1 0 0,0-1 1 0 0,0 0 0 0 0,0 1-1 0 0,1-1 1 0 0,-1 0 0 0 0,0 0 0 0 0,0 1-1 0 0,0-1 1 0 0,0 0 0 0 0,0 0-1 0 0,0 0 1 0 0,0 0 0 0 0,0 0-1 0 0,0 0 1 0 0,0-1 0 0 0,1 1-1 0 0,-1 0 1 0 0,0 0 0 0 0,0-1-1 0 0,0 1 1 0 0,0 0 0 0 0,0-1-1 0 0,1 1 1 0 0,-1-1 0 0 0,0 1-1 0 0,0-1 1 0 0,1 1 0 0 0,-1-1-1 0 0,0 0 1 0 0,1 1 0 0 0,-1-1 0 0 0,1 0-1 0 0,-1 0 1 0 0,1 1 0 0 0,-1-1-1 0 0,1 0 1 0 0,-1 0 0 0 0,0-1-1 0 0,1-3-10 0 0,0 1 0 0 0,0-1 0 0 0,0 0 0 0 0,0 1 1 0 0,0-1-1 0 0,1 0 0 0 0,0 1 0 0 0,0-1 0 0 0,0 1 0 0 0,1-1 0 0 0,0 1 0 0 0,0 0 0 0 0,0-1 0 0 0,0 1 0 0 0,0 0 0 0 0,4-4 0 0 0,7-11-36 0 0,29-32 0 0 0,-22 28 12 0 0,0 2 1 0 0,1 1-1 0 0,1 0 0 0 0,1 2 1 0 0,31-19-1 0 0,-30 23 43 0 0,-2-1-1 0 0,34-28 1 0 0,-53 40-9 0 0,0 1-2 0 0,-1 0-1 0 0,1 0 1 0 0,-1 0-1 0 0,0-1 1 0 0,0 1 0 0 0,0-1-1 0 0,0 1 1 0 0,0-1-1 0 0,-1 0 1 0 0,2-3-1 0 0,-2 5 2 0 0,8-8 7 0 0,-9 8-109 0 0,1 0 0 0 0,-1 1 0 0 0,0-1 1 0 0,1 0-1 0 0,-1 1 0 0 0,0-1 0 0 0,1 0 0 0 0,-1 0 0 0 0,0 0 0 0 0,0 1 1 0 0,0-1-1 0 0,0 0 0 0 0,0 0 0 0 0,0 1 0 0 0,0-1 0 0 0,0 0 0 0 0,0 0 1 0 0,0 0-1 0 0,0 1 0 0 0,0-1 0 0 0,-1 0 0 0 0,1-1 0 0 0,-2 2-129 0 0,1-1-1 0 0,-1 1 0 0 0,0-1 1 0 0,1 1-1 0 0,-1 0 0 0 0,1 0 1 0 0,-1 0-1 0 0,1 0 0 0 0,-1 0 1 0 0,0 0-1 0 0,1 0 0 0 0,-4 1 1 0 0,3 0 179 0 0,-1-1 1 0 0,0 1 0 0 0,0-1 0 0 0,0 1-1 0 0,0 0 1 0 0,1 0 0 0 0,-1 0 0 0 0,0 0-1 0 0,1 1 1 0 0,-1-1 0 0 0,1 1 0 0 0,-1 0-1 0 0,1-1 1 0 0,0 1 0 0 0,0 0 0 0 0,0 0 0 0 0,0 1-1 0 0,-3 3 1 0 0,1 1 138 0 0,1-1 0 0 0,0 1 1 0 0,0 0-1 0 0,0 0 0 0 0,1 1 0 0 0,-3 10 0 0 0,3-7 43 0 0,0-1 0 0 0,1 1 0 0 0,0 0 0 0 0,1-1 0 0 0,0 1 0 0 0,1 0 0 0 0,0 0 0 0 0,0-1 0 0 0,5 17 0 0 0,-5-22-72 0 0,1 0 0 0 0,0-1-1 0 0,0 1 1 0 0,0-1 0 0 0,0 1 0 0 0,1-1 0 0 0,-1 0 0 0 0,1 0 0 0 0,0 0 0 0 0,0 0 0 0 0,1-1 0 0 0,-1 1-1 0 0,1-1 1 0 0,0 0 0 0 0,0 0 0 0 0,0 0 0 0 0,0-1 0 0 0,0 1 0 0 0,1-1 0 0 0,-1 0 0 0 0,1 0 0 0 0,6 2-1 0 0,-6-4-34 0 0,0 1-1 0 0,1-1 1 0 0,-1 0-1 0 0,0 0 1 0 0,1 0-1 0 0,-1 0 1 0 0,0-1-1 0 0,1 0 1 0 0,-1-1-1 0 0,0 1 1 0 0,0-1-1 0 0,0 0 1 0 0,0 0-1 0 0,8-5 0 0 0,-7 3-23 0 0,-1 0-1 0 0,0-1 0 0 0,0 1 0 0 0,-1-1 1 0 0,1-1-1 0 0,-1 1 0 0 0,0-1 0 0 0,-1 1 1 0 0,1-1-1 0 0,-1 0 0 0 0,0 0 0 0 0,0 0 0 0 0,2-12 1 0 0,-2 8-11 0 0,0 0 0 0 0,-1 0 1 0 0,-1 0-1 0 0,0 0 1 0 0,0 0-1 0 0,-1 0 1 0 0,0 0-1 0 0,-3-17 0 0 0,2 23-40 0 0,0 0 1 0 0,0 0-1 0 0,-1 0 0 0 0,1 1 0 0 0,-1-1 0 0 0,0 0 0 0 0,0 1 0 0 0,0-1 0 0 0,-1 1 0 0 0,1 0 0 0 0,-1 0 0 0 0,0 0 0 0 0,1 0 0 0 0,-1 0 0 0 0,-1 1 0 0 0,1-1 0 0 0,0 1 0 0 0,-1 0 0 0 0,1 0 0 0 0,-1 0 0 0 0,0 0 0 0 0,1 1 0 0 0,-6-2 0 0 0,0 0-834 0 0,0 1 0 0 0,-1 0 0 0 0,1 0-1 0 0,-1 1 1 0 0,1 0 0 0 0,-1 1 0 0 0,1 0 0 0 0,-18 3 0 0 0,3 2-3625 0 0</inkml:trace>
</inkml:ink>
</file>

<file path=ppt/ink/ink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4:31.34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19 62 1112 0 0,'2'-3'434'0'0,"0"-1"0"0"0,-1 1 1 0 0,0-1-1 0 0,0 0 0 0 0,0 1 0 0 0,0-1 0 0 0,-1 0 0 0 0,1-4 1 0 0,-1 7-382 0 0,0 0 1 0 0,0 0 0 0 0,-1 0-1 0 0,1 0 1 0 0,0 0 0 0 0,0 0 0 0 0,-1 0-1 0 0,1 0 1 0 0,-1 0 0 0 0,1 0-1 0 0,-1 0 1 0 0,1 0 0 0 0,-1 0-1 0 0,1 0 1 0 0,-1 0 0 0 0,0 0 0 0 0,0 1-1 0 0,0-1 1 0 0,1 0 0 0 0,-1 0-1 0 0,0 1 1 0 0,0-1 0 0 0,0 1-1 0 0,0-1 1 0 0,0 1 0 0 0,0-1 0 0 0,0 1-1 0 0,0-1 1 0 0,0 1 0 0 0,0 0-1 0 0,0 0 1 0 0,0-1 0 0 0,-1 1-1 0 0,1 0 1 0 0,0 0 0 0 0,0 0 0 0 0,0 0-1 0 0,-2 1 1 0 0,-1-1-22 0 0,-1 0 0 0 0,1 0 0 0 0,0 1 1 0 0,0 0-1 0 0,-1-1 0 0 0,1 1 0 0 0,0 1 0 0 0,0-1 0 0 0,0 1 1 0 0,0 0-1 0 0,0-1 0 0 0,0 2 0 0 0,1-1 0 0 0,-1 0 0 0 0,1 1 1 0 0,-1 0-1 0 0,1-1 0 0 0,0 1 0 0 0,0 1 0 0 0,0-1 0 0 0,1 0 1 0 0,-1 1-1 0 0,1-1 0 0 0,0 1 0 0 0,0 0 0 0 0,0 0 0 0 0,0 0 0 0 0,1 0 1 0 0,-1 0-1 0 0,1 0 0 0 0,0 0 0 0 0,0 0 0 0 0,0 8 0 0 0,0-1 66 0 0,1-1 0 0 0,1 1 0 0 0,0 0-1 0 0,0 0 1 0 0,1-1 0 0 0,6 21 0 0 0,26 60 440 0 0,-27-74-529 0 0,27 54 146 0 0,-21-45 176 0 0,-1 0-1 0 0,-1 0 1 0 0,11 41-1 0 0,-22-65-254 0 0,1 0-1 0 0,-1 0 0 0 0,0 0 1 0 0,0-1-1 0 0,1 1 1 0 0,-2 0-1 0 0,1 0 0 0 0,0 0 1 0 0,0 0-1 0 0,-1 0 0 0 0,1-1 1 0 0,0 1-1 0 0,-1 0 1 0 0,0 0-1 0 0,1-1 0 0 0,-1 1 1 0 0,0 0-1 0 0,0-1 0 0 0,-2 3 1 0 0,1-2 4 0 0,0 1 0 0 0,-1-1 0 0 0,0 0 1 0 0,1 0-1 0 0,-1 0 0 0 0,0 0 0 0 0,0 0 0 0 0,0-1 0 0 0,-6 3 1 0 0,-3 0 27 0 0,1-1 0 0 0,-1 0 0 0 0,1-1 0 0 0,-1-1 0 0 0,-13 1 0 0 0,-83-2 431 0 0,97-1-715 0 0,-1 0 1 0 0,1-1 0 0 0,0 0 0 0 0,0-1 0 0 0,0 0 0 0 0,0-1 0 0 0,-13-6 0 0 0,24 10 86 0 0,-1 0 0 0 0,1-1 0 0 0,-1 1 0 0 0,1 0-1 0 0,-1-1 1 0 0,1 1 0 0 0,-1-1 0 0 0,1 1 0 0 0,0 0 0 0 0,-1-1 0 0 0,1 1 0 0 0,0-1 0 0 0,-1 1 0 0 0,1-1 0 0 0,0 0 0 0 0,0 1-1 0 0,0-1 1 0 0,-1 1 0 0 0,1-1 0 0 0,0 1 0 0 0,0-1 0 0 0,0 0 0 0 0,0 1 0 0 0,0-1 0 0 0,0 1 0 0 0,0-1 0 0 0,0 1-1 0 0,0-1 1 0 0,0 0 0 0 0,1 1 0 0 0,-1-1 0 0 0,0 1 0 0 0,0-1 0 0 0,0 1 0 0 0,1-1 0 0 0,-1 1 0 0 0,0-1 0 0 0,1 1 0 0 0,-1-1-1 0 0,0 1 1 0 0,1-1 0 0 0,-1 1 0 0 0,2-1 0 0 0,18-19-3520 0 0,-20 20 3502 0 0,19-14-2865 0 0</inkml:trace>
</inkml:ink>
</file>

<file path=ppt/ink/ink4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56:51.72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46 272 596 0 0,'-1'-2'1666'0'0,"0"0"-1404"0"0,-1 0 0 0 0,1 0 0 0 0,-1 0 1 0 0,1 1-1 0 0,-1-1 0 0 0,1 0 1 0 0,-1 1-1 0 0,0 0 0 0 0,0-1 0 0 0,0 1 1 0 0,0 0-1 0 0,0 0 0 0 0,0 0 1 0 0,0 0-1 0 0,0 0 0 0 0,0 0 0 0 0,0 1 1 0 0,0-1-1 0 0,-3 0 0 0 0,-1 1-14 0 0,1-1 0 0 0,-1 1-1 0 0,0 0 1 0 0,1 1 0 0 0,-1-1-1 0 0,1 1 1 0 0,-1 0 0 0 0,-6 3-1 0 0,1-1 14 0 0,0 1 1 0 0,1 1-1 0 0,-1 0 0 0 0,1 0 0 0 0,0 1 1 0 0,0 1-1 0 0,1 0 0 0 0,0 0 0 0 0,-15 15 1 0 0,21-19-191 0 0,0 1 0 0 0,0-1 0 0 0,0 1 0 0 0,0 0 0 0 0,0 0 0 0 0,1 0 0 0 0,0 0 0 0 0,0 0 0 0 0,0 0 0 0 0,0 1 0 0 0,1-1 0 0 0,0 1 0 0 0,-1-1 0 0 0,2 1 0 0 0,-1 0 0 0 0,0-1 0 0 0,1 1 0 0 0,0 0 0 0 0,0 0 0 0 0,1-1 0 0 0,-1 1 0 0 0,1 0 0 0 0,0-1 0 0 0,0 1 0 0 0,1-1 0 0 0,2 8 0 0 0,-3-9-66 0 0,0-1 0 0 0,1 1 0 0 0,-1-1-1 0 0,1 1 1 0 0,0-1 0 0 0,-1 0 0 0 0,1 0 0 0 0,0 1 0 0 0,0-1 0 0 0,1 0 0 0 0,-1-1-1 0 0,0 1 1 0 0,0 0 0 0 0,1-1 0 0 0,-1 1 0 0 0,1-1 0 0 0,0 0 0 0 0,-1 0 0 0 0,1 0-1 0 0,0 0 1 0 0,0 0 0 0 0,0-1 0 0 0,-1 1 0 0 0,1-1 0 0 0,0 0 0 0 0,0 0 0 0 0,0 0-1 0 0,0 0 1 0 0,0 0 0 0 0,0 0 0 0 0,2-2 0 0 0,2 1-122 0 0,-1-1 0 0 0,0-1 0 0 0,0 1-1 0 0,0-1 1 0 0,0 0 0 0 0,0 0 0 0 0,0 0 0 0 0,-1-1 0 0 0,0 0 0 0 0,1 0-1 0 0,-2-1 1 0 0,9-8 0 0 0,22-30-577 0 0,-34 41 679 0 0,-1 8 127 0 0,1 1 0 0 0,0-1 1 0 0,0 0-1 0 0,0 0 0 0 0,1 0 0 0 0,-1 0 1 0 0,2 0-1 0 0,-1-1 0 0 0,1 1 0 0 0,-1 0 1 0 0,1-1-1 0 0,1 0 0 0 0,-1 0 0 0 0,1 0 1 0 0,0 0-1 0 0,0 0 0 0 0,1-1 1 0 0,-1 0-1 0 0,1 0 0 0 0,0 0 0 0 0,0 0 1 0 0,0-1-1 0 0,1 0 0 0 0,-1 0 0 0 0,1 0 1 0 0,-1-1-1 0 0,1 0 0 0 0,8 2 0 0 0,-11-3-99 0 0,0 0 0 0 0,0 0 0 0 0,0-1 0 0 0,0 0 0 0 0,0 1 0 0 0,0-1 0 0 0,0 0 0 0 0,1-1 0 0 0,-1 1 0 0 0,0 0 0 0 0,0-1 0 0 0,0 0 0 0 0,0 0 0 0 0,0 0 0 0 0,0 0 0 0 0,0 0 0 0 0,-1 0 0 0 0,1-1 0 0 0,0 1 0 0 0,-1-1 0 0 0,1 0 0 0 0,-1 0 0 0 0,1 0 0 0 0,-1 0 0 0 0,0 0 0 0 0,0-1 0 0 0,0 1 0 0 0,0-1 0 0 0,0 1 0 0 0,-1-1 0 0 0,1 0 0 0 0,-1 1 0 0 0,2-6 0 0 0,3-6-19 0 0,-1-1 0 0 0,-1 0 0 0 0,-1 0 1 0 0,0 0-1 0 0,1-19 0 0 0,6-276 583 0 0,-10 248 177 0 0,-10 86-181 0 0,5 31-42 0 0,2 0 0 0 0,3 0 0 0 0,8 64 0 0 0,-7-109-509 0 0,0 7-28 0 0,7 68-1059 0 0,5-29-3362 0 0,-10-47 2428 0 0</inkml:trace>
</inkml:ink>
</file>

<file path=ppt/ink/ink4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56:53.07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0 156 328 0 0,'-4'-18'1848'0'0,"0"0"-460"0"0,0 2-372 0 0,2 1-103 0 0,-2-1-289 0 0,0 3-28 0 0,0 1-224 0 0,0 1 24 0 0,2 2-256 0 0,-2-7-416 0 0,0 5-484 0 0</inkml:trace>
</inkml:ink>
</file>

<file path=ppt/ink/ink4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56:54.07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1 296 0 0,'3'-10'7974'0'0,"0"11"-7828"0"0,1 1 0 0 0,0 0-1 0 0,-1 0 1 0 0,1 0 0 0 0,-1 0 0 0 0,0 0 0 0 0,1 1-1 0 0,-1 0 1 0 0,-1-1 0 0 0,1 1 0 0 0,0 0-1 0 0,-1 1 1 0 0,1-1 0 0 0,-1 0 0 0 0,0 1 0 0 0,0-1-1 0 0,0 1 1 0 0,0-1 0 0 0,-1 1 0 0 0,2 6-1 0 0,2 6 357 0 0,0 1-1 0 0,-1 0 0 0 0,2 26 0 0 0,-5-12 88 0 0,-2 0 0 0 0,0 0 0 0 0,-3 1 0 0 0,-9 38 1 0 0,12-64-555 0 0,1-1-144 0 0,-2 16 2549 0 0,6-30-2428 0 0,9-22-314 0 0,2 0 1 0 0,1 0-1 0 0,2 1 1 0 0,35-45-1 0 0,-52 73 282 0 0,0 1-1 0 0,0-1 0 0 0,1 0 1 0 0,-1 1-1 0 0,1 0 0 0 0,0-1 0 0 0,-1 1 1 0 0,1 0-1 0 0,0 0 0 0 0,-1 0 1 0 0,1 0-1 0 0,0 0 0 0 0,3-1 1 0 0,-4 2 12 0 0,0 0 1 0 0,0 0-1 0 0,1 0 1 0 0,-1 0-1 0 0,0 0 1 0 0,0 0-1 0 0,0 0 0 0 0,1 0 1 0 0,-1 1-1 0 0,0-1 1 0 0,0 0-1 0 0,0 1 1 0 0,0-1-1 0 0,0 1 1 0 0,1-1-1 0 0,-1 1 1 0 0,1 1-1 0 0,3 2 15 0 0,0 1 0 0 0,0 1 0 0 0,0-1 0 0 0,-1 1-1 0 0,0 0 1 0 0,5 8 0 0 0,10 14 127 0 0,-12-20-86 0 0,0 0 0 0 0,0 0 1 0 0,0 0-1 0 0,1-1 0 0 0,1-1 0 0 0,-1 1 0 0 0,1-1 1 0 0,0-1-1 0 0,0 0 0 0 0,1 0 0 0 0,0 0 0 0 0,17 4 1 0 0,-21-8-43 0 0,-1 0 1 0 0,1-1 0 0 0,0 0 0 0 0,-1 0 0 0 0,1-1-1 0 0,0 1 1 0 0,-1-1 0 0 0,1 0 0 0 0,-1-1 0 0 0,0 1-1 0 0,1-1 1 0 0,-1 0 0 0 0,0-1 0 0 0,0 1 0 0 0,0-1-1 0 0,0 0 1 0 0,-1 0 0 0 0,8-7 0 0 0,0 1-35 0 0,-1-2 0 0 0,-1 0-1 0 0,0 0 1 0 0,0-1 0 0 0,12-19 0 0 0,5-24-135 0 0,-27 54 159 0 0,1 1-1 0 0,-1-1 1 0 0,0 1 0 0 0,0-1 0 0 0,0 1 0 0 0,0-1-1 0 0,0 1 1 0 0,0-1 0 0 0,0 0 0 0 0,0 1-1 0 0,0-1 1 0 0,0 1 0 0 0,0-1 0 0 0,0 1-1 0 0,-1-1 1 0 0,1 1 0 0 0,0-1 0 0 0,0 1-1 0 0,-1-1 1 0 0,1 1 0 0 0,0-1 0 0 0,0 1-1 0 0,-1-1 1 0 0,1 1 0 0 0,0 0 0 0 0,-1-1 0 0 0,1 1-1 0 0,-1-1 1 0 0,1 1 0 0 0,-1 0 0 0 0,1-1-1 0 0,-1 1 1 0 0,1 0 0 0 0,-1 0 0 0 0,1 0-1 0 0,-1-1 1 0 0,1 1 0 0 0,-1 0 0 0 0,0 0-2 0 0,0-1 0 0 0,0 1-1 0 0,0 0 1 0 0,0-1 0 0 0,0 1 0 0 0,0 0 0 0 0,0 0 0 0 0,0 0 0 0 0,0 0 0 0 0,-1 0 0 0 0,1 0 0 0 0,0 0-1 0 0,0 0 1 0 0,0 1 0 0 0,0-1 0 0 0,0 0 0 0 0,0 1 0 0 0,0-1 0 0 0,0 1 0 0 0,1-1 0 0 0,-3 1 0 0 0,1 1 16 0 0,1 0 1 0 0,-1-1 0 0 0,0 1 0 0 0,1 0-1 0 0,-1 0 1 0 0,1 0 0 0 0,-1 0 0 0 0,1 0 0 0 0,0 0-1 0 0,0 0 1 0 0,0 0 0 0 0,0 0 0 0 0,0 1-1 0 0,0-1 1 0 0,1 0 0 0 0,-1 1 0 0 0,1-1-1 0 0,0 0 1 0 0,-1 1 0 0 0,1-1 0 0 0,0 1 0 0 0,1-1-1 0 0,-1 0 1 0 0,0 1 0 0 0,1-1 0 0 0,-1 1-1 0 0,1-1 1 0 0,0 0 0 0 0,-1 0 0 0 0,1 1 0 0 0,1-1-1 0 0,0 2 1 0 0,1 1 29 0 0,0-1 0 0 0,1 1 0 0 0,0-1 0 0 0,-1 0 0 0 0,1 0 0 0 0,0-1 0 0 0,1 1 0 0 0,-1-1 0 0 0,1 0 0 0 0,0 0 1 0 0,-1 0-1 0 0,1-1 0 0 0,9 3 0 0 0,-12-3-40 0 0,1-1 0 0 0,0 0 0 0 0,0-1 0 0 0,0 1 1 0 0,0 0-1 0 0,0-1 0 0 0,0 0 0 0 0,0 1 0 0 0,0-1 1 0 0,0 0-1 0 0,0-1 0 0 0,0 1 0 0 0,0-1 0 0 0,0 1 1 0 0,0-1-1 0 0,0 0 0 0 0,0 0 0 0 0,0 0 0 0 0,-1 0 1 0 0,1-1-1 0 0,0 1 0 0 0,-1-1 0 0 0,1 1 0 0 0,-1-1 1 0 0,0 0-1 0 0,4-4 0 0 0,-3 3-204 0 0,-1 0 0 0 0,0 0 0 0 0,-1-1-1 0 0,1 1 1 0 0,0-1 0 0 0,-1 1 0 0 0,0-1 0 0 0,0 1 0 0 0,0-1 0 0 0,0 0 0 0 0,-1 0 0 0 0,1 1 0 0 0,-1-1-1 0 0,0 0 1 0 0,0 0 0 0 0,-1 0 0 0 0,1 1 0 0 0,-1-1 0 0 0,1 0 0 0 0,-1 1 0 0 0,-2-5 0 0 0,1 2-1043 0 0,-1 0 1 0 0,0 0 0 0 0,-1 0-1 0 0,1 1 1 0 0,-7-8 0 0 0,2 4-2337 0 0</inkml:trace>
</inkml:ink>
</file>

<file path=ppt/ink/ink4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56:54.76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12 258 980 0 0,'5'-9'4311'0'0,"-6"9"-4201"0"0,1-1-1 0 0,-1 0 0 0 0,0 1 1 0 0,0-1-1 0 0,1 1 1 0 0,-1-1-1 0 0,0 1 0 0 0,0-1 1 0 0,0 1-1 0 0,0 0 1 0 0,0-1-1 0 0,0 1 1 0 0,1 0-1 0 0,-1 0 0 0 0,0 0 1 0 0,0 0-1 0 0,0 0 1 0 0,0 0-1 0 0,0 0 0 0 0,0 0 1 0 0,0 0-1 0 0,0 0 1 0 0,-2 1-1 0 0,-1 0 97 0 0,0 0 0 0 0,0 1-1 0 0,1-1 1 0 0,-1 1 0 0 0,-7 4-1 0 0,4-1-26 0 0,1 0 0 0 0,0 0 0 0 0,0 0 0 0 0,0 0-1 0 0,0 1 1 0 0,-5 7 0 0 0,9-10-75 0 0,0 0-1 0 0,0 0 1 0 0,1 1 0 0 0,-1-1-1 0 0,1 1 1 0 0,0-1 0 0 0,0 1 0 0 0,0-1-1 0 0,0 1 1 0 0,0 0 0 0 0,1-1-1 0 0,-1 1 1 0 0,1 0 0 0 0,0-1-1 0 0,1 6 1 0 0,0-6-68 0 0,-1-1 1 0 0,1 1-1 0 0,0-1 1 0 0,0 0-1 0 0,0 1 0 0 0,1-1 1 0 0,-1 0-1 0 0,0 1 0 0 0,1-1 1 0 0,0 0-1 0 0,-1 0 0 0 0,1 0 1 0 0,0-1-1 0 0,0 1 1 0 0,0 0-1 0 0,0-1 0 0 0,0 1 1 0 0,1-1-1 0 0,-1 0 0 0 0,0 1 1 0 0,1-1-1 0 0,3 1 1 0 0,-2-1-10 0 0,1 0 0 0 0,-1 0 0 0 0,1 0 1 0 0,-1-1-1 0 0,1 0 0 0 0,-1 0 1 0 0,1 0-1 0 0,-1 0 0 0 0,7-2 0 0 0,48-12 68 0 0,-27 6-129 0 0,-26 7 95 0 0,0 0 0 0 0,1 1 0 0 0,-1 0 0 0 0,0 0 1 0 0,1 0-1 0 0,-1 1 0 0 0,0 0 0 0 0,1 1 0 0 0,-1-1 0 0 0,0 1 0 0 0,0 0 0 0 0,6 3 1 0 0,-9-4-10 0 0,1 0 1 0 0,-1 0-1 0 0,1 0 1 0 0,0-1-1 0 0,-1 0 1 0 0,1 0-1 0 0,0 0 1 0 0,-1 0-1 0 0,1 0 1 0 0,0-1-1 0 0,-1 1 0 0 0,1-1 1 0 0,-1 0-1 0 0,1 0 1 0 0,5-3-1 0 0,-4 2-31 0 0,0-1-1 0 0,1 0 0 0 0,-1 0 1 0 0,0 0-1 0 0,0-1 0 0 0,-1 1 1 0 0,1-1-1 0 0,4-6 0 0 0,-3 1-10 0 0,1 1-1 0 0,-2-1 1 0 0,1-1-1 0 0,-2 1 1 0 0,1-1-1 0 0,-1 0 0 0 0,0 0 1 0 0,2-11-1 0 0,14-88-13 0 0,-15 74 13 0 0,-4 27-19 0 0,5-47-48 0 0,-6 51 49 0 0,0 0 1 0 0,0 0-1 0 0,0 1 1 0 0,-1-1-1 0 0,0 0 0 0 0,1 0 1 0 0,-1 1-1 0 0,-1-1 1 0 0,1 0-1 0 0,0 1 1 0 0,-4-6-1 0 0,4 9 9 0 0,0-1-1 0 0,1 0 1 0 0,-1 1 0 0 0,0-1 0 0 0,0 0-1 0 0,0 1 1 0 0,0-1 0 0 0,1 1-1 0 0,-1 0 1 0 0,0-1 0 0 0,0 1 0 0 0,0 0-1 0 0,0 0 1 0 0,0-1 0 0 0,0 1-1 0 0,0 0 1 0 0,0 0 0 0 0,0 0 0 0 0,0 0-1 0 0,0 0 1 0 0,0 0 0 0 0,-2 1-1 0 0,1-1 2 0 0,0 1-1 0 0,-1-1 0 0 0,1 1 0 0 0,0-1 0 0 0,0 1 0 0 0,0 0 0 0 0,0 0 0 0 0,0 0 1 0 0,-3 3-1 0 0,-1 2 52 0 0,0 1 0 0 0,0 0 1 0 0,1 0-1 0 0,0 1 0 0 0,1-1 1 0 0,0 1-1 0 0,0 0 0 0 0,0 0 1 0 0,1 1-1 0 0,0-1 0 0 0,1 1 1 0 0,0-1-1 0 0,0 1 0 0 0,1 0 1 0 0,0 0-1 0 0,0 13 0 0 0,1-7 42 0 0,1 1 0 0 0,0-1-1 0 0,1 0 1 0 0,1 0-1 0 0,0-1 1 0 0,1 1-1 0 0,0-1 1 0 0,1 1 0 0 0,8 13-1 0 0,-11-25-77 0 0,-1 1 0 0 0,1-1 0 0 0,0 0 0 0 0,0 0 0 0 0,0-1 0 0 0,1 1 0 0 0,-1 0-1 0 0,1-1 1 0 0,0 1 0 0 0,-1-1 0 0 0,1 0 0 0 0,0 0 0 0 0,0 0 0 0 0,0 0 0 0 0,1-1 0 0 0,-1 1 0 0 0,0-1-1 0 0,1 0 1 0 0,-1 0 0 0 0,1 0 0 0 0,-1 0 0 0 0,1-1 0 0 0,-1 1 0 0 0,1-1 0 0 0,0 0 0 0 0,5 0 0 0 0,-5-2-13 0 0,0 1 1 0 0,-1-1 0 0 0,1 1 0 0 0,0-1 0 0 0,0 0 0 0 0,-1-1 0 0 0,1 1 0 0 0,-1 0 0 0 0,0-1 0 0 0,0 0 0 0 0,0 0 0 0 0,0 0 0 0 0,0 0-1 0 0,0 0 1 0 0,3-8 0 0 0,2-2-11 0 0,-1-1-1 0 0,-1 0 1 0 0,0-1-1 0 0,7-28 1 0 0,-13 42-22 0 0,1-7-615 0 0,-10 14-2593 0 0,-18 16-3455 0 0,14-14 2455 0 0</inkml:trace>
</inkml:ink>
</file>

<file path=ppt/ink/ink4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56:57.68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9 1464 0 0,'180'16'6323'0'0,"90"-22"-4586"0"0,-224 4-1733 0 0,29-4 478 0 0,-24-5-3213 0 0,-39 2-2144 0 0</inkml:trace>
</inkml:ink>
</file>

<file path=ppt/ink/ink4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56:58.36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7 1 1040 0 0,'3'1'255'0'0,"0"0"0"0"0,-1 0-1 0 0,1 0 1 0 0,0 0 0 0 0,-1 0 0 0 0,1 1-1 0 0,-1 0 1 0 0,1-1 0 0 0,-1 1 0 0 0,0 0-1 0 0,0 0 1 0 0,0 0 0 0 0,0 0 0 0 0,0 0-1 0 0,0 1 1 0 0,0-1 0 0 0,-1 1 0 0 0,1-1-1 0 0,-1 1 1 0 0,0 0 0 0 0,2 4 0 0 0,2 9 538 0 0,0 0 1 0 0,4 28-1 0 0,-6-27-308 0 0,5 18 243 0 0,1 11 61 0 0,7 73-1 0 0,-15-107-662 0 0,-1 1 1 0 0,0 0-1 0 0,-1 0 1 0 0,0-1-1 0 0,-1 1 1 0 0,0 0-1 0 0,-1-1 0 0 0,-1 0 1 0 0,0 0-1 0 0,-10 21 1 0 0,12-29-74 0 0,0 0 0 0 0,0-1 0 0 0,-1 1 1 0 0,1 0-1 0 0,-1-1 0 0 0,0 0 0 0 0,0 1 1 0 0,-1-1-1 0 0,1 0 0 0 0,-1-1 0 0 0,1 1 0 0 0,-1 0 1 0 0,0-1-1 0 0,0 0 0 0 0,0 0 0 0 0,0 0 0 0 0,0-1 1 0 0,0 1-1 0 0,-5 0 0 0 0,-21-1 70 0 0,23-3-112 0 0,2-1 5 0 0,3 2-14 0 0,0 0 0 0 0,0 0 1 0 0,0 0-1 0 0,0 0 0 0 0,0 0 0 0 0,0-1 0 0 0,0 1 1 0 0,0-1-1 0 0,0 1 0 0 0,0-1 0 0 0,1 0 0 0 0,-1 0 1 0 0,1 1-1 0 0,0-1 0 0 0,-1 0 0 0 0,1-1 0 0 0,0 1 1 0 0,0 0-1 0 0,0 0 0 0 0,0 0 0 0 0,1-1 0 0 0,-1 1 1 0 0,0 0-1 0 0,1 0 0 0 0,0-1 0 0 0,-1 1 0 0 0,1-1 1 0 0,0 1-1 0 0,0 0 0 0 0,1-1 0 0 0,-1 1 0 0 0,1-3 1 0 0,0-3-15 0 0,1 0 1 0 0,0 0-1 0 0,0 0 1 0 0,1 0-1 0 0,0 1 1 0 0,0-1-1 0 0,8-12 1 0 0,-7 14-5 0 0,0 1 0 0 0,1-1 1 0 0,-1 1-1 0 0,1 1 1 0 0,0-1-1 0 0,0 0 1 0 0,1 1-1 0 0,0 0 0 0 0,-1 1 1 0 0,1-1-1 0 0,0 1 1 0 0,1 0-1 0 0,-1 1 0 0 0,1-1 1 0 0,9-1-1 0 0,-12 3 8 0 0,0 1-1 0 0,0-1 1 0 0,-1 1 0 0 0,1 0-1 0 0,0 0 1 0 0,0 1-1 0 0,-1-1 1 0 0,1 1 0 0 0,0 0-1 0 0,-1 0 1 0 0,1 0-1 0 0,0 1 1 0 0,-1-1 0 0 0,6 4-1 0 0,3 2-7 0 0,-1 1-1 0 0,17 13 1 0 0,-13-8-1 0 0,26 22 7 0 0,-29-24 70 0 0,0-1-1 0 0,0 0 1 0 0,25 15-1 0 0,-35-24-45 0 0,2-2-76 0 0,0 0 18 0 0,-1-1 0 0 0,1 0 0 0 0,0 1-1 0 0,-1-2 1 0 0,1 1 0 0 0,-1 0 0 0 0,0 0-1 0 0,1-1 1 0 0,-1 0 0 0 0,0 0 0 0 0,-1 0-1 0 0,1 0 1 0 0,2-4 0 0 0,74-106-127 0 0,-78 111 417 0 0,0 2-203 0 0,0 0 0 0 0,0 0 0 0 0,-1 0 1 0 0,1 0-1 0 0,0 1 0 0 0,0-1 0 0 0,0 0 0 0 0,-1 0 0 0 0,1 1 0 0 0,0-1 0 0 0,0 1 0 0 0,-1-1 0 0 0,1 0 0 0 0,0 1 0 0 0,-1-1 0 0 0,1 1 0 0 0,-1 0 0 0 0,1-1 1 0 0,0 1-1 0 0,-1-1 0 0 0,1 1 0 0 0,-1 0 0 0 0,0-1 0 0 0,1 1 0 0 0,-1 0 0 0 0,1 0 0 0 0,-1-1 0 0 0,0 2 0 0 0,5 25 297 0 0,-4-16-101 0 0,14 95 599 0 0,2 15-1542 0 0,-8-75-2908 0 0</inkml:trace>
</inkml:ink>
</file>

<file path=ppt/ink/ink4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56:58.70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0 139 1140 0 0,'-2'-18'1196'0'0,"0"2"-300"0"0,0 1-156 0 0,-2 1-132 0 0,0 1-124 0 0,0-1-132 0 0,2 5-67 0 0,-2 0-65 0 0,0 0-68 0 0,-2-5-420 0 0,0 6-641 0 0</inkml:trace>
</inkml:ink>
</file>

<file path=ppt/ink/ink4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56:59.33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09 207 288 0 0,'3'-1'1604'0'0,"-1"0"-1124"0"0,17-8 2798 0 0,-15 3-1893 0 0,-13 3-1122 0 0,1 2-116 0 0,-1 1 0 0 0,0 1 0 0 0,1 0 0 0 0,-1 0 0 0 0,1 1 0 0 0,-1 0 0 0 0,1 0 0 0 0,0 1 0 0 0,0 0 0 0 0,-11 5 0 0 0,6-1-45 0 0,1 0-1 0 0,0 0 0 0 0,1 1 0 0 0,-1 0 1 0 0,-18 19-1 0 0,27-23-10 0 0,-1 1-1 0 0,0-1 1 0 0,1 1 0 0 0,0 0 0 0 0,0-1-1 0 0,1 2 1 0 0,-1-1 0 0 0,1 0 0 0 0,0 0-1 0 0,-2 8 1 0 0,4-11-54 0 0,-1 0 1 0 0,1 1-1 0 0,0-1 0 0 0,-1 0 0 0 0,1 1 1 0 0,0-1-1 0 0,0 0 0 0 0,1 1 0 0 0,-1-1 1 0 0,0 0-1 0 0,1 0 0 0 0,-1 1 0 0 0,1-1 1 0 0,0 0-1 0 0,0 0 0 0 0,0 0 0 0 0,0 1 1 0 0,0-1-1 0 0,0 0 0 0 0,1 0 0 0 0,-1-1 1 0 0,1 1-1 0 0,-1 0 0 0 0,1 0 1 0 0,0-1-1 0 0,3 3 0 0 0,-2-2-29 0 0,1 0-1 0 0,-1-1 1 0 0,1 1 0 0 0,0-1-1 0 0,0 0 1 0 0,-1 0 0 0 0,1 0-1 0 0,0-1 1 0 0,0 1 0 0 0,0-1 0 0 0,0 0-1 0 0,0 0 1 0 0,0 0 0 0 0,0-1-1 0 0,0 0 1 0 0,0 1 0 0 0,0-1-1 0 0,-1 0 1 0 0,8-3 0 0 0,7-4-166 0 0,0 0 1 0 0,29-20 0 0 0,-20 12 162 0 0,-24 14-16 0 0,1 1 1 0 0,-1-1-1 0 0,0 1 0 0 0,0-1 0 0 0,1 1 0 0 0,-1 0 0 0 0,1 0 0 0 0,6-1 0 0 0,-9 3 25 0 0,1-1-1 0 0,-1 0 1 0 0,0 0-1 0 0,0 1 1 0 0,1-1-1 0 0,-1 0 0 0 0,0 1 1 0 0,0-1-1 0 0,0 1 1 0 0,0 0-1 0 0,0-1 1 0 0,0 1-1 0 0,0 0 0 0 0,0-1 1 0 0,0 1-1 0 0,0 0 1 0 0,0 0-1 0 0,0 0 1 0 0,0 0-1 0 0,0 0 0 0 0,-1 0 1 0 0,1 0-1 0 0,-1 0 1 0 0,1 1-1 0 0,0-1 1 0 0,0 2-1 0 0,7 17 455 0 0,1-1-1 0 0,20 32 1 0 0,-26-46-408 0 0,1 0 0 0 0,-1-1-1 0 0,1 1 1 0 0,0-1 0 0 0,1 0 0 0 0,-1 0-1 0 0,1-1 1 0 0,0 1 0 0 0,-1-1 0 0 0,1 0 0 0 0,1 0-1 0 0,-1-1 1 0 0,0 1 0 0 0,8 1 0 0 0,-10-3-50 0 0,0-1 0 0 0,0 0 0 0 0,0 1 0 0 0,1-1 1 0 0,-1 0-1 0 0,0-1 0 0 0,0 1 0 0 0,0-1 0 0 0,1 1 0 0 0,-1-1 1 0 0,0 0-1 0 0,0 0 0 0 0,0 0 0 0 0,0 0 0 0 0,0-1 1 0 0,4-2-1 0 0,-1 0-4 0 0,-1 0 0 0 0,1-1 1 0 0,-1 1-1 0 0,1-1 1 0 0,7-10-1 0 0,-4 1-6 0 0,0 0 0 0 0,-1-1-1 0 0,-1 0 1 0 0,-1 0 0 0 0,0-1 0 0 0,-1 1-1 0 0,5-26 1 0 0,4-11-208 0 0,-13 50 172 0 0,0 4-67 0 0,2 8 90 0 0,-1 1 0 0 0,-1 0 0 0 0,1-1 0 0 0,-2 1 0 0 0,1 0 0 0 0,-1 0 0 0 0,-3 13 0 0 0,2 13 33 0 0,2 21 178 0 0,-4 96 122 0 0,1-130-251 0 0,-1 1 0 0 0,-1-1 0 0 0,-1 0 0 0 0,-9 26 0 0 0,11-43-26 0 0,1-1 0 0 0,-1 0 0 0 0,0-1 0 0 0,-1 1 0 0 0,0 0 0 0 0,1-1 0 0 0,-2 0 0 0 0,1 0 0 0 0,-10 9 0 0 0,12-13-26 0 0,0 1-1 0 0,0-1 1 0 0,0 1-1 0 0,0-1 1 0 0,0 0 0 0 0,0 0-1 0 0,0 0 1 0 0,-1 0-1 0 0,1 0 1 0 0,0 0-1 0 0,-1 0 1 0 0,1-1-1 0 0,0 1 1 0 0,-1-1 0 0 0,1 0-1 0 0,-1 0 1 0 0,1 0-1 0 0,-1 0 1 0 0,1 0-1 0 0,-1 0 1 0 0,1-1-1 0 0,0 1 1 0 0,-1-1 0 0 0,1 0-1 0 0,-1 0 1 0 0,1 0-1 0 0,0 0 1 0 0,0 0-1 0 0,0 0 1 0 0,-3-2-1 0 0,3 1-6 0 0,0 0 0 0 0,-1 1-1 0 0,1-1 1 0 0,0 0 0 0 0,1-1 0 0 0,-1 1-1 0 0,0 0 1 0 0,1 0 0 0 0,-1-1-1 0 0,1 1 1 0 0,0-1 0 0 0,-1 1-1 0 0,1-1 1 0 0,0 0 0 0 0,0-3-1 0 0,0 0-5 0 0,0 1-1 0 0,1 0 1 0 0,0 0-1 0 0,0 0 1 0 0,0-1-1 0 0,1 1 1 0 0,2-10-1 0 0,3-4-56 0 0,0 0 0 0 0,2 1 0 0 0,13-26 0 0 0,-14 31-5 0 0,43-84-253 0 0,-2 6-68 0 0,54-147-1 0 0,-98 226 356 0 0,0-1 0 0 0,-1 1 1 0 0,0-1-1 0 0,-1 1 0 0 0,-1-1 0 0 0,0-15 0 0 0,0 25 18 0 0,-1 0 0 0 0,-1 0-1 0 0,1 0 1 0 0,0 0-1 0 0,-1 0 1 0 0,0 0-1 0 0,1 0 1 0 0,-1 0 0 0 0,-1 0-1 0 0,1 0 1 0 0,0 0-1 0 0,-1 0 1 0 0,1 1-1 0 0,-1-1 1 0 0,0 0 0 0 0,0 1-1 0 0,0 0 1 0 0,0-1-1 0 0,0 1 1 0 0,0 0-1 0 0,-1 0 1 0 0,1 0 0 0 0,-1 1-1 0 0,1-1 1 0 0,-1 0-1 0 0,0 1 1 0 0,0 0-1 0 0,1-1 1 0 0,-7 0 0 0 0,5 1 3 0 0,0 0 1 0 0,0 1 0 0 0,0-1 0 0 0,0 1 0 0 0,0 0-1 0 0,0 0 1 0 0,0 0 0 0 0,-1 1 0 0 0,1 0 0 0 0,0-1-1 0 0,0 1 1 0 0,0 1 0 0 0,1-1 0 0 0,-1 1 0 0 0,0-1-1 0 0,0 1 1 0 0,1 0 0 0 0,-1 0 0 0 0,1 1 0 0 0,-1-1-1 0 0,1 1 1 0 0,0-1 0 0 0,0 1 0 0 0,0 0 0 0 0,1 0-1 0 0,-3 4 1 0 0,1-2-51 0 0,1 0-1 0 0,0 0 1 0 0,0-1-1 0 0,1 2 0 0 0,0-1 1 0 0,0 0-1 0 0,0 0 1 0 0,0 1-1 0 0,1-1 1 0 0,0 1-1 0 0,0 0 1 0 0,0-1-1 0 0,1 1 0 0 0,0 0 1 0 0,0-1-1 0 0,0 1 1 0 0,3 10-1 0 0,0-6-383 0 0,0 0 0 0 0,1-1-1 0 0,0 1 1 0 0,1-1 0 0 0,0 0 0 0 0,8 11-1 0 0,-6-11-1249 0 0,0 0-1 0 0,16 15 1 0 0,-14-15-609 0 0</inkml:trace>
</inkml:ink>
</file>

<file path=ppt/ink/ink4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57:00.20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67 59 1532 0 0,'1'-3'599'0'0,"-1"-1"1"0"0,1 1-1 0 0,-1-1 0 0 0,0 1 1 0 0,0-1-1 0 0,0 1 0 0 0,0-1 0 0 0,0 1 1 0 0,-1-1-1 0 0,0 1 0 0 0,1-1 1 0 0,-3-4-1 0 0,2 7-540 0 0,1 1-1 0 0,-1-1 1 0 0,1 0 0 0 0,-1 1 0 0 0,0-1-1 0 0,1 1 1 0 0,-1-1 0 0 0,0 1 0 0 0,1-1-1 0 0,-1 1 1 0 0,0-1 0 0 0,1 1-1 0 0,-1 0 1 0 0,0-1 0 0 0,0 1 0 0 0,0 0-1 0 0,1 0 1 0 0,-1 0 0 0 0,0-1 0 0 0,0 1-1 0 0,0 0 1 0 0,0 0 0 0 0,1 0 0 0 0,-1 0-1 0 0,0 1 1 0 0,-1-1 0 0 0,-23 5 841 0 0,17-2-698 0 0,1 1 0 0 0,-1 1 1 0 0,1-1-1 0 0,-1 1 0 0 0,1 1 0 0 0,1-1 0 0 0,-1 1 0 0 0,1 0 1 0 0,0 1-1 0 0,0-1 0 0 0,1 1 0 0 0,0 0 0 0 0,0 1 1 0 0,1-1-1 0 0,-1 1 0 0 0,-2 10 0 0 0,5-14-105 0 0,0 1-1 0 0,0-1 1 0 0,1 1 0 0 0,0 0-1 0 0,0 0 1 0 0,0-1-1 0 0,0 1 1 0 0,1 0 0 0 0,0 0-1 0 0,0 0 1 0 0,1 0-1 0 0,-1 0 1 0 0,1-1 0 0 0,0 1-1 0 0,0 0 1 0 0,0 0-1 0 0,1-1 1 0 0,0 1 0 0 0,0-1-1 0 0,0 1 1 0 0,0-1 0 0 0,1 0-1 0 0,-1 0 1 0 0,1 0-1 0 0,0 0 1 0 0,1 0 0 0 0,-1-1-1 0 0,0 1 1 0 0,1-1-1 0 0,5 3 1 0 0,-3-1-19 0 0,0-2-1 0 0,0 1 1 0 0,0-1-1 0 0,1 0 1 0 0,0 0-1 0 0,-1-1 1 0 0,1 1-1 0 0,0-2 1 0 0,0 1-1 0 0,0-1 1 0 0,0 0-1 0 0,0 0 1 0 0,0-1-1 0 0,1 0 1 0 0,-1 0-1 0 0,0-1 1 0 0,9-1-1 0 0,-11 0-124 0 0,-1 1 0 0 0,1-1 0 0 0,0 0 0 0 0,-1 0 0 0 0,1 0 0 0 0,-1-1 0 0 0,0 1 0 0 0,0-1 0 0 0,0 0 0 0 0,0 0 0 0 0,0-1 1 0 0,0 1-1 0 0,-1-1 0 0 0,0 0 0 0 0,0 0 0 0 0,0 0 0 0 0,0 0 0 0 0,-1 0 0 0 0,1-1 0 0 0,-1 1 0 0 0,0-1 0 0 0,0 0 0 0 0,-1 1 0 0 0,0-1 0 0 0,2-7 0 0 0,-3 7-178 0 0,1 0 0 0 0,-1 1 0 0 0,0-1 0 0 0,0 0 0 0 0,0 0 0 0 0,-1 0 0 0 0,0 0 0 0 0,0 0 0 0 0,0 0 0 0 0,0 1 0 0 0,-1-1 0 0 0,0 0 0 0 0,0 1 0 0 0,0 0 0 0 0,0-1 0 0 0,-1 1 0 0 0,-5-7 0 0 0,4 6-793 0 0,-1 0 0 0 0,1 0 0 0 0,-1 0 0 0 0,0 1 0 0 0,-1 0 0 0 0,1 0 0 0 0,-11-5 0 0 0,3 3-2799 0 0</inkml:trace>
</inkml:ink>
</file>

<file path=ppt/ink/ink4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57:01.21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3 476 1148 0 0,'0'0'2768'0'0,"-2"-9"154"0"0,-3 42-1399 0 0,1 1 1 0 0,2 0-1 0 0,5 62 0 0 0,-1-17-370 0 0,1-55 1736 0 0,-3-24-2853 0 0,0 0 0 0 0,0 0 1 0 0,0 1-1 0 0,0-1 1 0 0,0 0-1 0 0,0 0 0 0 0,0 0 1 0 0,0 0-1 0 0,0 1 183 0 0,0-1-183 0 0,0 0 1 0 0,1 0-1 0 0,-1 0 0 0 0,0 0 1 0 0,0 0-1 0 0,0 0 1 0 0,0 0-1 0 0,0 0 0 0 0,0 0 1 0 0,0 0-1 0 0,0 0 1 0 0,1 0-1 0 0,-1 0 1 0 0,0 0-1 0 0,0 0 0 0 0,0 0 1 0 0,0 0-1 0 0,0 0 1 0 0,0 0-1 0 0,0 0 0 0 0,1 0 1 0 0,-1 0-1 0 0,0 0 1 0 0,0 0-1 0 0,0 0 0 0 0,0 0 1 0 0,0 0-1 0 0,0 0 1 0 0,0 0-1 0 0,0 0 1 0 0,1 0-1 0 0,-1 0 0 0 0,0-1 1 0 0,7-10 316 0 0,14-30-419 0 0,2 2 0 0 0,1 0 0 0 0,48-56 0 0 0,-71 94 59 0 0,0 0 0 0 0,0-1-1 0 0,0 1 1 0 0,1 0-1 0 0,-1 0 1 0 0,0 0 0 0 0,1 0-1 0 0,-1 0 1 0 0,1 0 0 0 0,-1 0-1 0 0,1 0 1 0 0,-1 1-1 0 0,1-1 1 0 0,-1 1 0 0 0,1-1-1 0 0,0 1 1 0 0,-1-1 0 0 0,1 1-1 0 0,0 0 1 0 0,2 0-1 0 0,-1 0 2 0 0,0 1 0 0 0,0-1-1 0 0,0 1 1 0 0,0 0 0 0 0,-1 0-1 0 0,1 0 1 0 0,0 0 0 0 0,0 1-1 0 0,0-1 1 0 0,3 3 0 0 0,4 3 0 0 0,-1 1 1 0 0,0 0-1 0 0,0 1 1 0 0,12 16-1 0 0,-8-9 39 0 0,1 0 0 0 0,23 21 0 0 0,-31-32-60 0 0,1 1-1 0 0,0-2 0 0 0,0 1 1 0 0,0-1-1 0 0,0 0 0 0 0,1-1 1 0 0,0 1-1 0 0,13 3 0 0 0,-18-7-42 0 0,0 0 0 0 0,0 1 0 0 0,0-1 0 0 0,0 0 1 0 0,-1 0-1 0 0,1-1 0 0 0,0 1 0 0 0,0-1 0 0 0,0 1 0 0 0,-1-1 0 0 0,1 0 0 0 0,0 0 0 0 0,-1 0 0 0 0,1 0 0 0 0,0-1 0 0 0,-1 1 0 0 0,0-1 0 0 0,1 1 0 0 0,3-5 0 0 0,0 1-176 0 0,0-1 1 0 0,0 0-1 0 0,-1-1 1 0 0,0 1-1 0 0,5-9 0 0 0,-3 4 105 0 0,-1 0 0 0 0,-1-1-1 0 0,1 0 1 0 0,-2 0-1 0 0,0 0 1 0 0,0 0-1 0 0,-1-1 1 0 0,-1 1-1 0 0,0-1 1 0 0,0 0-1 0 0,-1-17 1 0 0,-2 27 130 0 0,1 1 0 0 0,-1-1 0 0 0,0 0-1 0 0,0 1 1 0 0,0-1 0 0 0,0 1 0 0 0,0-1 0 0 0,0 1 0 0 0,-1 0 0 0 0,1-1 0 0 0,-1 1-1 0 0,0 0 1 0 0,1 0 0 0 0,-1 0 0 0 0,0 0 0 0 0,0 0 0 0 0,0 1 0 0 0,-1-1 0 0 0,1 0-1 0 0,0 1 1 0 0,-1 0 0 0 0,1 0 0 0 0,-1-1 0 0 0,1 2 0 0 0,-1-1 0 0 0,1 0 0 0 0,-1 0-1 0 0,0 1 1 0 0,1-1 0 0 0,-1 1 0 0 0,0 0 0 0 0,0 0 0 0 0,1 0 0 0 0,-1 0 0 0 0,0 0-1 0 0,1 1 1 0 0,-1-1 0 0 0,0 1 0 0 0,1 0 0 0 0,-1 0 0 0 0,0 0 0 0 0,1 0 0 0 0,0 0-1 0 0,-1 0 1 0 0,1 1 0 0 0,0-1 0 0 0,-4 4 0 0 0,4-4 3 0 0,1 0 15 0 0,-1 0-1 0 0,1 0 0 0 0,0 0 0 0 0,-1 0 0 0 0,1 0 0 0 0,0 0 1 0 0,0 1-1 0 0,-1-1 0 0 0,1 0 0 0 0,0 1 0 0 0,0-1 0 0 0,1 1 1 0 0,-1-1-1 0 0,0 1 0 0 0,0 0 0 0 0,1-1 0 0 0,-1 1 0 0 0,1 0 1 0 0,-1-1-1 0 0,1 1 0 0 0,0 0 0 0 0,0 0 0 0 0,0-1 1 0 0,0 1-1 0 0,0 0 0 0 0,0 0 0 0 0,0-1 0 0 0,1 1 0 0 0,-1 0 1 0 0,0 0-1 0 0,2 2 0 0 0,-1-3-13 0 0,0 0-1 0 0,-1-1 1 0 0,1 1 0 0 0,0-1 0 0 0,-1 1 0 0 0,1-1-1 0 0,0 1 1 0 0,0-1 0 0 0,0 0 0 0 0,0 1 0 0 0,-1-1-1 0 0,1 0 1 0 0,0 0 0 0 0,0 0 0 0 0,0 1-1 0 0,0-1 1 0 0,0 0 0 0 0,0 0 0 0 0,-1 0 0 0 0,1 0-1 0 0,0-1 1 0 0,0 1 0 0 0,0 0 0 0 0,0 0-1 0 0,0 0 1 0 0,0-1 0 0 0,-1 1 0 0 0,1 0 0 0 0,0-1-1 0 0,1 0 1 0 0,28-13-719 0 0,-29 14 709 0 0,36-27-670 0 0,-21 14 361 0 0,-14 12 223 0 0,-1 1 22 0 0,-1-1 73 0 0,1 1 0 0 0,0 0 0 0 0,-1-1 0 0 0,1 1 0 0 0,-1 0 0 0 0,1 0-1 0 0,0 0 1 0 0,-1 0 0 0 0,1-1 0 0 0,0 1 0 0 0,-1 0 0 0 0,1 0 0 0 0,0 0 0 0 0,-1 0 0 0 0,1 0 0 0 0,1 1 0 0 0,2 5 233 0 0,0 0 1 0 0,0-1-1 0 0,0 1 1 0 0,1-1-1 0 0,7 7 1 0 0,-9-11-176 0 0,-1 1 0 0 0,1 0 1 0 0,0-1-1 0 0,0 1 0 0 0,-1-1 0 0 0,1 0 1 0 0,0 0-1 0 0,0 0 0 0 0,0 0 0 0 0,1-1 0 0 0,-1 1 1 0 0,0-1-1 0 0,0 1 0 0 0,0-1 0 0 0,0 0 1 0 0,7-1-1 0 0,-3 0-34 0 0,0 0 1 0 0,0-1-1 0 0,-1 0 1 0 0,1 0-1 0 0,0 0 0 0 0,-1-1 1 0 0,1 0-1 0 0,-1 0 1 0 0,0 0-1 0 0,0-1 0 0 0,0 0 1 0 0,0 0-1 0 0,-1-1 1 0 0,1 1-1 0 0,-1-1 0 0 0,0-1 1 0 0,-1 1-1 0 0,1-1 1 0 0,-1 1-1 0 0,0-1 0 0 0,-1 0 1 0 0,5-10-1 0 0,5-22-40 0 0,-2 0 1 0 0,-2-1-1 0 0,-1 0 0 0 0,-2-1 0 0 0,-2 0 0 0 0,-1-63 1 0 0,-3 98 32 0 0,0 0-1 0 0,0 0 1 0 0,0 0 0 0 0,-1 1 0 0 0,0-1 0 0 0,0 0 0 0 0,0 0 0 0 0,-1 1 0 0 0,-1-6 0 0 0,2 9-1 0 0,1 1 0 0 0,-1-1 1 0 0,1 0-1 0 0,-1 1 0 0 0,0-1 0 0 0,1 1 1 0 0,-1 0-1 0 0,1-1 0 0 0,-1 1 0 0 0,0-1 1 0 0,0 1-1 0 0,1 0 0 0 0,-1 0 0 0 0,0-1 1 0 0,1 1-1 0 0,-1 0 0 0 0,0 0 0 0 0,0 0 1 0 0,1 0-1 0 0,-1 0 0 0 0,0 0 0 0 0,0 0 1 0 0,1 0-1 0 0,-1 0 0 0 0,0 0 0 0 0,0 0 1 0 0,1 0-1 0 0,-1 1 0 0 0,0-1 0 0 0,0 0 1 0 0,1 1-1 0 0,-1-1 0 0 0,0 0 0 0 0,1 1 1 0 0,-2 0-1 0 0,-22 17 210 0 0,18-9-104 0 0,-1 0 1 0 0,1 0-1 0 0,1 1 1 0 0,-1-1 0 0 0,2 1-1 0 0,-1 1 1 0 0,2-1 0 0 0,-1 0-1 0 0,1 1 1 0 0,1 0-1 0 0,0 0 1 0 0,0 0 0 0 0,1 0-1 0 0,1 16 1 0 0,1 9 205 0 0,2 1 0 0 0,2-1 0 0 0,9 37 0 0 0,-7-40-426 0 0,1 0-1 0 0,18 43 0 0 0,-21-63-602 0 0,1-1 1 0 0,1 0-1 0 0,11 17 0 0 0,-13-23-331 0 0,1 1 0 0 0,-1-1-1 0 0,1 0 1 0 0,0-1 0 0 0,0 1 0 0 0,13 7 0 0 0,-1-2-3370 0 0</inkml:trace>
</inkml:ink>
</file>

<file path=ppt/ink/ink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4:31.69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8 1932 0 0,'9'-4'529'0'0,"-3"2"-43"0"0,0-1-1 0 0,0 1 1 0 0,0 0 0 0 0,0 1 0 0 0,0 0 0 0 0,0 0-1 0 0,0 0 1 0 0,0 0 0 0 0,0 1 0 0 0,10 1 0 0 0,-14-1-406 0 0,0 1 1 0 0,-1 0 0 0 0,1-1-1 0 0,0 1 1 0 0,-1 0 0 0 0,1 0-1 0 0,-1 0 1 0 0,1 0-1 0 0,-1 0 1 0 0,0 1 0 0 0,1-1-1 0 0,-1 0 1 0 0,0 1 0 0 0,0-1-1 0 0,0 1 1 0 0,2 2 0 0 0,10 26 416 0 0,-6-6-288 0 0,0 0 0 0 0,-2 0 0 0 0,-1 1 0 0 0,2 41 0 0 0,-5-37-2976 0 0,-7 53 1 0 0,4-67-15 0 0</inkml:trace>
</inkml:ink>
</file>

<file path=ppt/ink/ink4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57:01.61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1 0 2028 0 0,'-100'22'13618'0'0,"103"-21"-12858"0"0,13 1-455 0 0,0 0 0 0 0,1-1 0 0 0,-1-1 0 0 0,22-1 0 0 0,5-1-82 0 0,272-2-861 0 0,-211-1-2329 0 0,1-4-3427 0 0,-72 6 643 0 0</inkml:trace>
</inkml:ink>
</file>

<file path=ppt/ink/ink4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57:02.23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1 76 372 0 0,'-30'11'8240'0'0,"34"-11"-7382"0"0,212-29 2193 0 0,-93 9-2570 0 0,8 3-1165 0 0,0 1-5405 0 0,-100 12 2264 0 0</inkml:trace>
</inkml:ink>
</file>

<file path=ppt/ink/ink472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767" units="cm"/>
          <inkml:channel name="Y" type="integer" max="32767" units="cm"/>
          <inkml:channel name="F" type="integer" max="8191" units="dev"/>
          <inkml:channel name="T" type="integer" max="2.14748E9" units="dev"/>
        </inkml:traceFormat>
        <inkml:channelProperties>
          <inkml:channelProperty channel="X" name="resolution" value="1290.03943" units="1/cm"/>
          <inkml:channelProperty channel="Y" name="resolution" value="2064.71338" units="1/cm"/>
          <inkml:channelProperty channel="F" name="resolution" value="0" units="1/dev"/>
          <inkml:channelProperty channel="T" name="resolution" value="1" units="1/dev"/>
        </inkml:channelProperties>
      </inkml:inkSource>
      <inkml:timestamp xml:id="ts0" timeString="2021-12-11T13:27:22.668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11967 9249 312 0,'0'0'297'0,"0"0"-63"0,-3-6 14 0,3 6-53 16,0 0 25-16,-10-4-64 0,10 4 46 0,0 0-57 16,-14 3 32-16,14-3-36 0,-14 4-17 0,6-1 27 15,-1 0-42-15,0 1 12 0,2 2-48 0,-1-3 10 16,0 2-40-16,-2-1 15 0,4 2-39 0,-1-1 24 16,1-3-37-16,6-2 29 0,-12 9-36 0,12-9 25 15,-9 5-29-15,9-5 34 0,-6 4-28 0,6-4 29 16,0 0-17-16,0 0 21 0,0 0-26 0,8 5 26 0,-8-5-31 15,19-3 12-15,-5 2-38 0,5-1 36 0,8-1-30 16,1 0 22-16,5-2-33 0,6 1 32 0,4 0-32 16,6 2 34-16,-1-2-29 0,3 0 28 0,-1 0-22 15,1 2 36-15,-1 0-18 0,1 0 32 0,-2 0-25 16,-7 1 21-16,-2-1-3 0,-3 0 29 0,0 0-2 16,0-1 30-16,-9 1-15 0,0 1 40 15,0-2 3-15,-6 2 21 0,-2 0 3 0,-3-1 5 16,1 1-17-16,-5-1-22 0,-1 1-17 0,0-2-12 0,-12 3-12 15,14-2-13-15,-14 2-13 0,10-3-10 0,-10 3-46 16,0 0-34-16,0 0-44 0,-2-7-46 0,2 7-36 16,-13-3-89-16,13 3-71 0,-17-1-24 0,6-1-64 15,-1 1-482-15,1 1-480 0</inkml:trace>
  <inkml:trace contextRef="#ctx0" brushRef="#br0" timeOffset="1691.32">14415 8317 137 0,'-1'-17'407'0,"1"4"-18"0,1 0-58 0,1 0-40 15,-2-1-32-15,1 1-11 0,2 0-17 0,-3 1-34 16,2 0 10-16,-1 0-11 0,2 2-12 0,-1 1-32 16,0 1-31-16,0 3-28 0,-2-2-21 0,0 7-16 15,1-7-12-15,-1 7-10 0,0 0-5 0,0 0-6 16,-1 11 18-16,1-3 36 0,-2 4-14 0,-2-1-21 16,3 4 9-16,-2 0-19 0,2 2 10 0,0 0-11 15,-1 1 37-15,4 0-20 0,-1 0 2 0,0 0-9 16,3 0 20-16,3 1-4 0,1-1 1 0,3 0-9 15,1-2-1-15,0-2-8 0,4-2-7 0,-2-1-1 16,2-4-8-16,-1-1-2 0,3-3-6 0,-4-3-4 0,5-3 1 16,-1-2-7-16,4-3 2 0,-2-4-5 0,2-2-21 15,0-4-20-15,-2-3 10 0,-2-3 5 16,1 2-1-16,-5-3 2 0,2 3 1 0,-2 0 5 0,-3 5 5 16,-2 2 2-16,-1 0-1 0,-2 5-4 0,2 0-3 15,-4 2 4-15,0 3 2 0,-4 5 4 0,0 0 4 16,0 0-4-16,0 0 8 0,0 0 1 0,0 13-1 15,-2-5 1-15,-3 2-6 0,4 1 8 0,-2-1-6 16,2 4 10-16,-3-1-9 0,3 0 7 0,1 1-5 16,1 3 9-16,3-1-2 0,-2 0 1 0,2-1 6 15,2 1-2-15,1 0 0 0,0-4-1 0,3 2 2 16,0-2-2-16,0-2-2 0,4-1 1 0,-1-2-8 16,1-1 6-16,0-2-5 0,0-4 3 0,0-2-3 15,3-1-3-15,-3-5 2 0,4-2 0 0,-1-3-1 16,-2-3 2-16,0-1-7 0,-2-1 2 0,-2 0-5 15,0 2 5-15,-1-1 1 0,-4 2-3 0,-1 1 0 16,1 1-2-16,-4 2-4 0,-1 1 3 0,1 3-8 0,-2 0 8 16,0 7 0-16,-3-7 0 0,3 7 2 0,0 0 1 15,0 0 3-15,-8 5-4 0,8-5 4 16,-1 13-4-16,1-6 8 0,0 4-5 0,0 1 8 0,1 0-9 16,1 1 4-16,-1 1-4 0,-1 2 7 0,1 0-8 15,-1-2 4-15,0 2 4 0,-1-2 0 0,1 1-16 16,-1-1 16-16,-2-2 0 0,2 0 3 0,-2-1-6 15,2-1 4-15,0-1 1 0,-2-2 2 0,3 0 2 16,0-7-2-16,-1 9-3 0,1-9-4 0,2 4 1 16,-2-4-10-16,0 0-1 0,17-2-9 0,-7-2 8 15,2 1-19-15,2-1-1 0,1-2-4 0,6-2 10 16,-1 0-4-16,2-1 14 0,-2-1-10 0,5-1 13 16,0-3-6-16,-2 0 12 0,0-1-8 0,0-1 9 15,-5 0-1-15,0 0-3 0,-4 3 0 0,0-3 3 16,-4 5-2-16,-3-2 2 0,-1 2-4 0,-2 1 4 15,-2 3 10-15,-2 7-1 0,-5-12 2 0,5 12-3 16,-10-8-1-16,10 8 1 0,-13-1 0 0,13 1-3 16,-19 4-7-16,11 0 10 0,1 1-2 0,-1 1 5 0,3 1-6 15,1 1 9-15,2 1-5 0,0-1 6 0,4 2-9 16,0 0 10-16,1 0-11 0,3 2 10 16,2-1-9-16,-2-2 5 0,3 2-5 0,1-2 8 0,2-1-11 15,-2-1-9-15,2-2-18 0,-1-2-8 0,1 0-16 16,0-2-34-16,0-2 0 0,-1-2 3 0,3-1-17 15,-1-3 22-15,1-1-9 0,-1 0 31 0,2-4 3 16,-2 2 16-16,0 1 4 0,0 0 2 0,-2 0 2 16,-1 2 3-16,-1 2 1 0,-1 0 2 0,1 3 6 15,-9 2 2-15,14-2 3 0,-14 2 5 0,10 5-14 16,-6 1 24-16,0 0-18 0,-3 0 62 0,2 2-5 16,-2 1-8-16,-1 0-6 0,-1 1-7 0,-2 1-4 15,2-2-3-15,-2 2-3 0,2-2 3 0,-1 0-3 16,-1 1 4-16,0-3-4 0,2-1-1 0,0 0 35 15,-2 1 39-15,3-7 30 0,-2 9 6 0,2-9-27 16,0 0-19-16,4 4-14 0,-4-4-14 0,9-3-9 16,-3 1-15-16,4-4 4 0,-1 0-10 0,3-2 3 15,2 0-11-15,1-3 2 0,2-1-8 0,-2 1 10 0,3-2-15 16,0 0 10-16,-3-1-9 0,2 0 6 16,-3 2-2-16,-1 0 2 0,-1 2-1 0,-4 0 0 15,1 0-1-15,0 4 6 0,-3-2 3 0,-1 2 0 0,1 2-5 16,-6 4-5-16,5-8-4 0,-5 8 1 0,0 0-1 15,0 0-1-15,0 0 4 0,0 0-7 0,0 0 11 16,0 0-5-16,5 8 10 0,-5-8-5 0,2 10 5 16,1-3-3-16,-2 0 12 0,4 3 13 0,-4-3-5 15,2 3-3-15,0-1-3 0,-1 0-3 0,0 0-1 16,-1 2-2-16,-1-4 1 0,-3 3 1 0,1 0-22 16,-5-3-5-16,1 1-31 0,-4-1-64 0,-2 0-41 15,-1 1-69-15,-2-4-86 0,0 0-125 0,-2 1-154 16,2-3-334-16,1 0-485 0</inkml:trace>
  <inkml:trace contextRef="#ctx0" brushRef="#br0" timeOffset="4393.87">19263 7954 227 0,'0'0'517'0,"5"-9"-106"0,-5 9-79 0,4-7-78 16,-4 7-54-16,0 0 0 0,0 0 41 0,6 5-46 15,-6 2 45-15,0 3-27 0,0 2 4 0,-2 5-26 16,-2 4-2-16,-3 0-1 0,0 4-26 0,-1 2-20 16,-1 1-13-16,-1 1-11 0,0 1 28 0,1 0-13 15,0-1-22-15,-1 2-30 0,3-2-3 0,-2 0-25 16,5 0 4-16,-3-2-22 0,4-2 6 0,-1 0-19 15,2-2 10-15,2 1-20 0,0-4 16 0,0-1-17 16,1-1 9-16,4-1-28 0,-1-2-16 0,2-2-34 16,1-1-27-16,2-5-76 0,0-1-79 0,2-3-11 15,-11-3-75-15,22-3-97 0,-7-4-97 0,1-3-459 16,0-4-571-16</inkml:trace>
  <inkml:trace contextRef="#ctx0" brushRef="#br0" timeOffset="4565.66">19267 7863 438 0,'-12'-15'467'0,"2"0"-68"0,2 1-65 0,-2 1-61 0,1 0-39 16,3 2-47-16,-1-1-43 0,0 2-30 16,2 2-24-16,1-1-16 0,1 4-41 0,1-2-73 0,2 7-67 15,0-8-70-15,0 8-84 0,7-6-100 0,-7 6-214 16,17-3-90-16</inkml:trace>
  <inkml:trace contextRef="#ctx0" brushRef="#br0" timeOffset="4761.7">19609 7881 102 0,'5'16'519'0,"-2"-2"-88"0,-2 3-85 0,-1-1-18 16,-1 2-38-16,-2 0-17 0,-2 2-13 0,1 2-53 15,-2-2-28-15,1 2-27 0,0-2-28 0,-2-1-34 16,2 2 1-16,-2 0-35 0,0-2 8 0,1 0-22 15,-1 0-6-15,2 0-5 0,-1-2 10 0,1 0-17 16,0-1 4-16,0 0-90 0,-2-2-34 0,3 0-87 16,-2-1-11-16,2-2-60 0,-1-1 1 0,1-1-33 15,-2-3-50-15,6-6-310 0,-10 7-157 0</inkml:trace>
  <inkml:trace contextRef="#ctx0" brushRef="#br0" timeOffset="5516.79">19406 8317 219 0,'0'-6'366'0,"0"6"-69"16,0-12-63-16,4 6-38 0,0 0-41 0,3 0-24 15,2 0-14-15,0 2-16 0,5 0-3 0,0-2-15 16,4 2-9-16,0 0-19 0,4 2 14 0,2 1-7 16,3-3-10-16,0 2-14 0,-2 0-2 0,4 0 0 0,-4 1 28 15,3 0 8-15,-2 0-5 0,-5-1 5 16,0 1 10-16,-2 0 12 0,-2 1 13 0,-2-1 6 0,-3 0 4 16,0 1-1-16,-12 0-5 0,20-3-17 15,-20 3-14-15,17-1-19 0,-17 1-10 0,9-3-10 16,-9 3-6-16,0 0-4 0,8-3-2 0,-8 3-9 15,0 0-2-15,0 0-7 0,0 0 0 0,0 0-2 0,0 0-3 16,0 0 1-16,0 0-8 0,0 0 0 0,0 0 0 16,0 0 5-16,0 0 0 0,-3 6 1 0,3-6 2 15,0 0 0-15,9 7 8 0,-9-7 2 0,5 4-2 16,-5-4 29-16,9 4 4 0,-9-4 20 0,11 3-13 16,-11-3-3-16,14 0-14 0,-14 0 0 0,13-3-13 15,-13 3-2-15,15-7-22 0,-9 4 20 0,1-3-5 16,-2 0-3-16,-3 0-5 0,3 0-4 0,-5 0 0 15,0 6-7-15,-3-12 2 0,-2 6-4 0,-3 1 0 16,-1 1 0-16,-4 2 0 0,0 1 0 0,-2 0 1 16,1 2-1-16,-4 2-1 0,1 1-4 0,1 1 7 15,0 2 4-15,1 0-7 0,2 3 10 0,3 0 0 16,-1 1 24-16,3 0-1 0,0 2 2 0,4 1 20 16,1-2-4-16,3 1-6 0,0 0-4 0,3-1 2 15,1 3 7-15,3-2 1 0,-1 0 0 0,2-2-20 16,2-1 5-16,0-1-10 0,3-1 3 0,0-2-10 0,1-1 5 15,0-2-5-15,-1-2 1 0,1-1-10 16,0-4 9-16,2-1-7 0,0-1-1 0,0-4-7 16,2-1-16-16,0-3-1 0,-3 0 2 0,2 1 0 0,-3 1 2 15,-3 1 5-15,0 1-2 0,-2 2-3 0,0 2-6 16,-3 0 6-16,-6 6-13 0,5-3 19 0,-5 3 4 16,0 0 1-16,0 0-1 0,-2 8 1 0,2-8 1 15,-4 11 0-15,1-4 1 0,2 0 3 0,0 2 0 16,-1-1-2-16,2 0 3 0,0 2 1 0,0-3 1 15,0 1-1-15,3 0 2 0,-2 0 1 0,4 0 6 16,-1-3-10-16,3 1 7 0,-1-2-3 0,4-2 1 16,-1 0-2-16,-9-2 1 0,22 0-1 0,-9-3 11 15,3-1-12-15,0 0-4 0,0-2 1 0,0 1-1 16,0 0-3-16,-2-1 0 0,0 2 1 0,-2 1 1 16,-2-1-8-16,0 2 1 0,-10 2-3 0,14 0 62 15,-14 0 12-15,12 6-11 0,-8-1-11 0,-2 1-2 16,2 2 3-16,-1 1-2 0,-2 1-3 0,0 1-23 15,-1 1 15-15,3 1-20 0,-2-1 14 0,0 1-21 16,-1 1 23-16,2-1-23 0,-2-1 21 0,1 1-58 16,0 0-53-16,-1-2-68 0,1 1-69 0,1-2-44 15,1 0-83-15,-3-3-97 0,3 0-112 0,-3-7-443 0,5 10-604 16</inkml:trace>
  <inkml:trace contextRef="#ctx0" brushRef="#br0" timeOffset="5815.79">20354 8553 376 0,'0'0'483'0,"-1"-8"-97"16,1 8-56-16,1-10-97 0,-1 10 37 15,7-13-73-15,-2 6-12 0,2-1-67 0,0 0 6 0,2-1-53 16,1-2 17-16,3 3-49 0,-2 0 21 0,3 1-21 15,-1-1 23-15,-1 2-27 0,-1 2 19 0,1 1-33 16,-1-1 19-16,-1 3-35 0,-10 1 47 0,14 2-3 16,-5 2 14-16,-4-1-12 0,1 4-11 0,-1 0-9 15,-1-1-3-15,-2 3-6 0,1 2-1 0,-2 0-5 16,0-1 0-16,2 0-3 0,-3 1 1 0,0 3-3 16,0-4 0-16,0 2-2 0,-3 0-34 0,2-1-65 15,1 0-42-15,-1-2-68 0,-1 1-80 0,1-2-76 16,1 0-95-16,0-2-222 0,0-6-182 0</inkml:trace>
  <inkml:trace contextRef="#ctx0" brushRef="#br0" timeOffset="8405.99">3278 3169 87 0,'0'0'136'0,"0"0"-22"0,0 0-30 15,0 0-11-15,0 0 4 0,0 0-4 0,0 0-10 16,0 0 3-16,0 0 9 0,3-6 3 0,-3 6-20 16,0 0-3-16,2-7 3 0,-2 7-10 0,0-8 1 15,0 8-5-15,2-6-1 0,-2 6 16 0,0 0 8 16,0-7-13-16,0 7-15 0,0 0-12 0,0 0 8 0,0 0 12 16,0 0 38-16,7 10-4 0,-6 1 0 15,-1 2 1-15,2 5 8 0,0 2 20 0,-1 4-11 16,-1 2-11-16,1 2 6 0,-1 1-26 0,0 5 32 0,-1-2-43 15,0 2 41-15,1-6-38 0,-2 1 29 0,1-1-17 16,0 0-7-16,-2-1-3 0,-1 0-7 0,1-2-26 16,-2-1 18-16,0-1-22 0,1 1 6 15,-1-5 0-15,1-2 11 0,0-2-21 0,0-2 19 0,-1-1 23 16,4-2 28-16,-2-2-18 0,3-8-8 0,-5 9-20 16,5-9 2-16,0 0-20 0,-9-4-1 0,6-1-25 15,2-4-31-15,-1-2-54 0,-1-5 14 0,3-3-63 16,-1-4 44-16,1-6-51 0,1-5 17 0,2-4-8 15,-1-7-2-15,3-4 19 0,-1-1 8 0,4 0 4 16,-2 0 36-16,3 1-13 0,0 3 30 0,3 1-12 16,-1 6 33-16,1 0-5 0,2 4 1 0,-3 9 8 15,2 1 13-15,-2 7 14 0,1 1 14 0,3 4 21 16,-3 5 39-16,1 2-14 0,1 4 30 0,-3 3-28 16,4 3 42-16,2 6-16 0,0 3 39 0,-2 5-34 15,3 5 36-15,-4 3-21 0,4 5 23 0,-4 3 8 16,4 1-21-16,-4 0-20 0,0 0-10 0,0 1-11 15,0 0-12-15,-1 0 2 0,-2-1-19 0,0-3-4 0,-2-1-9 16,1-1 0-16,-4-1-8 0,3 0 4 0,-1-1-7 16,-2-4-7-16,-1-1-21 0,0 1-68 15,-1-5-55-15,0-1-33 0,0-4-59 0,0 1 27 16,-2-3-37-16,2-1-6 0,-4-4-82 0,0-7-77 0,-1 8-373 16,1-8-278-16</inkml:trace>
  <inkml:trace contextRef="#ctx0" brushRef="#br0" timeOffset="8601.25">3451 3478 320 0,'-12'-4'448'0,"-1"0"-56"0,4-1-71 0,0 2-3 15,0 0-113-15,9 3 21 0,-9-6-83 0,9 6 7 16,0 0-48-16,1-7 26 0,-1 7-47 0,18-6-20 16,-2 4-3-16,3-1-12 0,0 1-12 0,9 1-5 15,0-3-14-15,4 3-32 0,4-2-41 0,1 2-28 16,0 0 1-16,0 1-34 0,0 0-14 0,3 1-33 15,-3 0-35-15,-1 0-26 0,-2 1-11 0,-2-1-35 16,0 1-191-16,-4-2 55 0</inkml:trace>
  <inkml:trace contextRef="#ctx0" brushRef="#br0" timeOffset="9156.77">4458 3280 406 0,'-5'-11'368'0,"-1"2"-61"16,3 2-53-16,3 7-62 0,-5-9-28 0,5 9 5 15,0 0 51-15,-2 6-59 0,2 3 25 0,1 2-13 16,-1 4 28-16,4 3-33 0,0 4 18 0,3 1-29 16,1 4 19-16,1 0-12 0,0 0-16 0,2 0-23 15,1-2 10-15,1 0-7 0,-2-2-13 0,1 0-13 16,-1-3 9-16,-2-2-13 0,3-2-8 0,-1-1 13 0,-3-3-4 16,1-1-1-16,0-2 15 0,-3-1-12 15,0-3 24-15,-6-5-53 0,17 3 18 0,-17-3-51 16,17-6 33-16,-8 2-14 0,2-6-13 0,-1-1-8 0,2-4 0 15,1-2-12-15,-2-1-7 0,1-3 12 16,-1 1-18-16,-3 0-3 0,2-2-21 0,-2-1-38 0,-1 1-8 16,1 1-42-16,0 1-62 0,-3-1-8 0,-1 4-33 15,0 0-40-15,-2 3-69 0,1 2-12 0,-3-1-60 16,0 2-13-16,0 0-36 0,-3 2-19 0,1 0-365 16,-2-1-352-16</inkml:trace>
  <inkml:trace contextRef="#ctx0" brushRef="#br0" timeOffset="9558.94">4407 3091 193 0,'-14'-3'458'0,"-1"3"-55"16,5-1-82-16,-3-1 10 0,13 2-40 0,-17-1 28 16,17 1-56-16,-12-4-41 0,12 4-29 0,0 0-12 15,2-7-3-15,6 2-19 0,3 1-17 0,7 1-8 16,8-1-22-16,-2-1-16 0,12 1-24 0,-2 0-8 15,5 0-12-15,-1 1-8 0,9-1-5 0,1 1-10 0,0 0-4 16,-7 2 0-16,1 0-6 0,2 1-4 0,-3 0-4 16,1 1-2-16,-4 1-4 0,-2 1 2 15,-7-1-5-15,-2 2 1 0,-1-3-3 0,-6 1 2 0,-2 1-4 16,-4-2 2-16,-1 1 1 0,-3 0 10 0,-10-2-3 16,14 2 10-16,-14-2-4 0,0 0 6 0,0 0 5 15,-11-2 11-15,0-1-3 0,-3-1 13 16,-1 1-4-16,-3-4-6 0,-2 0-3 0,-5-3-3 0,0-1 0 15,-3-1-1-15,2-2 4 0,-2 0-5 0,4-1-2 16,-1 1-9-16,2-2 5 0,2 0-11 0,4 4 1 16,-1-1-5-16,4 1 5 0,0 2-7 0,4 1-3 15,0 0 5-15,1 2-7 0,1 1-61 0,2 0-53 16,-1 2-16-16,7 4-19 0,0 0-39 0,0 0-55 16,0 0 11-16,-10 7-40 0,10-7-12 0,8 13-43 15,-5-3-28-15,4 1-53 0,-2 4-305 0,4-2-221 16</inkml:trace>
  <inkml:trace contextRef="#ctx0" brushRef="#br0" timeOffset="9889.85">5403 3396 478 0,'0'0'565'16,"13"4"-131"-16,-13-4-27 0,18 0-69 15,-4 0-25-15,1-1-46 0,4 0-48 0,4 0-43 0,4 0-30 16,-1 1-37-16,2-1-14 0,0 1-42 0,0 1-51 16,0 0-76-16,-1 0-31 0,0 3-61 0,-2-1-19 15,-4 2-42-15,-3 0-13 0,-4 2 14 0,-2 1 7 16,-5 1 16-16,-3 1 34 0,-7 0 17 0,-2 4 34 16,-4 0 32-16,-5-1 54 0,-5 3 45 0,-4-1 75 15,-3 1 35-15,1-3 51 0,-2-1-23 0,0-1 48 16,5-3-16-16,2 1-16 0,2-3 5 0,4 0-2 15,1 0-3-15,2-4-13 0,3 2-29 0,8-4-20 16,0 0-21-16,5 6-13 0,5-5-14 0,7 0-11 16,2 0-31-16,4-1-74 0,7 1-49 0,-1-1-32 15,4 3-56-15,7-3-102 0,-2 1-76 0,2-2-415 16,1 0-310-16</inkml:trace>
  <inkml:trace contextRef="#ctx0" brushRef="#br0" timeOffset="12868.12">7093 2970 425 0,'0'0'317'0,"-3"-11"-11"16,3 11-36-16,-1-9-20 0,1 9-83 0,0 0-21 15,-2-7-21-15,2 7 76 0,0 0-29 0,3 5-2 16,-3-5-15-16,4 12-55 0,-2-3 0 0,2 0-39 0,1 4 10 15,-1 2-37-15,1 0 46 0,-1 2-37 0,2 3 15 16,1 0-35-16,-2 1 23 0,0 1-35 0,-1-1 24 16,0 1-28-16,-3-3 27 0,2 0-4 15,-1 0 15-15,-1 1-22 0,1-2 11 0,-2-2-24 0,1 1 16 16,-1-2-20-16,0-2 22 0,0 0-21 16,-1-1 13-16,-1-1-20 0,1-1 20 0,1-1-15 0,-1-2 20 15,1-7-14-15,-1 13 12 0,1-13-20 0,-6 5 13 16,6-5-18-16,0 0-26 0,-10-3-18 0,10 3 30 15,-9-12-61-15,7 4 9 0,-3-2-13 0,1 0 38 16,-1-1-23-16,-1 2 39 0,0-2-27 0,-3 0 38 16,1 3-26-16,-2-1 35 0,-2 2-35 0,-4 1 38 15,1 2-23-15,-2 1 48 0,-2 2-27 0,-1 1 22 16,2 0-27-16,-3 2 29 0,2 1-8 0,1 0 22 16,-1 2-21-16,2 0 25 0,1-1-23 0,2 2 12 15,0-3-29-15,2 3 22 0,1-1-23 0,1 0 22 16,2-1-23-16,0 1 25 0,2 0-24 0,-2 0 22 15,8-5-58-15,-8 8 12 0,8-8-56 0,-5 8 12 0,5-8-65 16,0 0-22-16,2 7-67 0,-2-7-53 0,0 0-58 16,10 2-270-16,-10-2-121 0</inkml:trace>
  <inkml:trace contextRef="#ctx0" brushRef="#br0" timeOffset="13858.04">7362 2957 180 0,'0'0'350'0,"-13"0"-68"0,13 0-60 16,0 0-19-16,0 0-43 0,0 0 15 0,0 0-25 15,13 2 22-15,2-2-32 0,5 0 5 0,5 0-9 16,5 0-26-16,5 0-16 0,5 0-30 0,5-2 35 16,3 2-39-16,5 0 19 0,-2 0-45 0,-1 0 28 15,-1 0-28-15,-6-1 24 0,0 1-25 0,-5-1 30 16,1 1-22-16,-8-1 35 0,-1 0 18 0,-3-2 24 15,-3 2-5-15,-3-2 24 0,-3 2-3 16,-1 0-17-16,-2-2-30 0,-3 0-8 0,-3 0-26 0,-1-2-1 16,-2 1-23-16,-2-2 4 0,-1 0-18 0,-6-1 7 15,-1-1-15-15,-2-1-2 0,0-1 6 0,-4-1-6 16,-1-1-4-16,0-3 5 0,-2 2-1 0,-1-2-8 0,1 1 6 16,-1 1 1-16,2 0-5 0,1 1 4 15,2 1-6-15,0 1 7 0,1 2-3 0,1-1-4 16,0 4-5-16,2-2-51 0,0 1-86 0,5 6-43 15,-9-3 5-15,9 3-10 0,-10 2-38 0,6 3-40 0,1 4-37 16,1 0-44-16,-2 4-83 0,0 3-187 0,-2 0-132 16</inkml:trace>
  <inkml:trace contextRef="#ctx0" brushRef="#br0" timeOffset="15292.1">7494 3346 238 0,'0'0'297'15,"-1"-8"-58"-15,1 8-28 0,-2-8-11 0,2 8-32 0,0-9-25 16,0 9-25-16,3-7-4 0,-3 7 9 16,0 0-50-16,1-8-15 0,-1 8-12 0,0 0 9 15,0 0-42-15,0 0 25 0,14 2-23 0,-9 4 47 16,-1 0-13-16,2 4 20 0,1-1-50 0,-1 2 8 0,1 2-10 15,-1 1 27-15,2-2-28 0,-1 3 46 0,0-2-23 16,-1 2 34-16,2-2 7 0,-1-1 16 0,1 1-33 16,-3-3 42-16,2-1-3 0,-2 0 45 0,0-1 33 15,0-2 50-15,-1-1 1 0,-4-5-40 0,10 4-32 16,-10-4-25-16,15 3-31 0,-15-3-20 16,14-5-13-16,-6 0-10 0,2 0-9 0,2-4-7 0,-2 0 20 15,1-2-11-15,1 0-6 0,-3-1-9 0,4-3-4 16,-2 0-11-16,1-1 3 0,-1 0-14 0,0 0 4 15,-1-1-8-15,-1 1 17 0,0 2-10 0,-3 2 2 16,3-2-6-16,-4 0 4 0,1 3-8 0,0 1 7 16,-1 1-12-16,0 0 10 0,-2 1-14 0,0 0 5 15,1 2-36-15,-1 1-67 0,-1-1-56 0,-2 6-89 16,3-9 6-16,-3 9-14 0,0 0 3 0,0 0-64 16,0 0-49-16,0 0-45 0,-16 6-74 0,10-2-265 15,-2 1-257-15</inkml:trace>
  <inkml:trace contextRef="#ctx0" brushRef="#br0" timeOffset="16249.23">2613 2681 128 0,'0'21'227'0,"0"0"21"15,1 6-46-15,1 5 7 0,-1 2-12 0,0 3-10 16,3 6-32-16,-3 3-19 0,1 0-14 0,-1 1 2 16,0 2-9-16,2-2-27 0,-2 0 2 0,-1-1-24 15,0-1-7-15,0-6-8 0,0-2 19 0,0 0-12 16,0 1 31-16,-1-3-59 0,-3-2 23 0,3 0-29 15,-2-1 26-15,-1-2-55 0,-1-4 30 0,1-2-42 16,2-2-3-16,-1-3-67 0,-2-4-19 0,4 0-31 16,-2-2 4-16,2-5-57 0,0 0-62 0,1-8-50 15,1 7-186-15,-1-7 23 0</inkml:trace>
  <inkml:trace contextRef="#ctx0" brushRef="#br0" timeOffset="17034.29">2471 2877 148 0,'-1'-17'209'0,"4"3"-33"16,-1-1-32-16,3-2-7 0,4 1-45 0,3 0 19 0,3 0-34 16,5-2 1-16,6 1-10 0,6-1 2 0,5 1-27 15,5 1 20-15,5 2-17 0,6-1 14 0,9 2-16 16,4 2 10-16,0 2-30 0,5 1 19 0,2 4-34 15,3-1 9-15,3 3-21 0,0 1 22 0,2-1-26 16,3 2 26-16,-1 2-25 0,0-2 18 0,2 1-25 16,0 0 21-16,2 0-23 0,4 0 22 0,1 0-8 15,1 1 10-15,2 0-19 0,-2-2 20 0,2 2 11 16,-2-1-10-16,2 1 7 0,0 0-7 0,3 0 1 16,0 1-8-16,3-1 2 0,-1 2 6 0,-1-1-5 15,1 2 5-15,1 0-5 0,-1 1-5 0,1-1 3 16,-2 0-3-16,2 0 4 0,1-1-3 0,-3 0 5 15,-1-1-6-15,-2 2 4 0,0-1 3 0,-3-1 0 16,-1 1-9-16,-2 0 15 0,-3 0 2 0,-3-1-4 16,0 0-1-16,-4 1-5 0,-1-2-1 0,-5 1-3 15,-11 1 8-15,-2-2-1 0,-1-1-8 0,0 3 1 16,0-3-4-16,-2 1 3 0,-2 2-7 0,0-3 11 16,-2 2-6-16,-3 0-1 0,0 0 9 0,0-1-11 0,-4 0-1 15,2 2-2-15,-7-1 5 0,3-1 1 16,-3 0-1-16,-1 1 3 0,1-1 2 0,-2 0-4 15,-1-1 0-15,1 2-6 0,-2 0 3 0,1-1-9 16,-4 0 9-16,1-1 1 0,-5 1 2 0,-3 0-6 0,0-1 8 16,-1-1-3-16,-4 1 3 0,-4-1-6 0,2 0 3 15,-1 0 3-15,-2 0 1 0,-3 0-4 0,1 0 3 16,0-1-2-16,-3 1-1 0,2 0 2 0,-2-1-1 16,0 0-3-16,2 0-4 0,-2-1 7 0,1 1-2 15,0 0 4-15,0 0-2 0,0 0 1 0,1 0-2 16,0-1-8-16,0 1 7 0,-2 0 3 0,2-1 0 15,-2 1-6-15,1 0 5 0,-1 0-1 0,-2 1 0 16,1-1 1-16,-12 1 5 0,16-1 17 0,-16 1 9 16,17-2 7-16,-17 2-3 0,11 0-8 0,-11 0-1 15,0 0-10-15,17-1-9 0,-17 1-14 16,0 0 1-16,10 1-1 0,-10-1-6 0,4 5 12 0,-4-5 1 16,3 11 1-16,-3-4-12 0,0 4 11 0,-3 1 24 15,2 2-30-15,-3 4 26 0,1 3-16 0,-2 3 21 16,-1 1-26-16,2 5 29 0,-2 2-21 0,-2 8 2 15,2 0 2-15,-2 2 0 0,2-2-1 0,0 2 5 0,1-1-7 16,1-5 26-16,3 0-27 0,-3-1 1 16,2-1 2-16,-1 1 21 0,2-3-33 0,1-3 27 0,-1 0 1 15,1-2-2-15,0 1-2 0,-1-1 2 0,1 0-3 16,-2-2-48-16,1 0-57 0,0-1-82 0,-2-4-91 16,1-2-367-16,-2-1-136 0</inkml:trace>
  <inkml:trace contextRef="#ctx0" brushRef="#br0" timeOffset="18642.02">2760 3619 72 0,'0'0'159'0,"-11"1"7"0,11-1-24 16,-9 5-3-16,9-5-17 0,-9 7-25 0,5-2-13 15,4-5 4-15,-8 9-9 0,8-9-4 16,-2 11 12-16,2-4 4 0,1 0-8 0,0 2-2 0,3 0-23 15,4 1-14-15,-1 3-4 0,4-3 1 0,2 3-15 16,3 1 0-16,6 0 2 0,2 0-10 0,-1 2-2 16,4-2-2-16,1 1 4 0,5 0-9 0,-1 1 0 15,1-2 4-15,-2 0-5 0,0-3 3 0,6 3-1 16,-5-2-3-16,5 0-1 0,-2 0 2 0,-1-2 0 16,-1-1 0-16,2 0-6 0,5-1 2 0,1 0-1 15,0 1-4-15,1-2 1 0,2 0 3 0,-2-1-1 16,-3-1-4-16,5-1 5 0,-4 3-2 0,7-4-8 0,-7 1 9 15,0-1 0-15,6 0-1 0,-6 1 12 16,2-1-6-16,-2-2-2 0,0 2-7 0,2-1 11 16,-1 0-8-16,1-1 14 0,8 2-2 0,-2-2-3 15,1 1 1-15,-1-1 12 0,-3 0 13 0,5-1-19 16,0 0 19-16,-1 0-30 0,2 0 24 0,0 1-24 0,-2-1 26 16,-5 0-22-16,6 1 28 0,-1-1-28 15,-5 0 7-15,6 1-19 0,0 1 32 0,-1-1-30 0,0-1 6 16,2 0-8-16,-1 1 18 0,0 0-11 0,0-1 32 15,1 1-35-15,-4 0 33 0,4 1-38 0,-2-1 32 16,-1 0-23-16,-5 1 23 0,1-1-37 0,-3 1 33 16,9-1-30-16,-9 0 12 0,1 2-8 0,0-2 25 15,6 1-27-15,-6 1 18 0,0-2-16 0,-1 2 46 16,2-2-42-16,-2 1 31 0,0-1-33 0,2 0 29 16,0-1-37-16,0 2 33 0,-2-1-45 0,1 0 39 15,-1-1-24-15,-1 0 29 0,1 0-5 0,-2 1-32 16,1-1 31-16,-2 1-40 0,-1-1 38 0,4 1-28 15,-4-1 26-15,3 2-24 0,-2-2 25 0,0 0-29 16,1 0 33-16,-1 1-35 0,-1-1 34 0,-1 0-29 16,0 0 31-16,-4 0-35 0,1 0 30 0,-1 1-29 15,0-1 32-15,-2 0-29 0,1-1 37 0,-2 1-39 16,1 0 32-16,-1-1-34 0,-3 1 32 0,2-2-32 0,0 2 38 16,-4-1-41-16,1 0 36 0,-4 1-32 0,1-1 29 15,1 1-37-15,0-1 34 0,0 1-30 16,0-1 40-16,0 1-41 0,3 0 38 0,-1 1-42 0,2-1 38 15,0 0-28-15,-1 1 28 0,0 0-31 0,1 0 34 16,-1-1-33-16,-1 1 35 0,2 2-33 0,-1-2 28 16,-2 1-37-16,3-1 38 0,-3-1-34 15,2 2 35-15,-2-1-39 0,-1 0 37 0,0 1-34 0,-1-1 39 16,-2 0-38-16,3 0 38 0,-3 0-38 0,1-1 39 16,-1 1-31-16,1-1 32 0,-2 2-33 15,0-2 36-15,-1 0-36 0,-3 0 42 0,2-2-35 0,-3 2 32 16,0-1-29-16,2 1 48 0,-4-1-12 0,2-1-37 15,-1 1 33-15,1-1-38 0,-2 0 29 0,2 0-33 16,-4-1 34-16,3 1-37 0,-1-1 36 0,0 1-37 16,2-2 21-16,-1 2-16 0,-2-1 29 0,3 0-29 15,1-1 33-15,0 0-26 0,-1 0 42 0,0-1-28 16,0-1 21-16,0 0-29 0,0-1 20 0,0 0-22 16,2-1 23-16,-5-3-29 0,3 1 27 0,0-2-27 15,-1-1 20-15,-3-2 0 0,2 2-1 0,-2-2 0 16,-1 0-4-16,-3 1 0 0,2-3 4 0,-2 3 7 15,-1-2-1-15,-1-1-3 0,-3 1-1 0,1 0-12 16,-2-1 4-16,-3 1-4 0,3 0-19 0,-5 1 22 0,1 1-19 16,-3-1 17-16,0 4-44 0,0-2-28 15,-4 1-77-15,0 3-41 0,-2 0-62 0,-1 2-51 16,0 1-83-16,-3 0-285 0,2 0-173 0</inkml:trace>
  <inkml:trace contextRef="#ctx0" brushRef="#br0" timeOffset="33009.3">4336 6079 270 0,'0'0'443'16,"0"0"-126"-16,-13 2-25 0,13-2-68 0,0 0 0 15,14-3-41-15,0 2-9 0,12 0-20 0,10-3-40 16,12-1-25-16,8 1-17 0,3 0-41 0,15 1-33 16,4 0-60-16,0 2-61 0,5 2-82 15,-1 0-167-15,5 2-198 0,1-2-82 0</inkml:trace>
  <inkml:trace contextRef="#ctx0" brushRef="#br0" timeOffset="33932.64">20191 4695 429 0,'0'0'454'0,"-12"5"-71"0,12-5-69 16,-6 5-42-16,6-5-59 0,-7 2-22 0,7-2-52 0,0 0-31 15,0 0-17-15,11 3-26 0,-11-3-6 0,20 0-18 16,-7 0-2-16,2 0-6 0,2 1-15 0,2-1-58 16,-1 2-99-16,1 0-52 0,1 0-90 0,0 1-116 15,-1 0-165-15,-1 1-76 0</inkml:trace>
  <inkml:trace contextRef="#ctx0" brushRef="#br0" timeOffset="34103.72">20211 4926 106 0,'-10'7'560'0,"0"-2"-124"16,1 0-64-16,1 0-37 0,8-5-40 0,-10 6-42 0,10-6-40 16,0 0-54-16,0 0-12 0,4 6-39 0,-4-6-3 15,18 1-27-15,-6-1 7 0,2 0-36 0,4 0 9 16,-1 0-27-16,3 1 13 0,2-1-25 0,-1 1 11 0,0-1-68 15,0 1-50-15,0 1-23 0,-4-1-88 0,0-1-50 16,-3 1-68-16,0-1-66 0,-1 1-280 0,-13-1-171 16</inkml:trace>
  <inkml:trace contextRef="#ctx0" brushRef="#br0" timeOffset="35081.73">21005 5058 123 0,'0'0'513'0,"0"0"-159"16,0 0-80-16,0 0-54 0,0 0 10 0,0 0-21 0,-3 10-32 15,2-2 18-15,-2 3-7 0,2 2-16 16,0 1-36-16,-2 3 27 0,2 1 10 0,0 1-26 16,1 2-11-16,-2-1-13 0,2 0-12 0,0 1-27 0,2 0-5 15,-1-2 38-15,0 0-13 0,-1-1-33 0,1 0-1 16,1-2-22-16,-1-3-1 0,-1-1-20 15,3-2 17-15,-3 0-6 0,0-2 51 0,1 0 37 16,-1-8 25-16,1 10-31 0,-1-10-25 0,0 0-24 0,0 0-10 16,4-5-15-16,1-2-15 0,-2-4-28 0,1-4-18 15,1-1 6-15,2-4-14 0,-2 0-3 16,3-2 5-16,2 1-17 0,-3-1 22 0,2 2-14 0,0 1 21 16,-1 1-23-16,2 2 19 0,-3 2-12 0,0 4 19 15,0-1-20-15,1 4 20 0,-2 1-15 0,-6 6 19 16,14-4-16-16,-14 4 21 0,12 4-1 0,-6 1-1 15,1-1 2-15,0 3-2 0,0 2 5 0,-2-2-6 16,1 4 5-16,-1-2 1 0,4 4-8 0,-4-2 7 16,0 0 3-16,1 0-3 0,-1-1 1 0,-1 0-4 15,1-3 2-15,-3 1 2 0,3-3 2 0,-3 2 9 16,-2-7 26-16,5 10 23 0,-5-10-13 0,6 4-10 16,-6-4-9-16,0 0-9 0,14-3 16 0,-6-1-33 15,0-3 1-15,0 1 0 0,3-3-3 0,-2 1-1 0,0 4 3 16,1-5 11-16,0 1 3 0,-2 3 28 0,-1-2-6 15,1 2-7-15,-3 1-11 0,0-1-7 16,-5 5-5-16,12-4-3 0,-12 4 45 0,0 0 9 16,13 1 8-16,-13-1-29 0,9 5 15 0,-9-5-25 0,8 9 17 15,-4-2-24-15,0 1 15 0,-1 0-28 16,-1 1 15-16,2 0-19 0,-1 2-7 0,-1-2 2 16,2 1-32-16,0 1-29 0,-2 0-21 0,2-1-51 0,-1 0-38 15,1 1-47-15,-2-3-4 0,3 0-30 0,-1 0-10 16,4-1-34-16,-2 0-28 0,3-3-31 0,0-1-84 15,4-3-25-15,0-1-415 0,2-3-430 0</inkml:trace>
  <inkml:trace contextRef="#ctx0" brushRef="#br0" timeOffset="35268.75">21975 5130 109 0,'13'-5'494'16,"-3"2"-124"-16,-1 1-10 0,-9 2-10 0,11 1 11 15,-11-1-60-15,3 6-22 0,-3-6-13 0,-4 12-25 16,0-5-32-16,-2 2-23 0,-2 1-28 0,-2 2-31 15,1 0-17-15,-4 2-22 0,0 2-14 0,-1-1-14 16,0 1-16-16,1-2-2 0,-2 3-13 0,2-1 0 16,-1 1-48-16,0-2-74 0,0 1-102 0,1-3-17 15,1 0-51-15,0 0-111 0,2-4-55 0,0 0-422 16,3-2-399-16</inkml:trace>
  <inkml:trace contextRef="#ctx0" brushRef="#br0" timeOffset="35499.26">21826 5176 283 0,'4'-5'595'0,"-4"5"-140"0,7-6-118 0,-7 6 8 0,0 0-21 15,16 0-19-15,-16 0-56 0,13 5-24 0,-5-1 15 16,1 1-17-16,0 1-42 0,2 3-41 0,-1-1-17 16,2 3-19-16,-2 0-22 0,4 1-18 0,-2 2-6 15,-2-1-11-15,3 2-10 0,-2-1-8 0,-2 0-35 16,0-2-57-16,-1 1-47 0,0 0-33 0,0-3-19 15,-3 3-42-15,2-5-10 0,-2 1-3 0,0-1-10 16,-2-2 33-16,-3-6-88 0,9 6 22 0,-9-6-22 16,0 0 1-16,10-1 18 0,-10 1-220 0,6-9 29 15</inkml:trace>
  <inkml:trace contextRef="#ctx0" brushRef="#br0" timeOffset="35890.24">22129 5326 640 0,'8'-15'112'0,"1"2"0"0,1-3 26 16,4 2 65-16,-1 0-3 0,1 1-3 0,2-1-30 15,-1 3 16-15,-2 1-13 0,1 2-25 0,0 0-12 0,0 1-25 16,-1 1-19-16,-2 2-18 0,-1 1 36 0,2 0-29 15,-2 2 11-15,-10 1-16 0,19 1 37 0,-10 2-31 16,-1 0 3-16,-2 1-26 0,1 1 38 16,-1 1-10-16,-1 0 8 0,-2 0-25 0,2 1-7 15,-3-1-7-15,2 0-12 0,-1 1 2 0,-1 1 34 0,0-1-12 16,-1 0-11-16,-1-7-12 0,2 11-14 0,-2-11-1 16,3 11 0-16,-3-11-4 0,1 8-3 0,-1-8 1 15,3 8 2-15,-3-8 3 0,0 0 43 0,1 7 45 16,-1-7 11-16,0 0-13 0,0 0-21 0,0 0-21 15,0 0-16-15,0 0-7 0,10-4-13 0,-7-1-11 16,-1-1 0-16,2-1-6 0,3-3-4 0,-1 2-6 16,3-3-18-16,0 0 15 0,1 0-15 0,0 1 11 15,2 1-11-15,-2 0 12 0,3 1-16 0,-3 2 14 16,2 1-22-16,-1 0 18 0,-1 3-13 0,2 1 18 16,-12 1-13-16,20 2 19 0,-10 2 5 0,-1 1 5 15,-1 1 9-15,2 2 10 0,-1 1-9 0,0 1 13 16,-2 1-18-16,-1 1-3 0,2 0-7 0,-3 1 1 15,0 1 2-15,0-1-19 0,0-1 19 0,-2 1-2 0,-1 0 0 16,2-1-2-16,-3 0-7 0,2-1-52 16,-2 0-35-16,-1 1-70 0,0-4-56 0,0 2-68 15,0-3-57-15,0 0-79 0,-3 1-129 0,3-8-462 0,-6 7-607 16</inkml:trace>
  <inkml:trace contextRef="#ctx0" brushRef="#br0" timeOffset="36808.26">10633 5795 98 0,'0'0'461'0,"-3"6"-139"0,3-6-40 16,3 6-12-16,-3-6-21 0,12 9-31 0,-3-5-29 15,7 1-13-15,4 2-28 0,6-2-42 0,7 1-1 16,1 1-24-16,12 0-10 0,2 1-22 0,4-1 5 16,3 0-19-16,0 2-45 0,4-2-82 0,8 0-112 15,-9 0-94-15,12 0-437 0,-12-1-239 16</inkml:trace>
  <inkml:trace contextRef="#ctx0" brushRef="#br0" timeOffset="37341.5">13589 6054 342 0,'-13'0'433'0,"0"0"-57"0,13 0-61 16,-22 0-24-16,22 0-32 0,-19-1-13 0,19 1-26 15,-18 0-22-15,18 0-22 0,-13-1-24 0,13 1-19 16,-11 0-21-16,11 0-4 0,0 0 3 0,-13 1 6 16,13-1 6-16,0 0-17 0,0 0-16 0,14-1-15 15,-2 0-10-15,3 0-11 0,3 0-5 0,2-1-8 0,3 0-12 16,2 0 3-16,0 1-7 0,2 0-1 0,-4 0-3 16,-1 0-4-16,-3 0-1 0,0-1-1 0,-5 2-2 15,1-1 1-15,-3-1-4 0,2 2 0 16,-14 0-5-16,18-1-33 0,-18 1-31 0,14 0-62 0,-14 0-70 15,0 0-85-15,0 0-102 0,1 6-122 0,-1-6-402 16,-10 4-465-16</inkml:trace>
  <inkml:trace contextRef="#ctx0" brushRef="#br0" timeOffset="39432.33">14587 5949 71 0,'0'0'384'0,"-9"-3"-70"15,9 3-56-15,0 0 3 0,-11-2-42 0,11 2 6 16,0 0-30-16,0 0-7 0,-10-2-22 0,10 2-34 15,0 0-6-15,0 0-19 0,0 0 3 0,-9-3-30 16,9 3 5-16,0 0-28 0,0 0 5 0,0 0-22 16,0 0 6-16,14 0-19 0,-3 2 15 0,3-1-21 15,4 0 5-15,3 0-16 0,5 0 17 0,2 0-21 16,3 2 13-16,3-1-22 0,2 2 1 0,0-2-41 16,-2 2-28-16,1-1-37 0,-6 0-77 0,-1 0-15 0,-1 1-70 15,0 1-18-15,-3 0-75 0,-2-3-190 16,-2 1-64-16</inkml:trace>
  <inkml:trace contextRef="#ctx0" brushRef="#br0" timeOffset="40895.76">9173 5767 132 0,'0'0'139'0,"12"3"-13"0,0-3-20 16,8-1-18-16,5-2-16 0,12 1-21 0,13-1-9 15,5 1-19-15,6 0-19 0,16-1-29 16,6 2-11-16,4 0-59 0,5 0-104 0,5-1 60 0</inkml:trace>
  <inkml:trace contextRef="#ctx0" brushRef="#br0" timeOffset="41374.16">12914 5988 417 0,'0'0'293'16,"-5"4"-24"-16,5-4-62 0,0 0-14 0,0 0-65 15,0 0 1-15,0 0-43 0,11 3 0 0,-11-3-40 16,26 0 13-16,-7-2-33 0,5 1 22 0,4 0-33 15,9-1 21-15,2 1-29 0,2 1 27 0,3-1-28 16,-1 1 22-16,0-1-34 0,-1 1 25 0,-1 0-27 16,1 0 27-16,-1 0-16 0,-4-1 11 0,0 1-26 15,-5-1 27-15,-1 1-24 0,-6-2 50 0,2 0-12 16,-4 1 35-16,-4-1-16 0,-2 0 24 0,1 1-1 16,-5-2 5-16,1 2-1 0,-3 0-5 0,-2-1-10 15,1 1-12-15,-10 1 5 0,13-4-7 0,-13 4 0 16,12-5-23-16,-12 5 11 0,9-5-21 0,-9 5 10 15,3-6-14-15,-3 6 6 0,0 0-12 0,6-5 8 0,-6 5-45 16,0 0-23-16,2-7-41 0,-2 7-52 0,0 0-10 16,0 0-40-16,0 0-69 0,0 0-100 15,0 0-174-15,0 0-54 0</inkml:trace>
  <inkml:trace contextRef="#ctx0" brushRef="#br0" timeOffset="43881.71">15033 5852 249 0,'9'2'239'16,"7"1"-55"-16,6 4-44 0,5-4-15 0,6 1-31 16,4 0-32-16,9 2-35 0,4-1-73 0,2 1-87 15,1-1-162-15,2 2 250 0</inkml:trace>
  <inkml:trace contextRef="#ctx0" brushRef="#br0" timeOffset="44130.68">16950 6043 252 0,'16'3'431'0,"-3"0"-124"0,1-2-21 15,0 0-68-15,0-1-11 0,2 1-52 0,0 0-23 0,2-2-23 16,1 1-26-16,2 0-13 0,-3 0-19 0,1-1-7 15,-4 1-4-15,2 0 0 0,-2 0-11 16,-1 0-11-16,0 0-46 0,0-1-22 0,-2 1-86 0,-12 0-29 16,19 0-85-16,-19 0 4 0,15 0-254 0,-15 0 4 15</inkml:trace>
  <inkml:trace contextRef="#ctx0" brushRef="#br0" timeOffset="45513.69">20765 5831 443 0,'0'0'360'0,"0"0"-88"0,0 0-35 16,0 0-43-16,0 0-23 0,5-6 8 0,-5 6-23 16,23-3-6-16,-6 2-13 0,4 0-26 0,6-1-13 15,2 1-22-15,2 0 2 0,6-1-13 0,2 2-1 0,1-1-21 16,1 1 2-16,0 0-14 0,0 0 5 15,-1 0-20-15,0 0 13 0,-4 0-16 0,1 0 9 16,-5 0-19-16,-1 0 13 0,-4 0-12 0,-3-1 14 16,-4 1-44-16,1 0-31 0,-1 0-48 0,-7 0-62 0,2-1-73 15,-2 1-57-15,-2 1-32 0,-11-1-248 16,17 0-91-16</inkml:trace>
  <inkml:trace contextRef="#ctx0" brushRef="#br0" timeOffset="45996.7">22375 5654 56 0,'0'0'528'0,"-17"-1"-126"16,17 1-59-16,0 0-62 0,-16 0-36 0,16 0-34 15,0 0-27-15,0 0-39 0,0 0 2 0,0 0-23 16,16 6 4-16,3-3-18 0,6 1 14 0,7 0-28 15,6 1 9-15,5 2-14 0,5 0-1 0,-5 0-1 16,4 0 8-16,-3-1-7 0,-7-1-2 0,-2-1-17 16,-2 0-6-16,-6-2-9 0,-2 1 18 0,-3-1 0 0,-4-1 2 15,0 2-9-15,-4-3 0 0,0 1-24 16,-3-2 1-16,-11 1-20 0,21-1 8 0,-21 1-18 16,14-4 3-16,-14 4-10 0,9-5 5 0,-9 5-13 15,1-6-2-15,-1 6-17 0,-3-7-22 0,3 7-36 16,-6-6-27-16,6 6-31 0,-8-4 5 0,8 4-40 0,-9-2 1 15,9 2-3-15,-15-2-28 0,15 2-16 16,-13 1-20-16,13-1 0 0,-15 3-32 0,7 0-41 16,-1-1-61-16,-1-1-145 0,-1 2-12 0</inkml:trace>
</inkml:ink>
</file>

<file path=ppt/ink/ink473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767" units="cm"/>
          <inkml:channel name="Y" type="integer" max="32767" units="cm"/>
          <inkml:channel name="F" type="integer" max="8191" units="dev"/>
          <inkml:channel name="T" type="integer" max="2.14748E9" units="dev"/>
        </inkml:traceFormat>
        <inkml:channelProperties>
          <inkml:channelProperty channel="X" name="resolution" value="1290.03943" units="1/cm"/>
          <inkml:channelProperty channel="Y" name="resolution" value="2064.71338" units="1/cm"/>
          <inkml:channelProperty channel="F" name="resolution" value="0" units="1/dev"/>
          <inkml:channelProperty channel="T" name="resolution" value="1" units="1/dev"/>
        </inkml:channelProperties>
      </inkml:inkSource>
      <inkml:timestamp xml:id="ts0" timeString="2021-12-11T13:28:30.653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3862 9586 364 0,'-9'18'398'0,"1"1"-53"0,0 0-33 0,1 0-48 16,3-1-25-16,0 0-39 0,4-2-6 0,1-3-11 16,3 0-8-16,5-3-1 0,3-3-2 0,3-1-8 0,7-3-12 15,6-4-12-15,9-7-23 0,9-2-20 16,13-10-19-16,3-2-21 0,2-3-12 0,0-2-85 0,1-3-24 15,0-3-53-15,-2 1-27 0,-2-1-49 16,-2-2-47-16,-4 0-69 0,0 1-47 0,-2-1-408 0,-2 4-278 16</inkml:trace>
  <inkml:trace contextRef="#ctx0" brushRef="#br0" timeOffset="1660.35">7512 10289 230 0,'0'0'424'0,"-14"1"-128"15,14-1-61-15,0 0-54 0,-9 4-23 0,9-4 21 16,0 0-11-16,-6 7-8 0,6-7-20 16,-1 9-55-16,1-9 50 0,4 9-65 0,-3-2 26 15,2 0-40-15,1 0 34 0,0 0-51 0,2 0 32 0,-1 1-43 16,3 1 34-16,-2 0-38 0,4 1 27 16,1-1-38-16,-1 0 27 0,1 0-33 0,2 0 31 0,1 0-36 15,0-1 36-15,4 0-30 0,0 1 33 0,4-2-35 16,-1-1 26-16,3 0-28 0,1-1 21 0,3-2-28 15,5 2 28-15,3-1-35 0,0-2 31 0,2 1-37 16,3-2 37-16,0-1-35 0,4 1 29 0,5-1-25 16,2 0 28-16,2-1-24 0,1 1 22 0,0-1-25 15,3 1 22-15,3-1-31 0,1-2 37 0,1 2-39 16,12-3 39-16,-2 2-35 0,2-2 34 16,-2 2-29-16,1-3 29 0,2 1-29 0,-3 1 28 0,-9 0-34 15,-2 1 34-15,1 0-32 0,-2 1 19 0,-2-1-12 16,-3 1 28-16,-1 1-32 0,-3 0 31 0,-8 0-29 15,-2 0 28-15,0 1-36 0,-3-1 35 0,-2 2-31 16,-5-2 30-16,-3-2-34 0,-1 2 38 0,-1-1-31 16,-5-2 27-16,-2 2-31 0,1-2 58 0,-2-1 23 15,-1 1 43-15,-2-2-18 0,1-2 3 0,-2 0 12 0,-1-2-4 16,0 0 19-16,-1-4 4 0,1 0-9 16,-2-3-14-16,-1 0-6 0,-1-5-10 0,-1 1-5 15,2-6-14-15,-4-1 4 0,2 0-13 0,-1-3-3 16,-3 1-9-16,1-1-12 0,2-2-17 0,-4-1 38 0,2 2-5 15,-2-3-11-15,0 2 0 0,0-1-16 0,-2 3-8 16,2 4 2-16,0 2-6 0,0 1-14 0,-3 4 11 16,2 0-22-16,-1 2-19 0,-1 0-46 0,1 4-72 15,-1 1-65-15,-1 1-92 0,-1 3-49 0,-1 1-104 16,2 7-63-16,-6-8-450 0,6 8-565 0</inkml:trace>
  <inkml:trace contextRef="#ctx0" brushRef="#br0" timeOffset="15179.93">17718 4214 82 0,'61'-2'120'0,"-1"-3"-4"0,-4 0-35 0,-2-1-13 0,-5 1-6 16,-3-2-6-16,-9 1-19 0,-3-1 6 15,0 0-8-15,-3 0-11 0,1-1-10 0,0 2-4 16,0 0-6-16,3 0-8 0,-5 4-29 0,2 2 8 16,5 2-28-16,8 5-11 0,1 2-116 0,0 3 50 0</inkml:trace>
  <inkml:trace contextRef="#ctx0" brushRef="#br0" timeOffset="18378.59">28008 3934 12 0,'0'0'321'16,"8"5"-64"-16,-8-5-60 0,14 4-32 0,-4-2-31 15,2 1-8-15,2-2-34 0,6 0-12 16,1 2-19-16,3-1-2 0,4 0-27 0,3 0 11 0,6 0-11 16,1 1 4-16,2 0-20 0,8 2 5 0,-2-2-10 15,3 1 7-15,-2 1-11 0,2 0 5 0,-2-1-12 16,0 0 11-16,-1 1-11 0,2 0 6 0,-2 0-9 16,1-1 12-16,-2 1-13 0,1 0 12 0,0 1-19 15,-2-3 20-15,-3 2-16 0,4-1 25 0,-5 1-15 16,-1-2 25-16,0 1-23 0,1-1 27 0,-1 1-19 15,0 1 18-15,2-3-19 0,-2 2 17 0,-1-2-10 16,-1 0 16-16,4 1-26 0,-3 0 20 0,1 0-18 16,0-2 34-16,1 2-26 0,-2-1 19 0,3 0-31 15,0 1 22-15,-1-1-28 0,-1 1 17 0,2-1-19 16,-3 0 17-16,2 1-33 0,-1-1 41 0,-1 0-28 16,-1 1 25-16,0 1-36 0,-1-2 26 0,0 2-16 15,-1-3 19-15,2 2-20 0,-4 1 19 0,3-1-21 16,-4 1 23-16,3-1-28 0,-6 0 27 0,3 1-29 15,3 0 27-15,-2-1-23 0,0 2 45 0,-3-3-31 16,3 2 31-16,1 0-32 0,-1-1 33 0,-2 1-39 16,-3-2 27-16,7 0-17 0,-2 2 35 0,-2 0-43 15,-1-2 35-15,2 2-36 0,-1-2 28 0,-2 2-29 16,2-2 38-16,-2 0-43 0,2 1 25 0,-3-1-27 16,2 0 33-16,-2 0-38 0,-1-1 29 0,-1 0-32 15,-3-1 39-15,0 0-31 0,-1 0 12 0,-1 0-14 16,-1-1 42-16,-1 0-17 0,0 0 35 0,-3 0-28 15,2-2 44-15,-3 1-45 0,0-1 39 0,-4 2-40 16,1-3 48-16,1 1-42 0,0-3 33 0,-2 1-27 16,0-1 70-16,0 0-40 0,-2-1 13 0,0-1-35 0,-1-2 54 15,-1 0 2-15,2-1 51 0,-4 0 12 0,2-2 3 16,0 1-37-16,-3-1-16 0,1 1-18 0,-2-2 5 16,1-1-21-16,-2 0-6 0,0 2-18 0,0-3-8 15,-2 1-5-15,0 4-4 0,0-3-7 0,0 1-2 16,0 0-10-16,-2 2 3 0,0-1-10 0,0 3-12 15,-1-2-63-15,1 3-76 0,-4 0-84 0,0 1-78 16,-3 4-78-16,0-2-136 0,-4 4-398 0,-1 0-490 16</inkml:trace>
</inkml:ink>
</file>

<file path=ppt/ink/ink4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8:01:25.00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3 299 644 0 0,'-22'11'2492'0'0,"12"-8"-2285"0"0,8-3 84 0 0,0-1-191 0 0,-8-2-17 0 0,8 2-8 0 0,-15-17 778 0 0,1-13 1366 0 0,15 30-1843 0 0,2 20 42 0 0,1 0 0 0 0,1 0 1 0 0,6 20-1 0 0,0 5-1 0 0,15 64 636 0 0,-20-93-966 0 0,1-1-1 0 0,1 0 0 0 0,0-1 0 0 0,0 0 1 0 0,13 19-1 0 0,-14-27-67 0 0,0 0 1 0 0,0 0-1 0 0,0-1 1 0 0,0 1-1 0 0,1-1 1 0 0,0 0-1 0 0,0 0 1 0 0,0-1-1 0 0,0 0 1 0 0,0 0-1 0 0,1-1 0 0 0,-1 1 1 0 0,1-1-1 0 0,0-1 1 0 0,0 1-1 0 0,-1-1 1 0 0,11 0-1 0 0,11 1 12 0 0,0-2 1 0 0,53-5-1 0 0,412-63 53 0 0,-2-21 60 0 0,-391 70-113 0 0,577-75 86 0 0,-408 63 176 0 0,270-68 1 0 0,-504 91 484 0 0,64-23 1 0 0,-89 27-462 0 0,-1 0 0 0 0,1-1 0 0 0,-1 0 0 0 0,1-1 1 0 0,-2 0-1 0 0,1-1 0 0 0,-1 1 0 0 0,0-1 0 0 0,0-1 0 0 0,13-16 1 0 0,-17 16-230 0 0,1-1 0 0 0,-1 0 0 0 0,-1-1 0 0 0,1 1 0 0 0,-2 0 0 0 0,1-1 0 0 0,1-16 0 0 0,4-12-108 0 0,-7 26-1829 0 0,-19 37-7651 0 0,12-12 5115 0 0</inkml:trace>
</inkml:ink>
</file>

<file path=ppt/ink/ink4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8:01:26.66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3 242 1184 0 0,'-6'-9'4466'0'0,"4"9"-4263"0"0,0 2-42 0 0,1 1-1 0 0,-1-1 1 0 0,1 1-1 0 0,-1-1 1 0 0,1 1 0 0 0,0 0-1 0 0,0-1 1 0 0,0 1-1 0 0,0 0 1 0 0,1 0-1 0 0,-1 0 1 0 0,1 0 0 0 0,-1 0-1 0 0,1-1 1 0 0,0 6-1 0 0,5 54 1523 0 0,-3-42-1278 0 0,29 164 2416 0 0,-16-109-1582 0 0,-13-63-176 0 0,-3-20-328 0 0,-2-22-727 0 0,7-5-256 0 0,1 0 1 0 0,2 1-1 0 0,19-57 0 0 0,-26 89 237 0 0,1 1 0 0 0,-1-1-1 0 0,1 1 1 0 0,-1-1 0 0 0,1 1-1 0 0,0-1 1 0 0,-1 1 0 0 0,1-1-1 0 0,0 1 1 0 0,0-1 0 0 0,0 1-1 0 0,0 0 1 0 0,0 0 0 0 0,0 0-1 0 0,1-1 1 0 0,-1 1 0 0 0,0 0 0 0 0,1 0-1 0 0,-1 1 1 0 0,0-1 0 0 0,1 0-1 0 0,2-1 1 0 0,-2 2 3 0 0,0 0 0 0 0,0 0 0 0 0,0 0 0 0 0,0 0 1 0 0,0 0-1 0 0,0 1 0 0 0,0-1 0 0 0,0 1 0 0 0,0-1 0 0 0,0 1 0 0 0,0 0 1 0 0,0 0-1 0 0,-1 0 0 0 0,1 0 0 0 0,3 2 0 0 0,3 3-6 0 0,-1 0-1 0 0,1 0 1 0 0,-1 1-1 0 0,-1 1 1 0 0,1-1-1 0 0,6 11 1 0 0,22 28 1754 0 0,-23-84-1069 0 0,-8 23-686 0 0,1 0-1 0 0,1 0 1 0 0,8-15 0 0 0,-13 29 10 0 0,0 0 1 0 0,1-1-1 0 0,-1 2 1 0 0,0-1-1 0 0,1 0 1 0 0,-1 0-1 0 0,1 0 1 0 0,-1 1-1 0 0,1-1 1 0 0,0 1-1 0 0,-1-1 0 0 0,1 1 1 0 0,-1-1-1 0 0,1 1 1 0 0,0 0-1 0 0,-1 0 1 0 0,1 0-1 0 0,0 0 1 0 0,-1 0-1 0 0,1 0 1 0 0,0 1-1 0 0,-1-1 1 0 0,1 1-1 0 0,1 0 1 0 0,55 17 4 0 0,-34-9 46 0 0,0-2-1 0 0,42 8 1 0 0,-59-15-53 0 0,0 1 1 0 0,0-1-1 0 0,0-1 0 0 0,-1 1 0 0 0,1-1 1 0 0,0-1-1 0 0,0 1 0 0 0,-1-1 0 0 0,1 0 0 0 0,-1 0 1 0 0,0-1-1 0 0,1 0 0 0 0,-1 0 0 0 0,0-1 0 0 0,-1 1 1 0 0,1-1-1 0 0,-1 0 0 0 0,10-9 0 0 0,-12 9-34 0 0,1-1 0 0 0,0 1 0 0 0,-1-1 0 0 0,0 1 0 0 0,0-1 0 0 0,0 0 0 0 0,-1 0 0 0 0,1 0 0 0 0,-1 0 0 0 0,0-1 0 0 0,-1 1 0 0 0,1 0-1 0 0,-1-1 1 0 0,0 0 0 0 0,-1 1 0 0 0,1-1 0 0 0,-1 1 0 0 0,0-1 0 0 0,0 0 0 0 0,-1 1 0 0 0,0-1 0 0 0,-2-9 0 0 0,2 14 25 0 0,1-1-1 0 0,-1 1 1 0 0,1 0 0 0 0,-1-1 0 0 0,1 1 0 0 0,-1 0 0 0 0,1 0-1 0 0,-1-1 1 0 0,0 1 0 0 0,0 0 0 0 0,0 0 0 0 0,0 0 0 0 0,0 0-1 0 0,0 0 1 0 0,0 0 0 0 0,0 0 0 0 0,-2-1 0 0 0,2 2 5 0 0,0 0 1 0 0,1 0-1 0 0,-1-1 0 0 0,0 1 1 0 0,0 0-1 0 0,0 0 1 0 0,0 0-1 0 0,0 0 0 0 0,0 0 1 0 0,0 0-1 0 0,0 0 1 0 0,1 0-1 0 0,-1 0 1 0 0,0 1-1 0 0,0-1 0 0 0,0 0 1 0 0,0 0-1 0 0,0 1 1 0 0,1-1-1 0 0,-2 1 1 0 0,0 0 0 0 0,1 0 1 0 0,-1 0 0 0 0,1 0 0 0 0,0 1 0 0 0,-1-1 0 0 0,1 0 0 0 0,0 1 0 0 0,0-1 0 0 0,0 1-1 0 0,0-1 1 0 0,0 1 0 0 0,0-1 0 0 0,0 1 0 0 0,0 0 0 0 0,1-1 0 0 0,-1 1 0 0 0,1 0-1 0 0,-1 0 1 0 0,1-1 0 0 0,0 1 0 0 0,0 0 0 0 0,-1 0 0 0 0,2 3 0 0 0,-1-2 5 0 0,1 1 1 0 0,0-1-1 0 0,0 1 1 0 0,1-1-1 0 0,-1 0 1 0 0,1 0 0 0 0,-1 0-1 0 0,1 0 1 0 0,0 0-1 0 0,0 0 1 0 0,1 0-1 0 0,-1 0 1 0 0,0-1-1 0 0,5 4 1 0 0,-2-2 14 0 0,0 0 0 0 0,0-1 0 0 0,1 0 0 0 0,-1 0 0 0 0,0 0 0 0 0,1-1 0 0 0,0 0 0 0 0,9 3 0 0 0,-10-4 3 0 0,0 0 0 0 0,1 0 0 0 0,-1-1 1 0 0,1 1-1 0 0,0-1 0 0 0,-1 0 0 0 0,1-1 0 0 0,-1 0 1 0 0,8-1-1 0 0,-10 1-10 0 0,0 0 1 0 0,0 0-1 0 0,0 0 1 0 0,0 0-1 0 0,0-1 1 0 0,-1 1-1 0 0,1-1 1 0 0,-1 0 0 0 0,1 0-1 0 0,-1 0 1 0 0,1 0-1 0 0,-1 0 1 0 0,0 0-1 0 0,0-1 1 0 0,0 1-1 0 0,3-5 1 0 0,-4 5-2 0 0,0 0 1 0 0,0 0-1 0 0,0-1 0 0 0,-1 1 1 0 0,1 0-1 0 0,0 0 0 0 0,-1-1 1 0 0,0 1-1 0 0,1 0 0 0 0,-1-1 1 0 0,0 1-1 0 0,0 0 1 0 0,0-1-1 0 0,0 1 0 0 0,-1 0 1 0 0,1-1-1 0 0,-1 1 0 0 0,1 0 1 0 0,-1 0-1 0 0,0-1 1 0 0,0 1-1 0 0,0 0 0 0 0,0 0 1 0 0,0 0-1 0 0,-1 0 0 0 0,1 0 1 0 0,0 0-1 0 0,-1 1 0 0 0,0-1 1 0 0,1 0-1 0 0,-1 1 1 0 0,-2-2-1 0 0,-6-5-462 0 0,-1 0 0 0 0,0 1 0 0 0,0 0 0 0 0,-18-7 0 0 0,13 7-1350 0 0,15 6 1488 0 0,0 1 0 0 0,0-1-1 0 0,0 1 1 0 0,-1-1-1 0 0,1 0 1 0 0,0 1-1 0 0,0-1 1 0 0,0 0 0 0 0,0 0-1 0 0,0 0 1 0 0,0 1-1 0 0,1-1 1 0 0,-2-2-1 0 0,2 2 228 0 0,0 1 0 0 0,0-1-1 0 0,1 0 1 0 0,-1 1 0 0 0,1-1-1 0 0,-1 1 1 0 0,1-1 0 0 0,-1 0-1 0 0,1 1 1 0 0,-1-1 0 0 0,1 1-1 0 0,-1-1 1 0 0,1 1 0 0 0,-1 0-1 0 0,1-1 1 0 0,0 1 0 0 0,-1 0-1 0 0,1-1 1 0 0,0 1 0 0 0,-1 0-1 0 0,2-1 1 0 0,18-8 10 0 0,1 1 1 0 0,0 0-1 0 0,0 2 0 0 0,1 0 0 0 0,30-4 0 0 0,-46 10 320 0 0,1-1-1 0 0,0 1 1 0 0,0 1-1 0 0,0-1 1 0 0,-1 1-1 0 0,1 0 1 0 0,0 1-1 0 0,-1 0 1 0 0,1 0-1 0 0,-1 0 1 0 0,0 1-1 0 0,0 0 1 0 0,1 0-1 0 0,-2 0 1 0 0,1 1-1 0 0,10 8 1 0 0,3 5 380 0 0,-1 1 0 0 0,0 1 0 0 0,17 25 0 0 0,6 5 272 0 0,-18-23-509 0 0,-14-14 785 0 0,1 0 1 0 0,22 18 0 0 0,-30-29-536 0 0,0-1-551 0 0,1-1-1 0 0,-1 1 1 0 0,1-1-1 0 0,-1 0 1 0 0,0 0-1 0 0,1 0 1 0 0,-1 0 0 0 0,0 0-1 0 0,0-1 1 0 0,0 1-1 0 0,0-1 1 0 0,0 1-1 0 0,0-1 1 0 0,0 0-1 0 0,-1 0 1 0 0,1 1 0 0 0,-1-1-1 0 0,1 0 1 0 0,-1-1-1 0 0,0 1 1 0 0,1 0-1 0 0,-1 0 1 0 0,1-3-1 0 0,5-11-65 0 0,-1-1-1 0 0,6-20 0 0 0,-7 18-90 0 0,14-59-1260 0 0,-14 52-1681 0 0,13-38 1 0 0,-16 60 2565 0 0,0-1 0 0 0,1 1 0 0 0,0 0 0 0 0,-1 0 0 0 0,2 0 1 0 0,-1 0-1 0 0,0 0 0 0 0,1 1 0 0 0,-1-1 0 0 0,1 1 0 0 0,0 0 1 0 0,0 0-1 0 0,1 1 0 0 0,-1-1 0 0 0,9-3 0 0 0,-4 2 607 0 0,0 1-1 0 0,0 0 0 0 0,0 0 0 0 0,0 1 1 0 0,0 1-1 0 0,1-1 0 0 0,11 1 0 0 0,-18 1 36 0 0,-1 1-1 0 0,1-1 0 0 0,-1 1 1 0 0,1-1-1 0 0,-1 1 0 0 0,1 0 0 0 0,-1 0 1 0 0,1 0-1 0 0,-1 0 0 0 0,0 1 0 0 0,0-1 1 0 0,0 1-1 0 0,0-1 0 0 0,0 1 0 0 0,0 0 1 0 0,0 0-1 0 0,0 0 0 0 0,2 4 0 0 0,1 0 189 0 0,-1 1 0 0 0,1 0-1 0 0,-2 0 1 0 0,5 11-1 0 0,4 18 222 0 0,-2 0 0 0 0,-2 1 0 0 0,6 56 0 0 0,-7-48-1079 0 0,-7-43 77 0 0,5 29-667 0 0,-5-18-4353 0 0</inkml:trace>
</inkml:ink>
</file>

<file path=ppt/ink/ink4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8:01:27.06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1 219 1264 0 0,'-76'-202'7209'0'0,"75"197"-7578"0"0,-2-6-29 0 0</inkml:trace>
</inkml:ink>
</file>

<file path=ppt/ink/ink4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8:01:27.41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29 400 0 0,'20'17'3574'0'0,"-15"-12"-3302"0"0,1-1 0 0 0,0 0 0 0 0,0 0 1 0 0,1-1-1 0 0,-1 0 0 0 0,1 0 0 0 0,0 0 1 0 0,0-1-1 0 0,0 0 0 0 0,0 0 1 0 0,0-1-1 0 0,0 0 0 0 0,0 0 0 0 0,1-1 1 0 0,-1 1-1 0 0,0-2 0 0 0,8 0 0 0 0,-9 0-257 0 0,1 0-1 0 0,-1 0 0 0 0,1-1 0 0 0,-1 1 0 0 0,0-1 1 0 0,0-1-1 0 0,0 1 0 0 0,0-1 0 0 0,0 0 1 0 0,-1-1-1 0 0,1 1 0 0 0,-1-1 0 0 0,0 0 0 0 0,0-1 1 0 0,0 1-1 0 0,0-1 0 0 0,-1 0 0 0 0,0 0 1 0 0,6-10-1 0 0,-9 14-14 0 0,-1 0 1 0 0,1 1-1 0 0,0-1 1 0 0,-1 0-1 0 0,1 0 1 0 0,-1 0-1 0 0,0 0 1 0 0,1 0-1 0 0,-1 0 1 0 0,0 0-1 0 0,0 0 1 0 0,1 0-1 0 0,-1 0 1 0 0,0 0-1 0 0,0 0 1 0 0,0 0-1 0 0,0 0 1 0 0,0 0-1 0 0,0 0 0 0 0,-1-2 1 0 0,0 3 4 0 0,1-1 0 0 0,-1 1-1 0 0,1 0 1 0 0,-1-1 0 0 0,1 1 0 0 0,-1 0 0 0 0,1-1 0 0 0,-1 1 0 0 0,0 0-1 0 0,1 0 1 0 0,-1 0 0 0 0,1-1 0 0 0,-1 1 0 0 0,0 0 0 0 0,1 0-1 0 0,-1 0 1 0 0,0 0 0 0 0,1 0 0 0 0,-1 0 0 0 0,0 0 0 0 0,1 1-1 0 0,-1-1 1 0 0,0 0 0 0 0,-4 1 31 0 0,0 1 0 0 0,1-1-1 0 0,0 1 1 0 0,-1 0 0 0 0,1 0-1 0 0,0 0 1 0 0,-6 5 0 0 0,4-2 60 0 0,0 1 0 0 0,0 1 1 0 0,1-1-1 0 0,0 1 0 0 0,0 0 1 0 0,1 0-1 0 0,0 0 0 0 0,0 0 1 0 0,1 1-1 0 0,0 0 0 0 0,0 0 0 0 0,0 0 1 0 0,1 0-1 0 0,1 0 0 0 0,-1 0 1 0 0,1 0-1 0 0,1 1 0 0 0,-1-1 0 0 0,2 9 1 0 0,-1-11-26 0 0,1 0 0 0 0,-1 0-1 0 0,1 0 1 0 0,1-1 0 0 0,-1 1 0 0 0,1-1 0 0 0,0 1 0 0 0,0-1 0 0 0,0 1 0 0 0,1-1 0 0 0,0 0 0 0 0,0 0 0 0 0,0 0 0 0 0,1-1-1 0 0,-1 1 1 0 0,1-1 0 0 0,0 0 0 0 0,1 0 0 0 0,-1 0 0 0 0,1-1 0 0 0,-1 1 0 0 0,1-1 0 0 0,0 0 0 0 0,0 0 0 0 0,1-1 0 0 0,-1 0-1 0 0,0 0 1 0 0,8 2 0 0 0,-5-2-43 0 0,1 0 0 0 0,-1-1 0 0 0,1 1 0 0 0,0-2 0 0 0,0 1 0 0 0,0-1 0 0 0,0-1 0 0 0,-1 0 0 0 0,1 0 0 0 0,0-1 1 0 0,0 1-1 0 0,-1-2 0 0 0,0 0 0 0 0,1 0 0 0 0,-1 0 0 0 0,0-1 0 0 0,0 0 0 0 0,-1-1 0 0 0,1 1 0 0 0,-1-1 0 0 0,0-1 0 0 0,0 0 0 0 0,-1 0 0 0 0,0 0 0 0 0,0 0 0 0 0,0-1 0 0 0,-1 0 0 0 0,0-1 0 0 0,0 1 0 0 0,7-15 0 0 0,-6 9-10 0 0,-1-1 1 0 0,0 0-1 0 0,-1 0 1 0 0,0 0-1 0 0,-1 0 1 0 0,1-19-1 0 0,-1-85 52 0 0,-3 79-142 0 0,0 37 4 0 0,2 3 21 0 0,-1 1 40 0 0,1-1 0 0 0,-1 1 0 0 0,0 0 1 0 0,1-1-1 0 0,-1 1 0 0 0,0 0 0 0 0,0 0 0 0 0,0 0 1 0 0,0 0-1 0 0,0 0 0 0 0,0 0 0 0 0,-1 0 0 0 0,2 4 0 0 0,1 3 25 0 0,22 48 332 0 0,-1-7-184 0 0,-2 2 0 0 0,-2 0 0 0 0,14 61 0 0 0,-33-104-130 0 0,1 0 0 0 0,-2 1 0 0 0,1-1-1 0 0,-1 1 1 0 0,0-1 0 0 0,-1 1 0 0 0,0-1 0 0 0,-1 1 0 0 0,0-1 0 0 0,-5 16-1 0 0,4-19-355 0 0,0 1 0 0 0,0-1-1 0 0,-1 1 1 0 0,1-1-1 0 0,-1 0 1 0 0,-7 7-1 0 0,7-8-639 0 0,0-1-1 0 0,-1 0 1 0 0,0 0-1 0 0,0 0 0 0 0,0 0 1 0 0,0-1-1 0 0,-11 5 1 0 0,3-2-2473 0 0</inkml:trace>
</inkml:ink>
</file>

<file path=ppt/ink/ink4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8:02:31.64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945 54 488 0 0,'-2'-2'635'0'0,"-4"-4"-504"0"0,0 1 0 0 0,-1 0 0 0 0,1 1 1 0 0,-1-1-1 0 0,0 1 0 0 0,0 1 0 0 0,0-1 0 0 0,0 1 0 0 0,-1 1 1 0 0,1-1-1 0 0,-1 1 0 0 0,1 0 0 0 0,-1 1 0 0 0,0 0 1 0 0,0 0-1 0 0,0 1 0 0 0,0 0 0 0 0,0 0 0 0 0,0 0 1 0 0,-14 4-1 0 0,-11 8 166 0 0,1 1 0 0 0,1 2-1 0 0,-57 35 1 0 0,-77 69 469 0 0,129-90-652 0 0,1 2 1 0 0,2 1 0 0 0,1 2 0 0 0,2 0 0 0 0,2 3 0 0 0,1 0 0 0 0,1 2-1 0 0,3 0 1 0 0,1 2 0 0 0,1 0 0 0 0,3 2 0 0 0,2 0 0 0 0,-22 89 0 0 0,24-63 146 0 0,3 2 0 0 0,3-1 0 0 0,1 106 1 0 0,11-69 104 0 0,29 173 1 0 0,-3-109 336 0 0,61 199 0 0 0,-62-278-504 0 0,52 158 603 0 0,-52-175-526 0 0,46 89 0 0 0,-63-143-155 0 0,0 0 0 0 0,2-1 0 0 0,0 0-1 0 0,1-1 1 0 0,22 21 0 0 0,-24-28-98 0 0,0 0 0 0 0,1-2-1 0 0,1 1 1 0 0,0-2 0 0 0,0 0 0 0 0,0 0-1 0 0,33 11 1 0 0,-20-12 2 0 0,0-1 0 0 0,0-1 0 0 0,1-1 0 0 0,-1-2 0 0 0,36 1 0 0 0,145-14-31 0 0,23-23-24 0 0,-93 6 148 0 0,-3-6 0 0 0,150-58 0 0 0,-216 64 118 0 0,-2-2-1 0 0,78-47 1 0 0,-114 57-129 0 0,-1-2 0 0 0,-1-1 0 0 0,-2-1 0 0 0,0-2 0 0 0,-1-1 0 0 0,33-41 0 0 0,-29 27 6 0 0,-2-2-1 0 0,-2-2 1 0 0,-1 0 0 0 0,32-79-1 0 0,-46 90-90 0 0,-1 0-1 0 0,-2 0 1 0 0,-1 0 0 0 0,-2-1-1 0 0,-1-1 1 0 0,-1 1 0 0 0,-3-67-1 0 0,-39-198-60 0 0,-26 2-148 0 0,-4 66 134 0 0,50 185 41 0 0,-2 0 1 0 0,-47-78-1 0 0,31 69-24 0 0,-3 2 0 0 0,-3 1 0 0 0,-1 2 0 0 0,-3 2-1 0 0,-2 2 1 0 0,-65-49 0 0 0,64 61 2 0 0,-1 2 1 0 0,-2 2-1 0 0,-63-25 0 0 0,85 43-19 0 0,-1 1 0 0 0,-1 2-1 0 0,1 1 1 0 0,-1 1 0 0 0,0 2-1 0 0,-1 1 1 0 0,-41 1-1 0 0,-230 23-409 0 0,291-19 451 0 0,-49 8-375 0 0,0 3 0 0 0,1 2 0 0 0,-84 32 0 0 0,132-40-766 0 0,0 0 0 0 0,1 1 0 0 0,0 0 0 0 0,-20 16 0 0 0,24-17-547 0 0,-4 2-1022 0 0</inkml:trace>
</inkml:ink>
</file>

<file path=ppt/ink/ink4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8:01:21.91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8 431 136 0 0,'-3'0'1587'0'0,"-42"12"3903"0"0,48-11-5156 0 0,17 1-120 0 0,0-2 0 0 0,0 0 0 0 0,0-1 1 0 0,31-5-1 0 0,-1 0-7 0 0,1438-146 1441 0 0,-1062 104-816 0 0,-334 36 37 0 0,-34 3-60 0 0,-56 8-707 0 0,1 1-34 0 0,11-3 4 0 0,-11 3-34 0 0,13-2 110 0 0,9-1-130 0 0,-22 2 24 0 0,-2 1-39 0 0,-1 0 8 0 0,1 0 0 0 0,0 0-1 0 0,0 0 1 0 0,-1 0 0 0 0,1 0 0 0 0,0 0 0 0 0,-1 0-1 0 0,1 0 1 0 0,0 0 0 0 0,-1 0 0 0 0,1-1 0 0 0,0 1-1 0 0,-1 0 1 0 0,1-1 0 0 0,0 1 0 0 0,-1 0 0 0 0,1-1-1 0 0,0 0 1 0 0,-2-2-13 0 0,1 1 0 0 0,-1-1 0 0 0,0 1 0 0 0,0-1 0 0 0,0 1 0 0 0,0 0 0 0 0,0-1 0 0 0,-1 1 0 0 0,1 0 0 0 0,-1 0 0 0 0,0 0 0 0 0,1 0 0 0 0,-1 0 0 0 0,-3-3 0 0 0,-39-30-1 0 0,26 21 47 0 0,-17-16-41 0 0,-34-37-1 0 0,67 65-24 0 0,4-3-16 0 0,-2 5 36 0 0,0 0-1 0 0,0 0 1 0 0,-1-1 0 0 0,1 1 0 0 0,0 0 0 0 0,0 0 0 0 0,0-1-1 0 0,0 1 1 0 0,0 0 0 0 0,0 0 0 0 0,1-1 0 0 0,-1 1 0 0 0,0 0-1 0 0,0 0 1 0 0,0-1 0 0 0,0 1 0 0 0,0 0 0 0 0,0 0 0 0 0,0-1-1 0 0,0 1 1 0 0,1 0 0 0 0,-1 0 0 0 0,0 0 0 0 0,0-1-1 0 0,0 1 1 0 0,0 0 0 0 0,1 0 0 0 0,-1 0 0 0 0,0 0 0 0 0,0-1-1 0 0,1 1 1 0 0,-1 0 0 0 0,0 0 0 0 0,0 0 0 0 0,1 0 0 0 0,-1 0-1 0 0,0 0 1 0 0,0 0 0 0 0,1 0 0 0 0,-1 0 0 0 0,0 0 0 0 0,0 0-1 0 0,1 0 1 0 0,4 0-10 0 0,-1 0-1 0 0,1 1 0 0 0,-1 0 0 0 0,1 0 1 0 0,-1 0-1 0 0,0 0 0 0 0,1 1 0 0 0,-1 0 1 0 0,0 0-1 0 0,0 0 0 0 0,0 0 0 0 0,4 3 1 0 0,-1 1-10 0 0,0 0 0 0 0,0 0 1 0 0,0 1-1 0 0,-1 0 0 0 0,10 13 0 0 0,-8-9 12 0 0,-1 1 0 0 0,-1-1 0 0 0,0 1-1 0 0,0 0 1 0 0,-1 1 0 0 0,-1 0 0 0 0,0-1-1 0 0,4 25 1 0 0,-7-28 30 0 0,-1-1 0 0 0,0 1-1 0 0,-1-1 1 0 0,0 1 0 0 0,0-1 0 0 0,0 1-1 0 0,-1-1 1 0 0,-1 0 0 0 0,1 0-1 0 0,-1 0 1 0 0,-1 0 0 0 0,0-1 0 0 0,0 1-1 0 0,-6 8 1 0 0,-8 8-799 0 0,0-2 0 0 0,-39 37 0 0 0,53-55 493 0 0,-26 21-5194 0 0</inkml:trace>
</inkml:ink>
</file>

<file path=ppt/ink/ink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4:32.14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7 81 1644 0 0,'-17'-62'5433'0'0,"17"61"-5419"0"0,0 0-1 0 0,0 0 1 0 0,0 0-1 0 0,1 1 1 0 0,-1-1-1 0 0,0 0 0 0 0,0 0 1 0 0,1 0-1 0 0,-1 1 1 0 0,0-1-1 0 0,1 0 1 0 0,-1 0-1 0 0,1 1 1 0 0,-1-1-1 0 0,1 0 0 0 0,-1 1 1 0 0,1-1-1 0 0,0 1 1 0 0,-1-1-1 0 0,1 1 1 0 0,0-1-1 0 0,-1 1 1 0 0,1-1-1 0 0,0 1 0 0 0,0 0 1 0 0,-1-1-1 0 0,1 1 1 0 0,0 0-1 0 0,0 0 1 0 0,0-1-1 0 0,-1 1 1 0 0,1 0-1 0 0,0 0 0 0 0,0 0 1 0 0,1 0-1 0 0,13 1-114 0 0,-1 0-1 0 0,0 1 0 0 0,1 0 1 0 0,-1 1-1 0 0,0 1 0 0 0,-1 0 1 0 0,1 1-1 0 0,-1 0 0 0 0,0 1 1 0 0,0 1-1 0 0,0 0 0 0 0,-1 1 1 0 0,0 0-1 0 0,-1 1 1 0 0,16 14-1 0 0,-11-7 402 0 0,-1 1 0 0 0,0 1 0 0 0,-1 0 0 0 0,0 1 0 0 0,-2 1 0 0 0,0 0 0 0 0,-2 1 0 0 0,0 0 0 0 0,7 24 0 0 0,35 131 3553 0 0,-49-154-1352 0 0,-3-22-2472 0 0,0-1 1 0 0,0 1 0 0 0,0 0-1 0 0,0 0 1 0 0,0 0-1 0 0,0 0 1 0 0,-1 0-1 0 0,1 0 1 0 0,0 0-1 0 0,0 0 1 0 0,0 0-1 0 0,0 0 1 0 0,-1 0-1 0 0,1 0 1 0 0,0 0 0 0 0,0 0-1 0 0,0 0 1 0 0,0 0-1 0 0,0 0 1 0 0,-1 0-1 0 0,1 0 1 0 0,0 0-1 0 0,0 0 1 0 0,0 0-1 0 0,0 0 1 0 0,-1 0 0 0 0,1 0-1 0 0,0 0 1 0 0,0 0-1 0 0,0 0 1 0 0,0 0-1 0 0,0 1 1 0 0,0-1-1 0 0,-1 0 1 0 0,1 0-1 0 0,0 0 1 0 0,0 0 0 0 0,0 0-1 0 0,0 0 1 0 0,0 0-1 0 0,0 1 1 0 0,0-1-1 0 0,0 0 1 0 0,0 0-1 0 0,-1 0 1 0 0,1 0-1 0 0,0 0 1 0 0,0 1-1 0 0,0-1 1 0 0,0 0 0 0 0,0 0-1 0 0,0 0 1 0 0,0 1-1 0 0,-1-3 6 0 0,0-1 0 0 0,0 1-1 0 0,0 0 1 0 0,1 0 0 0 0,-1-1 0 0 0,0 1-1 0 0,1-1 1 0 0,0 1 0 0 0,-1 0 0 0 0,1-1-1 0 0,0 1 1 0 0,0-1 0 0 0,1 1 0 0 0,-1 0-1 0 0,1-5 1 0 0,10-34 73 0 0,-7 29-143 0 0,1-1-1 0 0,1 1 1 0 0,0 1 0 0 0,0-1-1 0 0,1 1 1 0 0,13-15-1 0 0,-15 20 9 0 0,0 0-1 0 0,0 1 0 0 0,1-1 0 0 0,0 1 0 0 0,0 1 0 0 0,0-1 0 0 0,1 1 0 0 0,-1 0 0 0 0,1 0 0 0 0,0 1 0 0 0,0 0 0 0 0,9-2 1 0 0,-12 4 17 0 0,0 0 1 0 0,0 1 0 0 0,0 0 0 0 0,0 0 0 0 0,0 0 0 0 0,0 0 0 0 0,0 0 0 0 0,0 1 0 0 0,0 0 0 0 0,0 0-1 0 0,0 0 1 0 0,0 0 0 0 0,-1 1 0 0 0,1-1 0 0 0,0 1 0 0 0,-1 0 0 0 0,1 0 0 0 0,-1 1 0 0 0,5 3-1 0 0,0 1-8 0 0,0 0 0 0 0,-1 1 0 0 0,0 0-1 0 0,0 0 1 0 0,-1 0 0 0 0,6 11 0 0 0,-9-13 19 0 0,0 0 1 0 0,-1 0 0 0 0,0 0 0 0 0,0 1 0 0 0,0-1 0 0 0,-1 1-1 0 0,0-1 1 0 0,1 11 0 0 0,2 14 1406 0 0,-3-35-1386 0 0,-1 0 0 0 0,1 0 0 0 0,0 0 0 0 0,0 0 0 0 0,0-1 0 0 0,0 1 0 0 0,1 1 0 0 0,0-1 0 0 0,0 0 0 0 0,0 0 0 0 0,3-4 0 0 0,33-38-23 0 0,-23 29-6 0 0,-11 11-14 0 0,1 0 0 0 0,0 1 0 0 0,0 0 0 0 0,0 0 0 0 0,1 0 0 0 0,-1 0 0 0 0,1 1 0 0 0,0 0 1 0 0,1 0-1 0 0,-1 1 0 0 0,0 0 0 0 0,1 0 0 0 0,9-3 0 0 0,-13 6 16 0 0,0 0-1 0 0,1 1 1 0 0,-1-1 0 0 0,0 1-1 0 0,0 0 1 0 0,0 0 0 0 0,0 0 0 0 0,0 0-1 0 0,0 0 1 0 0,0 1 0 0 0,-1-1-1 0 0,1 1 1 0 0,0 0 0 0 0,-1 0-1 0 0,1 0 1 0 0,-1 0 0 0 0,1 0 0 0 0,-1 0-1 0 0,0 1 1 0 0,2 2 0 0 0,0 1-8 0 0,0 0 0 0 0,0 1 0 0 0,-1 0 0 0 0,0-1 0 0 0,0 1 0 0 0,-1 0 0 0 0,1 1 0 0 0,-2-1 0 0 0,1 0 0 0 0,-1 0 0 0 0,0 1 1 0 0,0-1-1 0 0,-1 1 0 0 0,-1 9 0 0 0,0 0-761 0 0,-1 1 1 0 0,0-1-1 0 0,-1-1 1 0 0,-1 1-1 0 0,-8 19 1 0 0,8-26-1677 0 0,0 1 0 0 0,-13 18 0 0 0</inkml:trace>
</inkml:ink>
</file>

<file path=ppt/ink/ink4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8:01:22.59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2 177 1232 0 0,'-37'-104'8697'0'0,"33"86"-7886"0"0,5 16-614 0 0,4 9-142 0 0,4 9 365 0 0,-1 0-1 0 0,8 26 0 0 0,10 21 98 0 0,-15-44-437 0 0,0 0 0 0 0,1-1 1 0 0,1 0-1 0 0,15 18 1 0 0,-21-29 39 0 0,0 0 1 0 0,1-1-1 0 0,-1 1 0 0 0,1-1 1 0 0,0-1-1 0 0,1 1 0 0 0,-1-1 1 0 0,1-1-1 0 0,0 0 1 0 0,0 0-1 0 0,11 2 0 0 0,-17-5-95 0 0,1 0 0 0 0,-1-1-1 0 0,1 0 1 0 0,-1 0 0 0 0,0 0-1 0 0,1 0 1 0 0,-1 0-1 0 0,1-1 1 0 0,-1 0 0 0 0,1 0-1 0 0,-1 0 1 0 0,0 0 0 0 0,0 0-1 0 0,1 0 1 0 0,-1-1 0 0 0,0 0-1 0 0,0 1 1 0 0,-1-1 0 0 0,1 0-1 0 0,0-1 1 0 0,0 1 0 0 0,-1 0-1 0 0,0-1 1 0 0,1 1-1 0 0,1-4 1 0 0,2-2 4 0 0,0-1 1 0 0,0 1-1 0 0,-1-1 0 0 0,-1 0 0 0 0,1-1 1 0 0,5-17-1 0 0,0-14-21 0 0,-2 1 1 0 0,3-51-1 0 0,0 4-427 0 0,-11 85 379 0 0,4 6-34 0 0,-3-4 74 0 0,-1 0 0 0 0,1 0 0 0 0,-1 0 1 0 0,1 1-1 0 0,-1-1 0 0 0,1 0 0 0 0,-1 1 1 0 0,1-1-1 0 0,-1 0 0 0 0,1 1 0 0 0,-1-1 1 0 0,1 0-1 0 0,-1 1 0 0 0,0-1 0 0 0,1 1 0 0 0,-1-1 1 0 0,0 1-1 0 0,1-1 0 0 0,-1 2 0 0 0,15 30-316 0 0,49 122 1083 0 0,-54-125-2703 0 0,10 48 1 0 0,-20-73 661 0 0,3 6 1049 0 0</inkml:trace>
</inkml:ink>
</file>

<file path=ppt/ink/ink4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8:01:23.04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0 79 300 0 0,'1'-7'1287'0'0,"0"0"0"0"0,0 0 0 0 0,-1-13 1 0 0,-1 4-189 0 0,1 15-1065 0 0,0 0 0 0 0,0 0 0 0 0,0 0-1 0 0,-1 0 1 0 0,1 0 0 0 0,0 0 0 0 0,-1 0 0 0 0,1 1 0 0 0,0-1 0 0 0,-1 0 0 0 0,1 0-1 0 0,-1 0 1 0 0,0 0 0 0 0,1 1 0 0 0,-1-1 0 0 0,1 0 0 0 0,-1 1 0 0 0,0-1 0 0 0,0 0 0 0 0,1 1-1 0 0,-1-1 1 0 0,0 1 0 0 0,0-1 0 0 0,0 1 0 0 0,0 0 0 0 0,0-1 0 0 0,1 1 0 0 0,-1 0-1 0 0,0-1 1 0 0,0 1 0 0 0,0 0 0 0 0,0 0 0 0 0,0 0 0 0 0,0 0 0 0 0,0 0 0 0 0,0 0-1 0 0,0 0 1 0 0,0 0 0 0 0,0 0 0 0 0,0 1 0 0 0,0-1 0 0 0,-1 1 0 0 0,2-1-33 0 0,0 0 1 0 0,-1 0 0 0 0,1 0-1 0 0,0 0 1 0 0,0 1 0 0 0,-1-1-1 0 0,1 0 1 0 0,0 0 0 0 0,-1 0-1 0 0,1 1 1 0 0,0-1 0 0 0,0 0-1 0 0,0 0 1 0 0,-1 1 0 0 0,1-1-1 0 0,0 0 1 0 0,0 0 0 0 0,0 1-1 0 0,0-1 1 0 0,-1 0 0 0 0,1 1-1 0 0,0-1 1 0 0,0 0 0 0 0,0 1-1 0 0,0-1 1 0 0,0 0 0 0 0,0 1-1 0 0,0-1 1 0 0,0 0 0 0 0,0 1-1 0 0,0-1 1 0 0,0 0 0 0 0,0 1-1 0 0,3 13 32 0 0,4 1 102 0 0,0-1 1 0 0,0 0-1 0 0,2-1 0 0 0,0 0 1 0 0,0 0-1 0 0,1-1 0 0 0,14 14 0 0 0,23 31 434 0 0,-39-47-418 0 0,-1 0 0 0 0,0 1 0 0 0,-1 0 0 0 0,0 0 0 0 0,-1 0 0 0 0,4 14 0 0 0,-8-23-115 0 0,0 1 1 0 0,0 0 0 0 0,-1-1-1 0 0,0 1 1 0 0,1-1 0 0 0,-1 1-1 0 0,0 0 1 0 0,0-1 0 0 0,-1 1-1 0 0,1 0 1 0 0,0-1 0 0 0,-1 1-1 0 0,0-1 1 0 0,1 1 0 0 0,-1-1-1 0 0,0 1 1 0 0,0-1 0 0 0,-1 1-1 0 0,1-1 1 0 0,0 0 0 0 0,-1 0-1 0 0,1 1 1 0 0,-1-1 0 0 0,0 0-1 0 0,0-1 1 0 0,0 1 0 0 0,0 0-1 0 0,0 0 1 0 0,0-1 0 0 0,0 1-1 0 0,0-1 1 0 0,-1 0 0 0 0,1 0-1 0 0,-4 2 1 0 0,3-2-32 0 0,0 0 0 0 0,0 0 0 0 0,0 0 0 0 0,0-1 0 0 0,0 1 0 0 0,0-1 0 0 0,0 1 0 0 0,0-1 0 0 0,0 0 0 0 0,-1 0 0 0 0,1 0 0 0 0,0-1 1 0 0,0 1-1 0 0,0-1 0 0 0,0 0 0 0 0,0 0 0 0 0,0 0 0 0 0,0 0 0 0 0,0 0 0 0 0,0-1 0 0 0,-3-1 0 0 0,3 0-129 0 0,-1 1 0 0 0,1-1 1 0 0,-1 0-1 0 0,1 0 1 0 0,0 0-1 0 0,0 0 0 0 0,1-1 1 0 0,-1 1-1 0 0,1-1 0 0 0,-1 0 1 0 0,1 0-1 0 0,0 0 0 0 0,1 0 1 0 0,-3-6-1 0 0,2-2-185 0 0,0 0 0 0 0,0 0-1 0 0,1 0 1 0 0,1 0 0 0 0,2-22 0 0 0,-1-7 66 0 0,-12 65 1031 0 0,-60 154-67 0 0,61-153-5908 0 0</inkml:trace>
</inkml:ink>
</file>

<file path=ppt/ink/ink4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8:01:23.41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15 212 0 0,'40'-14'3353'0'0,"71"-37"1"0"0,-91 41-3072 0 0,-1-2 0 0 0,-1 0 0 0 0,0-2 0 0 0,0 0 0 0 0,19-21 0 0 0,-23 13 26 0 0,-13 22-300 0 0,-1-1-1 0 0,1 0 1 0 0,-1 1 0 0 0,0-1-1 0 0,1 0 1 0 0,-1 1-1 0 0,0-1 1 0 0,0 0 0 0 0,1 1-1 0 0,-1-1 1 0 0,0 0-1 0 0,0 1 1 0 0,0-1 0 0 0,0 0-1 0 0,0 0 1 0 0,0 1-1 0 0,0-1 1 0 0,0 0 0 0 0,0 1-1 0 0,-1-1 1 0 0,1 0-1 0 0,0 0 1 0 0,0 1-1 0 0,-1-1 1 0 0,1 0 0 0 0,0 1-1 0 0,-1-1 1 0 0,1 1-1 0 0,0-1 1 0 0,-1 0 0 0 0,1 1-1 0 0,-1-1 1 0 0,1 1-1 0 0,-1-1 1 0 0,1 1 0 0 0,-2-1-1 0 0,-3-1 44 0 0,-1 1 0 0 0,0 0 0 0 0,0 0 0 0 0,0 0 0 0 0,0 1 0 0 0,0 0 0 0 0,0 0-1 0 0,0 0 1 0 0,0 1 0 0 0,0 0 0 0 0,0 0 0 0 0,1 0 0 0 0,-1 1 0 0 0,0 0 0 0 0,1 0 0 0 0,-7 3 0 0 0,1 0 85 0 0,-1 1-1 0 0,1 0 1 0 0,1 1 0 0 0,-1 0 0 0 0,1 0 0 0 0,-18 18-1 0 0,25-22-68 0 0,0 1-1 0 0,0 0 0 0 0,0 0 1 0 0,1 0-1 0 0,-1 0 0 0 0,1 0 1 0 0,0 0-1 0 0,0 1 0 0 0,1-1 1 0 0,-1 0-1 0 0,1 1 0 0 0,0 0 1 0 0,0-1-1 0 0,0 1 0 0 0,1 0 0 0 0,0 0 1 0 0,0-1-1 0 0,0 1 0 0 0,0 0 1 0 0,1-1-1 0 0,0 1 0 0 0,0 0 1 0 0,0-1-1 0 0,0 1 0 0 0,1-1 1 0 0,2 6-1 0 0,-1-4-208 0 0,0-1 0 0 0,-1-1-1 0 0,1 1 1 0 0,1 0 0 0 0,-1-1 0 0 0,1 0 0 0 0,0 0-1 0 0,0 0 1 0 0,0 0 0 0 0,0 0 0 0 0,1-1 0 0 0,0 0 0 0 0,-1 0-1 0 0,1 0 1 0 0,0-1 0 0 0,0 1 0 0 0,1-1 0 0 0,-1 0-1 0 0,0-1 1 0 0,1 1 0 0 0,6 0 0 0 0,-7-2-278 0 0,-1 1 1 0 0,1-1-1 0 0,-1 0 1 0 0,1-1 0 0 0,0 1-1 0 0,-1-1 1 0 0,1 0-1 0 0,-1 0 1 0 0,0 0-1 0 0,1-1 1 0 0,-1 0-1 0 0,7-3 1 0 0,7-7-1403 0 0</inkml:trace>
</inkml:ink>
</file>

<file path=ppt/ink/ink4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8:01:23.79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42 416 0 0,'6'-7'620'0'0,"0"0"0"0"0,1 1 0 0 0,0-1 1 0 0,0 2-1 0 0,0-1 0 0 0,1 1 0 0 0,0 0 0 0 0,0 0 0 0 0,17-6 0 0 0,-22 10-244 0 0,1 1-114 0 0,-1 0-180 0 0,0 0 0 0 0,0 0 0 0 0,-1 1-1 0 0,1-1 1 0 0,0 1 0 0 0,-1-1 0 0 0,1 1 0 0 0,-1 0 0 0 0,1 0 0 0 0,-1 0 0 0 0,1 0 0 0 0,-1 0 0 0 0,0 1 0 0 0,1-1 0 0 0,-1 1 0 0 0,0-1 0 0 0,0 1 0 0 0,0 0 0 0 0,0 0 0 0 0,0 0 0 0 0,0 0 0 0 0,-1 0 0 0 0,1 0 0 0 0,-1 1 0 0 0,0-1 0 0 0,2 4 0 0 0,-1 1 446 0 0,0 1 0 0 0,-1-1 0 0 0,0 1 1 0 0,0 13 1270 0 0,-4-19-1021 0 0,-3 1-77 0 0,6-3-690 0 0,0 0-1 0 0,-1-1 1 0 0,1 1-1 0 0,0 0 0 0 0,0-1 1 0 0,-1 1-1 0 0,1 0 1 0 0,0-1-1 0 0,0 1 1 0 0,-1 0-1 0 0,1-1 0 0 0,0 1 1 0 0,0 0-1 0 0,0-1 1 0 0,0 1-1 0 0,0 0 1 0 0,0-1-1 0 0,0 1 0 0 0,0-1 1 0 0,0 1-1 0 0,0 0 1 0 0,0-1-1 0 0,0 1 0 0 0,0-1 1 0 0,0 1-1 0 0,0-1 1 0 0,1-11 43 0 0,0 0 0 0 0,1 0 1 0 0,1 1-1 0 0,0-1 0 0 0,0 1 1 0 0,1-1-1 0 0,1 1 0 0 0,0 0 0 0 0,8-14 1 0 0,-4 11-466 0 0,-1 1 0 0 0,2-1 1 0 0,0 2-1 0 0,0-1 0 0 0,1 2 0 0 0,21-19 1 0 0,-5 14-2037 0 0,-10 11-2094 0 0,1 1 1124 0 0</inkml:trace>
</inkml:ink>
</file>

<file path=ppt/ink/ink4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8:02:43.80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450 63 140 0 0,'-27'-14'1392'0'0,"-45"-18"-1"0"0,61 28-1313 0 0,-1 0-1 0 0,1 2 1 0 0,-1-1-1 0 0,0 1 0 0 0,0 1 1 0 0,0 0-1 0 0,-13 1 0 0 0,-7 3-40 0 0,-1 1 0 0 0,0 2 0 0 0,-51 16-1 0 0,-90 42 205 0 0,106-34-133 0 0,2 2 1 0 0,1 3-1 0 0,-76 55 0 0 0,99-59-70 0 0,1 2 0 0 0,2 2 0 0 0,1 1 0 0 0,2 2 0 0 0,-45 61 0 0 0,35-31-19 0 0,-46 87-1 0 0,69-105 53 0 0,2 0-1 0 0,1 1 0 0 0,4 1 1 0 0,1 0-1 0 0,3 1 0 0 0,2 1 1 0 0,-6 106-1 0 0,18 224 888 0 0,2-258-946 0 0,20 281-106 0 0,31-16 623 0 0,-39-312-329 0 0,3 0 1 0 0,57 141 0 0 0,72 69 312 0 0,-114-229 336 0 0,-17-33-698 0 0,2-1 0 0 0,1-1 0 0 0,1-1 0 0 0,42 39 0 0 0,-37-38-129 0 0,-9-9-4 0 0,2-1 0 0 0,-1-1 0 0 0,2 0 0 0 0,28 14 0 0 0,90 37 88 0 0,-92-45-32 0 0,29 9 17 0 0,-47-18-32 0 0,53 25 0 0 0,-62-26 443 0 0,29 10 1 0 0,-23-10-298 0 0,21 7-33 0 0,0-1 0 0 0,1-2 0 0 0,1-2 0 0 0,0-2 0 0 0,0-3 0 0 0,77 3 0 0 0,-49-8-143 0 0,-8-4 139 0 0,125-21 0 0 0,62-30 32 0 0,-186 37-163 0 0,203-53 75 0 0,-91 21-83 0 0,-52 18 49 0 0,192-58 870 0 0,-296 79-838 0 0,0-1 0 0 0,-1-2 0 0 0,0 0 0 0 0,-1-2-1 0 0,-1 0 1 0 0,0-1 0 0 0,-1-2 0 0 0,0 0 0 0 0,-2-1 0 0 0,0-1 0 0 0,24-31-1 0 0,-13 6-108 0 0,-2-1-1 0 0,-2-1 1 0 0,-2-2 0 0 0,34-95-1 0 0,-44 94 24 0 0,-3-1-1 0 0,-1 0 1 0 0,-3-1-1 0 0,1-75 1 0 0,-6-82-71 0 0,6-99-94 0 0,0-166 126 0 0,-8 147 12 0 0,3 205-59 0 0,-5 0 0 0 0,-6 0 0 0 0,-31-163 0 0 0,30 244 63 0 0,-1 0 0 0 0,-2 2 0 0 0,-1-1 1 0 0,-3 2-1 0 0,-1 0 0 0 0,-42-70 0 0 0,44 87-2 0 0,-1 1 0 0 0,-1 1 1 0 0,-1 0-1 0 0,0 1 0 0 0,-1 0 0 0 0,-21-13 1 0 0,-133-73 20 0 0,115 73-59 0 0,-2 3 0 0 0,-125-38 1 0 0,166 62 4 0 0,-1 0 1 0 0,0 1-1 0 0,0 1 0 0 0,0 0 1 0 0,0 2-1 0 0,-21 3 1 0 0,-34 0-11 0 0,-3 0 7 0 0,-150 28 1 0 0,92-10-16 0 0,27-2 8 0 0,-136 45 1 0 0,231-61 38 0 0,-312 112-36 0 0,226-78-28 0 0,31-13-91 0 0,-95 39-1525 0 0,59-14-4630 0 0,77-36 2594 0 0</inkml:trace>
</inkml:ink>
</file>

<file path=ppt/ink/ink4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8:03:02.57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5 139 48 0 0,'-84'-15'7574'0'0,"85"19"-7043"0"0,-1-4-517 0 0,0 1 1 0 0,0-1-1 0 0,0 0 1 0 0,0 0-1 0 0,-1 1 0 0 0,1-1 1 0 0,0 0-1 0 0,0 0 1 0 0,0 1-1 0 0,0-1 0 0 0,0 0 1 0 0,0 0-1 0 0,0 1 1 0 0,1-1-1 0 0,-1 0 1 0 0,0 0-1 0 0,0 1 0 0 0,0-1 1 0 0,0 0-1 0 0,0 0 1 0 0,0 1-1 0 0,0-1 0 0 0,0 0 1 0 0,1 0-1 0 0,-1 0 1 0 0,0 1-1 0 0,0-1 1 0 0,0 0-1 0 0,1 0 0 0 0,-1 0 1 0 0,0 0-1 0 0,0 1 1 0 0,0-1-1 0 0,1 0 1 0 0,-1 0-1 0 0,0 0 0 0 0,0 0 1 0 0,1 0-1 0 0,-1 0 1 0 0,0 0-1 0 0,0 0 0 0 0,1 0 1 0 0,-1 0-1 0 0,0 0 1 0 0,1 0-1 0 0,26 6 383 0 0,1-1-1 0 0,0-2 1 0 0,42 0-1 0 0,92-9 252 0 0,-129 4-538 0 0,751-69 916 0 0,-664 58-932 0 0,36-4 6 0 0,221-21 208 0 0,-344 33-1582 0 0</inkml:trace>
</inkml:ink>
</file>

<file path=ppt/ink/ink4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8:03:19.711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66 35 836 0 0,'-2'-2'811'0'0,"-25"-29"2490"0"0,26 30-3000 0 0,-4 3-262 0 0,4-2-39 0 0,1 0 1 0 0,0 0-1 0 0,-1 0 1 0 0,1 0 0 0 0,0 0-1 0 0,-1 0 1 0 0,1 0 0 0 0,-1 0-1 0 0,1 1 1 0 0,0-1-1 0 0,-1 0 1 0 0,1 0 0 0 0,0 0-1 0 0,-1 0 1 0 0,1 0 0 0 0,-1 1-1 0 0,1-1 1 0 0,0 0 0 0 0,0 0-1 0 0,-1 1 1 0 0,1-1-1 0 0,0 0 1 0 0,-1 1 0 0 0,1-1-1 0 0,0 0 1 0 0,0 1 0 0 0,0-1-1 0 0,-1 1 1 0 0,-6 38 472 0 0,1 1 1 0 0,1 0 0 0 0,3 73-1 0 0,1-55-188 0 0,3 407 2438 0 0,42-1-937 0 0,-1-204-966 0 0,34 232 1018 0 0,-66-417-1595 0 0,3 12 341 0 0,3 128 0 0 0,-17-13 487 0 0,0-114-3029 0 0,-8-109-5901 0 0,8 4 2946 0 0</inkml:trace>
</inkml:ink>
</file>

<file path=ppt/ink/ink4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8:03:20.85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85 423 252 0 0,'-5'-10'2072'0'0,"-17"-23"1091"0"0,21 31-2849 0 0,-5-9 522 0 0,6 9-821 0 0,1 0-1 0 0,-1 1 1 0 0,1-1 0 0 0,-1 0 0 0 0,1 1 0 0 0,0-1 0 0 0,0 0 0 0 0,0 1 0 0 0,0-1 0 0 0,0 1 0 0 0,0-1 0 0 0,0 1 0 0 0,0 0 0 0 0,0-1 0 0 0,1 1-1 0 0,-1 0 1 0 0,1 0 0 0 0,-1 0 0 0 0,1 0 0 0 0,-1 0 0 0 0,3-1 0 0 0,45-19 37 0 0,-32 14-31 0 0,269-89 13 0 0,8 23-87 0 0,-221 56 48 0 0,531-91-6 0 0,-551 102 3 0 0,-1 1-1 0 0,1 3 0 0 0,-1 3 1 0 0,1 1-1 0 0,55 11 0 0 0,-99-11 28 0 0,-1 0 0 0 0,0 0 0 0 0,0 1 0 0 0,0 0 0 0 0,0 0-1 0 0,0 1 1 0 0,0 0 0 0 0,-1 0 0 0 0,0 1 0 0 0,13 10 0 0 0,-15-9 12 0 0,0-1 1 0 0,-1 0 0 0 0,1 1 0 0 0,-1 0 0 0 0,-1 0 0 0 0,1 1 0 0 0,-1-1 0 0 0,0 0-1 0 0,0 1 1 0 0,-1 0 0 0 0,0 0 0 0 0,0 0 0 0 0,0 10 0 0 0,32 294 142 0 0,-7-50 637 0 0,97 412 625 0 0,-59-353-966 0 0,-51-245-126 0 0,-4-1 1 0 0,0 128 0 0 0,-12-149-246 0 0,-2 0 0 0 0,-2 0 0 0 0,-2 0 1 0 0,-26 83-1 0 0,22-97 56 0 0,-3 1 1 0 0,-1-2 0 0 0,-27 48 0 0 0,30-65-120 0 0,0-1 1 0 0,-1-1 0 0 0,-2 0 0 0 0,0 0 0 0 0,0-2 0 0 0,-2 0-1 0 0,-22 16 1 0 0,8-10 61 0 0,-1-2-1 0 0,-1-1 1 0 0,-1-2-1 0 0,-69 25 1 0 0,26-18 38 0 0,-107 21 0 0 0,44-18-62 0 0,-404 94 418 0 0,-49 52-1804 0 0,486-143-5247 0 0,84-27 2565 0 0</inkml:trace>
</inkml:ink>
</file>

<file path=ppt/ink/ink4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8:03:24.59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72 305 424 0 0,'-185'4'2714'0'0,"0"-1"-1248"0"0,140 0-1252 0 0,1 3 0 0 0,-49 11 0 0 0,77-13-183 0 0,0 0 1 0 0,1 2-1 0 0,0 0 1 0 0,0 1-1 0 0,0 0 0 0 0,1 1 1 0 0,0 1-1 0 0,0 0 1 0 0,1 1-1 0 0,0 1 1 0 0,1 0-1 0 0,0 0 0 0 0,1 1 1 0 0,0 0-1 0 0,1 1 1 0 0,0 1-1 0 0,1 0 1 0 0,1 0-1 0 0,0 0 0 0 0,1 1 1 0 0,-9 27-1 0 0,4-1 113 0 0,2 1 0 0 0,2 0 0 0 0,1 0 0 0 0,-1 78 0 0 0,18 175 704 0 0,-9-282-836 0 0,75 734 3228 0 0,-22-473-2710 0 0,-44-236-492 0 0,-4-11 7 0 0,1-1-1 0 0,1 0 0 0 0,23 47 0 0 0,-24-60-45 0 0,-2-3 15 0 0,0 0-1 0 0,1 0 1 0 0,0 0-1 0 0,1-1 1 0 0,0 0-1 0 0,1 0 0 0 0,0-1 1 0 0,0 0-1 0 0,11 8 1 0 0,1-2 124 0 0,1-2-1 0 0,0 0 1 0 0,0-2 0 0 0,2 0 0 0 0,-1-1 0 0 0,1-1 0 0 0,30 5-1 0 0,0-2 20 0 0,1-3 0 0 0,65 2 0 0 0,7-7-67 0 0,204-24 0 0 0,-151-8-11 0 0,202-60 0 0 0,-305 69-73 0 0,29-9-25 0 0,-1-4 0 0 0,174-81 0 0 0,-238 94 26 0 0,166-86-11 0 0,-158 79 21 0 0,-2-3 0 0 0,51-41 1 0 0,-76 51-10 0 0,0 0 1 0 0,-2-1-1 0 0,0-1 1 0 0,-1-1 0 0 0,-2-1-1 0 0,0 0 1 0 0,22-48 0 0 0,-20 31 9 0 0,-1-1 1 0 0,-3-1 0 0 0,-1 0 0 0 0,9-61 0 0 0,-18 72-47 0 0,-2 0-1 0 0,0-1 1 0 0,-3 1-1 0 0,0 0 1 0 0,-2 0-1 0 0,-2 0 1 0 0,-14-55 0 0 0,-11-10-35 0 0,-49-104 0 0 0,79 199 62 0 0,-113-223-46 0 0,-19 10 52 0 0,107 175 2 0 0,-7-9-76 0 0,-1 1 0 0 0,-75-80 1 0 0,88 107 48 0 0,-1 2 0 0 0,0 1 0 0 0,-2 0 0 0 0,0 1 0 0 0,-1 2 1 0 0,-1 1-1 0 0,-50-22 0 0 0,28 20 17 0 0,0 3 1 0 0,-1 2-1 0 0,-1 1 1 0 0,0 3-1 0 0,0 2 1 0 0,-58 2-1 0 0,-14 6-523 0 0,-160 26 0 0 0,130 2-1571 0 0,53 0-2059 0 0,54-16 923 0 0</inkml:trace>
</inkml:ink>
</file>

<file path=ppt/ink/ink489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767" units="cm"/>
          <inkml:channel name="Y" type="integer" max="32767" units="cm"/>
          <inkml:channel name="F" type="integer" max="8191" units="dev"/>
          <inkml:channel name="T" type="integer" max="2.14748E9" units="dev"/>
        </inkml:traceFormat>
        <inkml:channelProperties>
          <inkml:channelProperty channel="X" name="resolution" value="1290.03943" units="1/cm"/>
          <inkml:channelProperty channel="Y" name="resolution" value="2064.71338" units="1/cm"/>
          <inkml:channelProperty channel="F" name="resolution" value="0" units="1/dev"/>
          <inkml:channelProperty channel="T" name="resolution" value="1" units="1/dev"/>
        </inkml:channelProperties>
      </inkml:inkSource>
      <inkml:timestamp xml:id="ts0" timeString="2021-12-11T13:29:57.285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12046 5959 171 0,'14'-17'219'0,"-9"3"-90"0,-4 7-30 0,-1 7-16 15,-10-2-19-15,-3 8-18 0,-6 5-57 0,-5 4 34 16,-12 8-73-16,-1 3 18 0,-9 7-60 0,0 1 55 15,5-1 23-15,9-6 36 0,-1-2 0 0,1 0-1 16,4 1 0-16,-3-1 5 0,2 1-39 0,-2 0-38 16,-1-1-154-16,-1 2 62 0</inkml:trace>
  <inkml:trace contextRef="#ctx0" brushRef="#br0" timeOffset="13622">5289 7392 52 0,'0'0'270'0,"-1"10"-75"0,1-4 2 0,0 1-5 16,0 3 23-16,1 1-52 0,2 0-9 0,-1 2-6 16,2-1 9-16,1 2-32 0,0 2 11 0,4-1-29 0,-2-1-8 15,-1 0-25-15,2-1-5 0,-1 2-20 0,1-2 1 16,0 0-22-16,-3-1-5 0,1-1-4 0,1 0 8 15,-4-4-18-15,3 3 12 0,-4-4 55 0,2 0 0 16,-1 0 36-16,-3-6-20 0,3 7-7 0,-3-7-29 16,0 0 3-16,9 3-26 0,-9-3 7 0,4-6-19 15,-1 2 9-15,1-5-17 0,-2 1 10 0,2-3-26 16,1-2 21-16,1-1-15 0,1-6 3 0,0 1-7 16,3-1 4-16,1-2-9 0,-1-2 0 0,2 0-6 15,0 1 5-15,-1 4 0 0,-1-1-1 0,1 2 1 16,0 0 0-16,0 2 2 0,-3 2-8 0,1 1 6 15,-3 3-7-15,3 1 3 0,-3 2-7 0,2 3 3 16,0 0 2-16,1 1 0 0,-9 3 8 0,15 3 0 16,-6 1 6-16,1 0 10 0,2 3 23 0,-3 3-10 15,2-1 0-15,-2 2 28 0,1 3 8 0,0-3-15 16,1 4 7-16,-1 1-22 0,0 1 12 0,-1-2-16 16,2 2 6-16,-1-2-4 0,-1 2-6 0,0 0-7 15,1 0 4-15,-3 0-5 0,1-1 3 0,-1 0-6 0,-1-1 7 16,3-1-7-16,-3 0 1 0,-1 2-61 15,2-3-11-15,-1 0-4 0,-1 0-42 0,-1-2-49 16,1-1-56-16,-2 0-9 0,-1-3-10 0,2 0 18 16,-1-1-21-16,-3-6-88 0,2 6-267 0,-2-6-104 0</inkml:trace>
  <inkml:trace contextRef="#ctx0" brushRef="#br0" timeOffset="13795.67">5702 7670 191 0,'-14'-7'311'0,"0"2"-90"16,1-1 24-16,2 0-33 0,0-1-1 0,4 2-60 15,-1-1-6-15,0-1-44 0,5 1-2 0,0 0-40 16,3 6 1-16,3-11-29 0,2 5 12 0,2 0-25 16,2 1 13-16,4 1-15 0,2-1 9 0,1 1-19 15,3 1 20-15,-1 2-21 0,0 0-22 0,1 1-63 16,-2 1-37-16,0 2-88 0,-1 2-33 0,0-3-248 16,-2 2 23-16</inkml:trace>
  <inkml:trace contextRef="#ctx0" brushRef="#br0" timeOffset="14560.89">5397 8216 174 0,'0'0'261'0,"0"0"-63"15,0 0-48-15,-4 5 25 0,4-5-35 0,-3 12 24 16,3-5-52-16,-1 4 1 0,0 0 51 0,1 1-15 16,1 2-50-16,-1 2-1 0,1 1-32 0,0-2 68 15,2 3-30-15,-2 0-18 0,2-1-23 0,-2 1-6 16,2-1-19-16,-2 0 4 0,3-1-18 0,-2 0 0 0,-2-3-4 16,1 0-1-16,1-2-4 0,-1-1-1 15,-1 1 9-15,0-4 50 0,1 1 49 0,1-1 37 0,-2-7 41 16,0 9-35-16,0-9-32 0,0 0-28 15,0 0-19-15,0 0-14 0,-7-5-18 0,2-1-7 0,3-3-10 16,-2-5-9-16,0 0-8 0,1-3-2 16,1-2-1-16,1 0-4 0,1-3-9 0,0-1-3 0,2-2-4 15,2 1-4-15,1 1-3 0,5-2-1 0,1 1 4 16,0 1-5-16,3 2 2 0,2 1-1 0,-1 4-1 16,0 0 0-16,-1 3-2 0,-1 2 3 0,1 2-2 15,-3 2 1-15,1 0-3 0,-2 4 4 0,-1 1 0 16,-9 2 4-16,18-2-9 0,-18 2 6 0,12 4 5 15,-12-4-6-15,6 8 11 0,-6-8-7 0,1 12 10 16,-2-5-7-16,0 2 6 0,-2-1-5 0,-1 2 4 16,2-1-2-16,-2 2 6 0,0 0-5 0,-1 0 4 15,1 1 1-15,3 1 1 0,0-1-12 0,-1 1 8 16,4 1-8-16,0 2 10 0,1 1-4 0,3-3 3 16,-1 3-4-16,3 0 3 0,1 1-3 0,0-2 4 15,0-1-7-15,-3-3 7 0,2 2-5 0,-2-3 2 16,-1-1-7-16,0-1 7 0,-1 0-8 0,0-1 11 15,-4-1-7-15,-1-2 8 0,-2 1-11 0,-3 1 10 16,-2-4-4-16,-5 2 7 0,-1-2-8 0,-2 1 7 0,-1-1-7 16,-3-2 8-16,-2 0-7 0,3 0 3 15,-3 0-3-15,-1 0 6 0,4 1-26 0,-3 0-55 16,3 1-40-16,0 1-34 0,0 1-10 0,1 0-67 0,1 2-8 16,2-1-25-16,2 3-57 0,-1-1-86 0,5 0-190 15,1 1-106-15</inkml:trace>
  <inkml:trace contextRef="#ctx0" brushRef="#br0" timeOffset="14943.88">5738 8945 149 0,'-8'-10'418'0,"2"6"-94"16,-6 0-26-16,1 1-48 0,-3-3-33 0,-6 4-14 16,0 1-19-16,-2 1 3 0,-2 2-33 0,-3 2-20 0,3 0-25 15,0 2-10-15,0-1-26 0,3 5-3 0,2-2-22 16,1 2 8-16,3 1-27 0,3 0 9 15,2 1-1-15,2-2-6 0,3 3 22 0,5-2 46 16,0 1-14-16,3 1-15 0,2-1-12 0,2 2-13 0,2-1 2 16,2-2-16-16,1 0 3 0,0-1-10 0,3-2 1 15,-1-1-7-15,3 0 5 0,-1-2-5 0,2-2 0 16,-1 0 1-16,1-2-1 0,-3-1-6 0,-1 0-59 16,2-1-23-16,-1-2-60 0,-2 2-33 0,-2-1-28 15,1 1-48-15,-2 0-71 0,-10 1-83 0,18-3-325 16,-18 3-225-16</inkml:trace>
  <inkml:trace contextRef="#ctx0" brushRef="#br0" timeOffset="15668.88">5533 9670 276 0,'0'0'227'15,"0"0"-43"-15,0-8-45 0,0 8-25 0,0 0-6 16,0-6-4-16,0 6 18 0,0 0 5 0,0-6 2 16,0 6 0-16,0 0-12 0,0 0-14 0,0 0-37 15,0 0 3-15,0-9-35 0,0 9 0 0,0 0-16 16,0 0-12-16,0 0-3 0,0 0-16 0,0 0 23 15,0 0 13-15,0 11 26 0,0-11-25 0,0 8 18 16,0-8 32-16,-1 14-7 0,0-7-20 0,1 0 10 16,0 1-14-16,0 0 0 0,0 0-12 0,0-1 29 15,-2 2 9-15,2-1-12 0,0-1-9 0,0 1-5 16,0-1-14-16,-2 0-3 0,2-7-2 0,0 11 22 0,0-11 57 16,0 9 34-16,0-9 52 0,0 7 48 15,0-7-42-15,0 0-36 0,0 0-29 0,0 0-26 16,0 0-22-16,-8-7-21 0,7 0-15 0,0-2-9 0,2-4-12 15,0-2-2-15,3-2-13 0,4-4-3 0,1-5-7 16,4 0 0-16,0-1-10 0,3 2 3 0,3-4-1 16,-1 6-1-16,1 3 0 0,1 1 3 0,0 2-3 15,-1 4-1-15,0 3-3 0,-4 3 4 0,3 2 0 16,-2 5-5-16,0 2 5 0,0 4 1 0,0 2-5 16,0 3 8-16,-1 2 2 0,-1 1-1 0,0 3 4 15,-1 1-2-15,-4 0 5 0,1 1 0 0,-4 0 2 16,1 2 4-16,-6-4 2 0,0 1 1 15,-2-1 10-15,-3-1 1 0,-1 1 2 0,-4-1-1 0,-2 0 0 16,-2-4-2-16,-4 1-4 0,-1-4 1 0,-1 1-4 16,-3-3-2-16,2-2 0 0,-2 0-4 0,1-2 1 15,1 0-3-15,0-1-32 0,-2-1-54 0,4-1-37 16,0 1-45-16,4 0-65 0,2 1-85 0,0-2-119 0,2 2-4 16,0 0-476-16,10-2-480 0</inkml:trace>
  <inkml:trace contextRef="#ctx0" brushRef="#br0" timeOffset="16181.06">5652 10026 37 0,'-7'4'351'15,"7"-4"-8"-15,-8 7-95 0,4 0 34 16,0 2-37-16,1 0-1 0,2 3-41 0,0 1 21 16,0 3-24-16,1 2-50 0,1 0 30 0,0 1-46 0,0 1 9 15,2 1-37-15,0 1 0 0,-2-1-39 0,3-3 5 16,-3 1-19-16,2-1 18 0,-1-1-9 0,1-2 13 15,-2-3-15-15,2 1-7 0,-1-2-7 0,1-2 40 16,-2 0 40-16,0-2 38 0,0 0-3 0,1-1-2 16,-2-6-32-16,6 10-26 0,-6-10-21 15,12 8-12-15,-3-5-16 0,0 1-7 0,1-3-14 16,1 1-3-16,2-1-28 0,-1 2-54 0,2-2-64 0,0 1-64 16,0-1-50-16,-1 0-71 0,2 1-80 0,-4-2-72 15,1 0-561-15,1-3-623 0</inkml:trace>
  <inkml:trace contextRef="#ctx0" brushRef="#br0" timeOffset="16331.06">5692 10308 274 0,'-8'-4'385'0,"2"0"-99"0,6 4-54 0,-8-4-57 16,8 4-36-16,-3-7-28 0,3 7-23 0,0 0-15 15,6-7-72-15,-6 7-63 0,6-3-81 0,-6 3-71 0,10-7-212 16,-10 7 108-16</inkml:trace>
  <inkml:trace contextRef="#ctx0" brushRef="#br0" timeOffset="16438.64">5666 10226 164 0,'-6'-5'395'0,"-1"0"-61"0,1-1-72 0,1 2-32 15,1-2-49-15,0 2-8 0,3-2-52 16,1 6-8-16,0-11-38 0,1 5-1 0,6 0-33 0,-1 1 12 16,3 0-27-16,1-1-13 0,-2 3-95 0,5-1-30 15,-3-1-101-15,0 2-50 0,3-1-235 0,-4 1 12 16</inkml:trace>
  <inkml:trace contextRef="#ctx0" brushRef="#br0" timeOffset="16904.31">5521 10083 30 0,'0'0'411'0,"0"0"-95"15,0 0-72-15,2 6-20 0,-2-6-63 0,0 0 0 16,14 0-50-16,-14 0-2 0,13-2-45 0,-13 2 13 0,22-1-40 16,-22 1 30-16,25 0-46 0,-12 1 19 15,2-1-55-15,1 0-28 0,0 2-80 0,0-1-20 16,-1-1-66-16,0 0-275 0,2-1 29 0</inkml:trace>
  <inkml:trace contextRef="#ctx0" brushRef="#br0" timeOffset="18511.18">4896 7552 57 0,'0'0'125'0,"-4"-8"-15"15,4 8-17-15,-4-5-24 0,4 5-16 0,-5-3-11 16,5 3-5-16,-7-7-2 0,7 7 4 16,0 0-9-16,-10-3-2 0,10 3 1 0,0 0 11 15,-11-2-5-15,11 2-8 0,0 0-6 0,-13 0-8 0,13 0 2 16,-10 1-2-16,10-1 4 0,-11 4-5 0,5 0-1 16,6-4-3-16,-10 7-21 0,5-2 31 0,1 3-6 15,-1-3 2-15,1 4 0 0,0 1-3 0,4-1 1 16,-2 3 9-16,2 3 5 0,1 0-5 0,0 3 0 15,3 3-1-15,1 1-4 0,0 2-1 0,3 6 0 16,0-1 5-16,2 1 1 0,-3 3 35 0,2-3-14 16,2 7-5-16,0-1-6 0,-2 1-3 0,1 0-6 15,2-1 0-15,-2 1 2 0,4-1-25 0,-4 1 39 16,1 1-27-16,1 0 26 0,-3-1-31 0,3 2 19 16,-1 1-3-16,-2-1-2 0,0 1-3 0,1 2 6 15,-2-2-4-15,0 0-1 0,-2 0-3 0,4-2 2 16,-3 2 0-16,-1-6 5 0,-1-1 21 0,3-1-7 15,-2 1 10-15,1-1-26 0,-2 0 19 0,1-1-26 16,-2 1-1-16,3-2 25 0,-1 0-27 0,-1 1 19 16,0-2-27-16,0 1 22 0,-1 0-27 0,2-1 22 15,-2 1-2-15,1-1-7 0,-1-3 3 0,0 1-1 16,-1-1-3-16,-1 0 2 0,1 1-3 0,-1-2-2 16,-1 0 1-16,1 0 4 0,-1 1-3 0,-1-2 3 15,1-1-5-15,-1 2-19 0,0-4 24 0,0 1-22 16,0-2 20-16,0 1-19 0,0-1 24 0,0 0-22 15,0 1 22-15,0 0-20 0,1-2 18 0,-1 1-13 0,2 0 59 16,-2 1-13-16,0-2 0 0,0 1-10 0,1 1 8 16,-1-2-19-16,0 1 3 0,0-1-16 0,0 2 11 15,0-1-15-15,0 0 11 0,-1 0-12 0,1 1 5 16,0-2 34-16,-2 2-7 0,2 0-11 0,2-1-3 16,-2 1-5-16,1 2-3 0,-1-1-3 0,1 2 1 15,1 0 0-15,-1-1-24 0,0 1 22 16,2 0-12-16,-2 0 13 0,-1-1-14 0,3 1 7 0,-3 0-1 15,0-3-1-15,0 1-5 0,0 1 8 0,-2 1 6 16,1-2-2-16,0 3-1 0,-2-3 2 0,2 2-7 16,-2-1 5-16,1 0-7 0,-1 0 1 0,-2-2 2 15,0 1-9-15,1-2 0 0,0-2 0 0,0-1 7 16,1 0 22-16,-1 0 4 0,1-1-17 0,-3-1 5 16,2 1-10-16,0-3 7 0,2 1-16 0,-1 0 15 15,1-4-10-15,-1 2 13 0,2-1-6 0,-2-1 21 0,3 1-10 16,1-3 18-16,2 1-24 0,2-2 14 15,3-2-20-15,3 3 16 0,2-3-18 0,4-1 14 16,3 0-21-16,3 1 18 0,5-4-40 0,0 1-39 0,3-2-44 16,1 0-70-16,0 0-38 0,1 0-57 15,3-2-54-15,1 0-354 0,0-3-187 0</inkml:trace>
  <inkml:trace contextRef="#ctx0" brushRef="#br0" timeOffset="20554.29">6413 6933 106 0,'0'0'121'0,"6"3"-17"15,-6-3-22-15,19 3-6 0,-6-3 12 0,2 1-10 16,3-1-15-16,3 2-11 0,3-2-5 16,4 0 17-16,1 1 8 0,2-1-15 0,6 1-9 15,-1-1-7-15,1 1-6 0,-5 0-16 0,1 0 10 0,-5-1-9 16,2 2-5-16,-3-1-1 0,-5-1-5 0,0 0-1 15,-4 1 7-15,-1-1 9 0,-3 0 5 0,0 0 0 16,-4 1 6-16,3 0 6 0,-13-1 4 0,16 0 7 16,-16 0-8-16,17 0-7 0,-17 0-9 0,12 0-5 15,-12 0-2-15,0 0-8 0,15 0-3 0,-15 0-58 16,0 0-22-16,11 3-6 0,-11-3-71 0,0 0-64 16,7 4-151-16,-7-4 183 0</inkml:trace>
  <inkml:trace contextRef="#ctx0" brushRef="#br0" timeOffset="21870.5">7435 7135 194 0,'-4'-5'184'0,"4"5"-27"0,0 0-23 0,0 0-33 0,0 0-17 16,0 0-19-16,0 0-13 0,-5-5-16 0,5 5-5 16,0 0-6-16,0 0-6 0,0 0-2 15,15-1-5-15,-15 1-4 0,16 0-2 0,-16 0-1 0,21 1 3 16,-8-1-1-16,2 2-5 0,2-1 4 0,4-1-6 16,-2 0 2-16,0 1 0 0,3 0 1 0,-2-1-2 15,1 0 1-15,-1 1-2 0,0-1 2 0,-3 0-2 16,-2 0 3-16,-1 0-2 0,-1 0 3 0,0 0 0 15,-13 0 4-15,22 0-5 0,-22 0 1 0,15-1-2 16,-15 1-26-16,15 0-21 0,-15 0-32 0,0 0-23 16,13 0-53-16,-13 0-98 0,0 0 80 0</inkml:trace>
  <inkml:trace contextRef="#ctx0" brushRef="#br0" timeOffset="22805.69">8336 7201 19 0,'20'1'22'0,"1"0"6"0,2 2-18 16,1-2 9-16,0 1-19 0,-1-1 19 0,-1 0-19 16,1 2 22-16,-5-2-27 0,1 2 13 0,-6-2-22 15,2 0 20-15,-3-1-17 0,-12 0 18 0,16 1-15 16,-16-1 10-16,12 1-11 0,-12-1 13 0,0 0-15 16,0 0-6-16,0 0-14 0,0 0 10 0</inkml:trace>
  <inkml:trace contextRef="#ctx0" brushRef="#br0" timeOffset="24777.31">9467 10394 242 0,'0'0'246'0,"-9"3"-22"0,9-3-46 16,0 0 6-16,0 0-53 0,-9 3 1 15,9-3-47-15,0 0-1 0,0 0-33 0,0 0 4 0,0 0-25 16,0 0 7-16,14 2-27 0,-1-1 19 0,0-1-23 16,3 1 22-16,5 2-27 0,4-2 20 0,3 1-22 15,3-1 21-15,8 1-22 0,1-1 23 0,1 2-25 16,8-1 24-16,-1 0-22 0,2-1 25 0,0 1-20 16,2-1 25-16,2 0-24 0,-3 1 33 0,3-2-18 15,0 0 19-15,-2 0-27 0,-3 0 27 0,-5 0-31 16,-3-2-2-16,-2 1 5 0,-2 0 17 0,-7-1-17 15,0 0 13-15,-3 1-14 0,-2-3 50 0,-5 2-17 16,0 0 5-16,-2 1-14 0,-4-4 5 0,0 3-20 16,-3 0 9-16,1-2-19 0,-6 1 11 0,2 1-52 15,-8 2-20-15,5-8-72 0,-5 8-29 0,-4-8-66 16,0 3-67-16,-1-1-196 0,0-1 30 0</inkml:trace>
  <inkml:trace contextRef="#ctx0" brushRef="#br0" timeOffset="25378.36">9591 8390 82 0,'0'0'98'0,"1"-9"7"0,4 4-15 15,-5 5 23-15,7-11-50 0,-1 6 18 0,3-1-45 16,4 1 14-16,1-2-27 0,4 0 49 0,2 0-30 16,5 0 13-16,4-1-32 0,3 0 24 0,1 1-31 15,2-1 18-15,2 1-21 0,4-1 48 0,2 0-29 16,0 1 21-16,1-1-13 0,2 0-8 0,-3 1-5 16,5 1-5-16,-5-1-4 0,3-1-5 0,0 2-1 15,-2-1 0-15,-6 2-2 0,-2 0 2 0,-2 0-1 16,-7 1-1-16,1-1-1 0,-2 1-2 0,-3 1 2 15,-3-1-2-15,-1 2-1 0,-5 0-2 0,0 1-2 16,-1-1 4-16,-2 1-3 0,-11 1-24 0,16 0-10 16,-16 0-38-16,10 4-60 0,-10-4-60 0,4 7-132 15,-4-7 221-15</inkml:trace>
  <inkml:trace contextRef="#ctx0" brushRef="#br0" timeOffset="25706.36">9692 9166 241 0,'-13'6'330'0,"5"-3"-77"0,2 1-19 16,6-4-69-16,-9 5-24 0,9-5-51 0,0 0 2 15,14 2-31-15,-1-2 17 0,10 0-30 0,5-1-11 16,12 0-4-16,8-2-3 0,3 1 9 0,4-1 28 16,4 1-20-16,4 0-6 0,11-2-9 0,0 2-2 15,0-2-2-15,-9 2-7 0,-2-1-3 0,-2 1 0 16,-1 0-2-16,-6-1 0 0,-3 0 2 0,-2-1 0 16,-11 0 2-16,-3 1-6 0,-7 0 5 0,-3 0 0 15,-3-1-15-15,-3-1-59 0,-2 1-58 0,-3-1-40 16,-5-1-27-16,0 0-43 0,-6 0-31 0,0-3-170 15,-3 1 109-15</inkml:trace>
  <inkml:trace contextRef="#ctx0" brushRef="#br0" timeOffset="29424.74">9581 7979 150 0,'0'0'250'16,"-8"-2"-55"-16,8 2-46 0,0 0-38 0,0 0-22 16,0 0-20-16,0 0-13 0,18-2-3 0,1 1 30 15,4 1-11-15,9 0-9 0,8-2-2 0,12 1-10 16,4 1 26-16,3-1-23 0,6 0 11 0,12 0-6 16,5 1-14-16,-3 0-6 0,0 0-4 0,-14 1-5 15,-1-1-5-15,-1 1-6 0,-4 0-1 0,-2-1-4 16,-6 1-5-16,-2 1 2 0,-8-1-18 0,-3-1 18 15,-6 2-6-15,-4-2 1 0,-6 1 0 0,1-1-5 16,-4 0 7-16,-2 1 4 0,-2-1 7 0,-1 0 30 16,-14 0-13-16,23-1 10 0,-23 1-23 0,17-1 4 15,-17 1-15-15,11-3 6 0,-11 3-8 0,0 0 12 0,7-3-36 16,-7 3-25-16,0 0-39 0,0 0-26 0,0 0-37 16,-15-1-53-16,15 1-62 0,-16 1-196 0,6 0 75 15</inkml:trace>
  <inkml:trace contextRef="#ctx0" brushRef="#br0" timeOffset="30273.75">9682 8551 9 0,'0'0'125'0,"-14"-1"-21"0,14 1-24 0,-12 0-15 16,12 0-24-16,-14 0-4 0,14 0-7 16,-10 1-9-16,10-1-4 0,-12 3-4 0,12-3 1 0,-7 3-5 15,7-3 15-15,-5 6 48 0,5-6-14 0,0 0-10 16,2 10-7-16,5-7-5 0,3 1 0 0,4 1 4 15,4 0 2-15,5-2-5 0,5 2-4 0,5 1 7 16,7 0 12-16,6 0-8 0,2 0-1 0,5 0-7 16,3 0-6-16,1 1-3 0,12 1-2 0,2-1-4 15,-1 1-2-15,-13-2-3 0,1 2 0 0,-4-1-3 16,-1-2-2-16,1 1-2 0,-5 1-1 0,-1-4 1 16,-2 2-1-16,-6-2 0 0,-2 1 23 0,-1-1 20 15,-7-2-12-15,-1 0-9 0,-2-1-1 0,-6 1 20 16,0-2-2-16,-2 1-7 0,0-1-10 0,-2 0-1 15,-3 0-5-15,-1-2 52 0,-2 1-25 0,1-1 3 16,-3 1-23-16,0 0 9 0,-9 2-20 0,15-4 6 16,-15 4-21-16,12-3-16 0,-12 3-42 0,0 0-15 15,0 0-51-15,0 0-34 0,0 0-50 0,-7 6-72 16,2-2-133-16,-3 2 130 0</inkml:trace>
  <inkml:trace contextRef="#ctx0" brushRef="#br0" timeOffset="30761.21">9692 9500 283 0,'-5'-6'261'15,"-3"3"-44"-15,8 3-52 0,-4-7-37 0,4 7-28 0,7-8-22 16,3 5-16-16,4-1-13 0,6 1-6 0,6-2 8 16,7 1 9-16,4 1-31 0,8-1 15 15,5 1-24-15,2-1 18 0,2 1-26 0,2 2 15 16,-1 0-19-16,0 0 16 0,1 1 0 0,-3 1-4 0,-1 0-21 15,-2 2 22-15,-9-1-23 0,-3 1 24 0,-2-1-24 16,-4-1 20-16,-4 2-33 0,-2-2-21 0,-5 0-31 16,-2 0-21-16,-2 0-35 0,-2 0-44 15,-2-1-51-15,-13 0-124 0,13 0 200 0</inkml:trace>
  <inkml:trace contextRef="#ctx0" brushRef="#br0" timeOffset="34423.69">6350 7146 9 0,'0'0'71'0,"-1"8"28"0,-2-2-14 0,3 0-22 16,-2 2-2-16,-1 3-20 0,-1 1 0 0,0 1-13 15,-1 2-1-15,1 2-5 0,1-1 16 0,-3 5-5 16,4-1 9-16,-3 2-10 0,1-1 3 0,0 2 7 15,-1 0-8-15,1 0-25 0,-1-1 22 0,2 4-10 16,0-2 2-16,0 0-5 0,-1 0-4 0,2 2 1 0,-1-2 2 16,1 1 1-16,-1 1 1 0,2-2-5 15,0 1-2-15,-2 0-4 0,3 0 6 0,-1 1-4 16,-1-1 1-16,1-1-1 0,1 0 3 0,0 1-3 16,0-2 1-16,0 1-5 0,3 1 3 0,-2-2 0 0,2-1-1 15,-2 2 0-15,1-2-2 0,2-1 2 16,-1 1-2-16,-1-1-2 0,1-2 4 0,1 0-8 15,-2-2 4-15,2 1 0 0,0 0-22 0,0-1 28 0,1-1-14 16,-1 2 16-16,-2-2-30 0,3 1 32 16,-1 1-27-16,0-1 26 0,1 1-4 0,-1 0 0 0,1 1-2 15,-1 1-2-15,0 1-1 0,-2-3 0 0,1 1-2 16,1 1 1-16,-3-2-3 0,3 1 2 0,-3 0-1 16,2 0 0-16,-2 0 1 0,3 0 1 0,-3 1-2 15,0-1 0-15,-1 0 2 0,1 1 2 16,1 0-1-16,-1 1-3 0,-1-1 4 0,3 4-1 0,-1-2 2 15,-2 0-1-15,4 1-1 0,-1-2 1 0,0 1 0 16,1 0 5-16,3-2-19 0,-4 0 67 0,3 1-21 16,-1-2 12-16,1 1-29 0,-2 1-1 0,3-2 19 15,-1 2-29-15,-1 0 24 0,0 0-30 0,-1-1 18 16,0 0-23-16,1-1 22 0,-3-1-23 0,1 2 18 16,-1-1-1-16,1-1-1 0,-2 0-5 0,-1 0-1 15,3 0-1-15,-2 0-2 0,-1 0-1 0,0-1 0 0,1 1 1 16,1-2-3-16,-2-3 0 0,0 2-1 15,0 0 0-15,0-1 0 0,0 0 4 0,0-1-1 16,0 2-3-16,1-3 2 0,-1 2-1 0,0 1 0 0,3-2 0 16,-2-1 3-16,0 2-2 0,4 2 2 0,-2-2 5 15,-1 0-4-15,-1-1 0 0,2 0 0 0,0 1 3 16,-1-1-1-16,-2 1-22 0,3-2 27 16,-2 1-26-16,-1 0 29 0,1-1-21 0,1 0 25 0,-1 1-23 15,-1-1 19-15,1 1-24 0,-1-2 26 0,0 1-22 16,0-1 20-16,0 1-21 0,0-1 6 0,0 1-3 15,-1 0 1-15,0-1 3 0,-2 1 125 0,2-1-38 16,-2 0-10-16,3 2-8 0,-4-2-28 0,2 0 10 16,-1 1-29-16,1 0 9 0,-3-1-17 0,1 0 17 15,0 2-25-15,0 0 8 0,-1 1-15 0,0-1 14 16,0 0-14-16,-2-1 14 0,2 0-13 0,0 2 4 16,0-2-2-16,0 1 4 0,0-1-9 0,-3 1 12 15,3-2-15-15,0 0 14 0,0-1-11 0,1 2 10 16,-1-2-11-16,0 1 17 0,1-2-16 0,-1 1 13 15,2 0-7-15,-2 0 8 0,1 1-14 0,0-1 11 16,1 0 2-16,0-1-13 0,1 1 11 0,-1-1-11 16,0 0 5-16,2 0-7 0,0-1 13 0,-2 0-13 15,2-2 11-15,0 2-15 0,1-8 16 0,-3 12-12 0,2-6 10 16,1-6-15-16,-3 11 17 0,3-11-13 16,0 11 5-16,0-11-4 0,-2 9 6 0,2-9-5 15,-3 10 8-15,3-10-9 0,-1 8 12 0,1-8-13 0,-1 10 14 16,1-10-13-16,-3 8 12 0,3-8-15 0,0 10 17 15,0-10-16-15,-1 7 14 0,1-7-16 0,-1 8 14 16,1-8-10-16,-3 7 12 0,3-7-13 16,0 0 13-16,0 9-15 0,0-9 19 0,3 6-11 15,-3-6 9-15,6 6-12 0,-6-6 11 0,17 7-10 0,-8-3 6 16,3 0-1-16,1 0 0 0,2 1-12 16,1 0 17-16,0 1-15 0,1-3 14 0,2 3-16 0,-1 1 16 15,2-3-10-15,2 2 9 0,0 2-11 0,1-4 15 16,0 2-15-16,1 0 16 0,2 0-9 0,-2 0-4 15,7 0-1-15,-1 2-5 0,2-4 18 0,2 2-15 16,0 0-1-16,-1-1 1 0,0 0 5 0,2 1-7 16,1-2 5-16,0 0-2 0,-1 1 2 0,4 0 1 15,-2 0 1-15,0-2 0 0,0 1-3 0,1 2 4 16,0-2-1-16,1 0 1 0,-2 0-2 0,0 0 1 16,4 0 18-16,-4 1-20 0,3-1-1 0,-2-1-3 15,3 1 3-15,-3 0 4 0,3-1-4 0,6 1 2 16,-7-2 0-16,8 1-1 0,-8 0 2 0,1 0-3 0,1 0 7 15,-2-2-4-15,-2 2 2 0,-1-1-3 0,0 0-2 16,-1 2 3-16,-5-2 2 0,-2 0 1 16,-1 0-1-16,3-1 2 0,-3 1-4 0,3 0-4 15,-4 0 0-15,2-1 1 0,-1 2 2 0,2-1 3 0,-1 0-4 16,2 0 2-16,-1-1 0 0,2 0-1 16,0 1-3-16,4-1 6 0,2 0-3 0,-6-1-4 0,1 0 5 15,3 0-5-15,-3-1 3 0,-1 1 1 0,0-1 10 16,-1-1-12-16,0 1-1 0,-2-1 2 0,-1-1-3 15,2 2 2-15,-5-3 3 0,2 2-25 0,-4-1 31 16,1 0-19-16,-2 1 42 0,-3-2-29 16,2 0 38-16,-1 1-7 0,-2-1 22 0,1 1-31 0,-1-1 17 15,-3-1-19-15,3 2 37 0,-5-1-1 0,4 0-15 16,-3-2-12-16,0 0 0 0,-1 3-9 0,-2-3-3 16,0 1-3-16,0-1 3 0,-2 3-7 0,2-4-2 15,-2 1-2-15,0 2 0 0,1-3-2 0,-1 0-1 16,0 2 2-16,3-3-18 0,-3 0 17 0,1 1-9 15,0-3 8-15,-1 2-17 0,0-3 22 0,0 1-16 16,1-2 8-16,-1-1-4 0,0 0 8 0,1-1-9 16,-1-3 4-16,-1 0-9 0,1-1 14 0,0 0-12 15,-3-2 11-15,2 0-4 0,-3 0 4 0,3-2-9 16,-3-1 6-16,-1-1 1 0,-1 1-1 0,0-3 4 16,0 0-1-16,-2-1-4 0,0-1 2 0,-1 0 1 15,0-2 0-15,0 1-1 0,-1-4 1 0,-2-1-25 16,1 0 24-16,-2 2-11 0,0-3 13 0,-1 1-8 0,-1-1 2 15,1 2-11-15,-1-2 12 0,1 0-2 0,0 2 4 16,1-3-9-16,2 0 10 0,-2 1-8 0,0 0 8 16,3 1-10-16,0 0 11 0,-1 0-1 0,1 0 2 15,1 7-4-15,-1-2 2 0,1 2 0 0,1-2-1 16,-1 2-2-16,1 0-6 0,1 0 2 0,0 1-7 16,-2 1 12-16,4-2-5 0,-2 0 6 0,2 2-6 15,-4-3 5-15,3 1-5 0,-2 0 5 0,-1-1-5 16,0-1 5-16,1 1-5 0,-1-1 5 0,0 0-5 15,0-1 4-15,0 2-8 0,-1 0 11 0,1 0-8 16,-1 0 6-16,-2 2-5 0,3-2 5 0,-2 3 1 16,-2 0-3-16,3 0 0 0,-2 1 5 0,-1 1-2 15,2 0-2-15,-2 1-1 0,1 1-25 0,-2-1 26 16,1 4 3-16,-2-1 2 0,1 0-4 0,-2 0 1 0,1 1-7 16,-2-1 6-16,2 3-3 0,-3-2 5 0,3 1-6 15,-2 0 6-15,-1 0-6 0,0 0-1 16,3 2-1-16,-1-1 8 0,1 2-5 0,0 0 1 15,0-1-1-15,0 0 4 0,2 1-1 0,0 1 0 0,-3 0-1 16,4-2 3-16,-2 2-5 0,1 1 4 0,2-1-5 16,-1 1 0-16,-1 0-9 0,3 0 15 15,-3 0-5-15,0 0 0 0,2 0-5 0,-1 0 14 0,1 0-9 16,-1-1 0-16,-1 0-1 0,2-1 2 0,-1 0 3 16,-1-1-5-16,2 3 1 0,-2-1 3 0,1 0-1 15,1 0-4-15,-1 1 4 0,2-1-3 0,-2 0 4 16,2 1-3-16,-1-2 6 0,-1 0-10 0,2 1 3 15,-2-2 1-15,0 1 2 0,2-1-2 0,-1 2 5 16,-2 0-5-16,1-3-1 0,2 2 4 0,-1 0-7 16,-1-1 11-16,0 1-10 0,2-2 4 0,-1 2-2 15,-1 0 3-15,-1-2 1 0,2 0-3 0,-3 2-4 16,1-2 3-16,1 2 5 0,-2-2-6 0,1 2 1 16,-1-2 2-16,1 0-7 0,-2 1 7 0,2 2-7 15,-1-3 9-15,-1 2-7 0,-1-1 7 0,1 2-3 16,-2-1 1-16,0 1 3 0,2-1-1 0,0 3 2 15,-2-3-4-15,2 1-2 0,-1 2 1 0,1-2 1 16,-1 2 2-16,1-1 5 0,1 2-9 0,0 1 5 0,1-1-1 16,-1 1-6-16,1 0 3 0,-2 0 4 0,2 0-7 15,-1 1 2-15,0 1 6 0,-1-2-8 16,1 4 0-16,-1-4 9 0,0 2-1 0,-1 1 0 0,-1-2 1 16,0 1-8-16,0 1 6 0,0 0-8 0,-1-1 4 15,-1 2 1-15,1-1 1 0,-3 0-2 0,0 1 3 16,-1-2-8-16,-1 1 5 0,1 2-5 0,-2-1 7 15,1 0 3-15,-3 0-1 0,3 1-1 0,-1-2 3 16,-2 2-8-16,1 0 8 0,2 1-5 0,-4-1 5 16,1-1-7-16,-1 1 5 0,1 1-5 0,-2 0 3 15,1 0-7-15,-1-1 13 0,0 1-9 0,0-1 9 16,-3 1-11-16,-1 0 6 0,-1-1 3 0,2 1-4 16,-3-1-7-16,-1 1 10 0,-1-1-10 0,0 2 9 15,3-2-11-15,-3-1 7 0,-1 3 2 0,1-2 3 16,-1 2-5-16,0-1 6 0,0 1-12 0,1 0 12 15,-2-1-9-15,1 1 8 0,1 1-4 0,-1 0 1 16,-2-1-7-16,2 1 12 0,0 0-11 0,0 1-3 16,0 0 5-16,0 0 6 0,1 0-7 0,0 0 11 0,-1 1-13 15,4-1 6-15,-2 1-8 0,-1 1 10 16,2-1-12-16,-1 0 13 0,3 0-12 0,-1 1 11 16,1 0-12-16,1 0 3 0,2 0-2 0,-3 0 16 15,-3-1-12-15,3 3 11 0,-1-2-10 0,-2 0 10 16,2 1-9-16,-2 0 6 0,2 0-15 0,-1-1 17 0,0 1-12 15,0-1 10-15,-1 0-4 0,6 1-6 0,-1-1 9 16,0 0 3-16,0-1-9 0,1 1 7 0,-1-1-2 16,1 0 6-16,0 1-4 0,1-2 1 0,0 1-3 15,4-1 3-15,-3 0-6 0,3 0 9 0,-3-1-11 16,1 1 10-16,-2-2-11 0,5 2 8 0,-5 0-9 16,1-1 11-16,0 1-8 0,0-1 10 0,0 1-12 15,-1-2 12-15,1 2-12 0,0 0 11 0,2 0-13 16,0 0 13-16,1 2-11 0,0-2 9 0,-1 0-17 15,2 1 18-15,1-1-6 0,1 1 4 0,-1 1-7 16,0-2 9-16,3 1-13 0,10-1 12 0,-19 2-12 16,10-1 18-16,-2 2-15 0,11-3 15 0,-16 2-4 15,7 0-4-15,9-2 1 0,-14 1 1 0,14-1-3 16,-12 3 0-16,12-3 0 0,-10 2 4 0,10-2-12 16,0 0 10-16,-13 2 0 0,13-2 0 0,0 0 1 15,-10 1-5-15,10-1 4 0,0 0-7 0,0 0 11 16,-9 2-3-16,9-2 0 0,0 0-2 0,0 0 3 0,0 0-2 15,0 0-1-15,-10 1 2 0,10-1 0 0,0 0 1 16,0 0 1-16,0 0-1 0,0 0 0 16,0 0-4-16,0 0 0 0,0 0 1 0,0 0 3 0,0 0-14 15,-8 3-58-15,8-3 6 0,0 0-29 0,0 0-15 16,3 7-45-16,-3-7-11 0,4 7-33 16,-4-7-35-16,1 11-27 0,-1-11-108 0,3 11 178 0</inkml:trace>
  <inkml:trace contextRef="#ctx0" brushRef="#br0" timeOffset="38198.62">5462 11130 82 0,'0'0'297'0,"0"0"-80"15,1 8-45-15,-1-8-8 0,0 6 5 0,0-6-25 16,5 11-20-16,-5-11-13 0,4 10-26 0,-3-2 1 16,3 0 11-16,-1 2-38 0,-1-2 10 0,2 2-20 15,0-2 32-15,-2 3-28 0,1-2 4 0,2 1-32 16,-3 0 15-16,1 0-26 0,0-1 17 0,-2 0-20 16,2-2 10-16,-2 1-17 0,0-2 29 0,0 0 17 15,-1-6 45-15,3 11 38 0,-3-11 43 0,0 7-17 16,0-7-31-16,0 0-37 0,0 0-5 0,0 0-32 15,-12-4 6-15,7-1-28 0,-1-4 7 0,2 0-19 16,-1-4 7-16,1-2-17 0,2 0 9 0,2-5-15 16,0 1 10-16,3-5-18 0,5-4 15 0,1-1-17 15,4 2 14-15,5-4-21 0,1 0 17 0,4 4-12 16,0 0 9-16,-4 7-12 0,4 2 8 0,-1 4-42 0,-3 2-20 16,0 1-38-16,3 4-21 0,-7 3-18 0,3 2-70 15,-5 3-8-15,1 1-50 0,-4 2-38 16,-1 2-316-16,0 2-133 0</inkml:trace>
  <inkml:trace contextRef="#ctx0" brushRef="#br0" timeOffset="38352.62">5602 11144 124 0,'-19'6'412'0,"5"-2"-54"0,0-3-71 0,2 0-34 16,2 0-53-16,10-1-12 0,-16 0-53 0,16 0-17 16,0 0-33-16,0 0-5 0,0 0-28 0,0 0 0 15,12-4-26-15,-12 4 6 0,25 1-62 0,-9 1-1 16,1 0-81-16,1 2-8 0,1 1-38 0,-2 0-46 15,2 1-69-15,-4-2-191 0,2 4 55 0</inkml:trace>
  <inkml:trace contextRef="#ctx0" brushRef="#br0" timeOffset="38738.62">5574 11430 256 0,'-14'7'271'0,"0"-1"-75"0,1 2-2 0,-2 1-45 0,2 0 14 15,-1 2-63-15,4 1 5 0,0 0-45 16,0 0 26-16,2 2 29 0,0 1-27 0,4-2 8 16,-2 1-35-16,2 2 7 0,3-4-13 0,0 2-1 0,1-2 45 15,1 1-27-15,0-2-4 0,2-1 29 0,4 0-1 16,-3-1-11-16,4-3-27 0,0 1 1 0,3-3-12 15,-1 0-9-15,2-3-10 0,2-2 4 0,-1-1-15 16,2-1 5-16,0-2-12 0,2 0 6 0,-2-1-7 16,-1 0 0-16,2 1-9 0,-1-1 6 0,-2 1-13 15,-2 0 11-15,1 1-8 0,-2 2 1 0,0 0 1 16,-10 2 9-16,18 0-14 0,-9 3 9 0,0 0-13 16,-1 2 15-16,-2 2-5 0,2 2 2 0,-2 0-4 15,-2 3 10-15,0 1-2 0,-2 0 8 0,-2 1-9 16,0 0 6-16,0 2-10 0,-2 2-47 0,-1 0-26 15,-2 3-32-15,-3-2-21 0,2 1-57 0,-3 1 6 16,1-1-37-16,-2 0-25 0,0 0-4 0,1-1-257 16,-4-2 4-16</inkml:trace>
  <inkml:trace contextRef="#ctx0" brushRef="#br0" timeOffset="39092.62">5606 12126 261 0,'0'0'197'0,"0"0"4"0,0 0-39 15,-10 3 28-15,10-3-58 0,-9 7 36 0,5-3-34 16,-1 3 28-16,0 2-28 0,0 0-21 0,0 4 13 16,-3 1 17-16,3 2-15 0,1 1-34 0,-2 3-17 15,-1 0-20-15,1 2-4 0,1-1-12 0,0 2-3 16,0 0-13-16,-2 0 4 0,2-2-9 0,0 0 5 16,0-2-9-16,0-2-8 0,1-1-34 0,0-2-33 15,0-3-7-15,3 0 15 0,-3-3-18 0,3-1-96 16,1-7-70-16,-6 7-10 0,6-7-34 0,0 0-205 0,-8-4 30 15</inkml:trace>
  <inkml:trace contextRef="#ctx0" brushRef="#br0" timeOffset="39304.62">5500 12365 191 0,'8'-10'267'0,"1"-1"-12"16,1 3-55-16,0-2 23 0,2 1-45 0,-1-1 5 16,1 0-15-16,-1 1 15 0,1 1 6 0,-3-2-5 0,0 3-6 15,-1-1-5-15,0 1 13 0,-3 2-5 0,2-1-28 16,-1 1-30-16,-1 1-36 0,-5 4-15 0,9-6-23 15,-9 6-10-15,0 0-6 0,9-3-8 0,-9 3-6 16,5 7-2-16,-5-7-2 0,4 11-15 0,0-2 13 16,-2 2-11-16,1 0 12 0,-2 2-16 0,2 3 19 15,-2 1-20-15,-1 1 21 0,0 1-45 16,1 1-49-16,-1 0-36 0,-1 1-52 0,1-2-38 0,0 1-51 16,-1 0-59-16,-2-1-74 0,1-2-277 0,-1-1-171 15</inkml:trace>
  <inkml:trace contextRef="#ctx0" brushRef="#br0" timeOffset="42757.55">10083 10886 30 0,'-13'-4'189'0,"2"1"-41"0,-2 0-12 0,1 0-50 16,-2-2 14-16,2 0-36 0,-1 2 26 16,-3-2-33-16,4-1 21 0,-2 1-28 0,1 0 21 0,-2 1-25 15,2-3 11-15,-4 3-35 0,3 0 18 0,-1-1-30 16,-1 2 21-16,0 0-25 0,-1 1 24 0,-2-1-35 16,2 3 33-16,-2-1-30 0,0 1 28 0,0 0-26 15,0 1 23-15,1 0-23 0,-3 2 22 0,2-1-27 16,1 3 27-16,-1-1-30 0,0-1 27 0,1 2-24 15,-2 3 39-15,2-1-14 0,-1 1 20 0,-1 0-32 0,4 1 22 16,-2 3-32-16,1 0 27 0,-1 1-26 0,-2 2 19 16,2 2-19-16,0 1 23 0,0 2 0 0,-1-1-4 15,4 2 5-15,-3 1-24 0,0 1 25 0,4 1-18 16,-4 0 28-16,5 1-34 0,-3 0 28 0,3 0-31 16,1 2 40-16,0-2-1 0,3 2 0 0,0-1-9 15,1 0-2-15,2 0 31 0,-1-3-27 0,3 2 11 16,0 2-12-16,2-1 6 0,-2 1-23 0,-1 0 18 15,4 0-28-15,-3 3 20 0,1-3-15 0,1 0 20 16,-1 0-27-16,1 0 18 0,-1-1-21 0,0 2 21 16,2-2-22-16,-1 1 18 0,-2 0-20 0,1-1 21 15,2 1-15-15,1-1 16 0,-2-1-24 0,-1 2 22 16,3-1-19-16,-1 0 2 0,-2 2 5 0,3-1 5 16,-1 2 7-16,0 2 35 0,-2 3-21 0,3-3 1 15,-1 4-11-15,-2-1 8 0,3 0-17 0,-1 0 12 16,0 1-14-16,-1-1 14 0,0 1-18 0,-2 0 14 15,3 0-16-15,-2-1 14 0,2 0-22 0,-2 0 23 16,1 1-18-16,-1-2 11 0,1 0-12 0,-1-2 0 16,2-2 4-16,-1-1 1 0,1 1-2 0,1-1 7 0,0 1 3 15,0-3-10-15,0 2 13 0,1-2-15 0,2 1 12 16,1-3-16-16,1-1 15 0,0 3-11 16,5-1 36-16,2 0 32 0,1 1-15 0,3-3 4 0,2 0-19 15,0-3 7-15,5 0-7 0,1-2 12 0,-1-1-16 16,6-3 20-16,-1-2-7 0,4 0 16 0,1-1-25 15,0-3 17-15,5 0-21 0,-2-3 18 0,2 0-20 16,2-3 24-16,2 0-18 0,2-2 18 0,-1 0 12 16,7-2-1-16,-2-1-25 0,1-2 7 0,0 2-15 15,-2-4 23-15,0 3-12 0,-2-1 0 0,1-1-14 16,-4 0 20-16,-2 1-9 0,-3-1-4 0,0 0 19 16,0 1-1-16,0 0-13 0,6-4-2 0,0 3 4 15,-1-3 7-15,-1 0-11 0,1-1-4 0,0 0 5 16,-2-3-1-16,1 1-6 0,3-2-5 0,-3-3-8 15,0-1-6-15,2-1 7 0,1-2-6 0,6-6-3 16,-2 0-3-16,2-2-4 0,-1-1-5 0,-2 0 2 16,0-2-1-16,-2 4-12 0,-1-2 8 0,-6 5-3 0,-2 0 7 15,-2-2-3-15,-1 2 9 0,1-3-9 0,-5 1 7 16,-1-2-1-16,0 0-1 0,-5-2 0 16,-1-1-3-16,-3 0 4 0,0-1-1 0,-5-2-5 15,0-3 9-15,-1 1-6 0,-4 0 5 0,3-2-3 0,-6-2-2 16,3 0-3-16,-4-1 0 0,-1-1-1 0,2 2-13 15,-3 2 16-15,-2 2 0 0,-1-3-1 0,-1 2-1 16,-2-5 3-16,-3 1 1 0,2 1-1 0,-5 0-3 16,0 3-3-16,-1-1 6 0,-3 2-6 0,-2 1 11 15,0 0-9-15,-5 1 8 0,1 2-7 0,-1-1 0 16,-2 1 0-16,0 0 2 0,-1 0-3 0,-1 3 2 16,0-3-2-16,-2 2-1 0,1 0 1 0,-5-1 1 15,2 1 1-15,-1 1 1 0,-2 0 1 16,-1-1-1-16,0 2 0 0,-2 0 0 0,-3 2-2 15,0 0 1-15,-2 3-6 0,2 1-14 0,-1 1-18 0,-2 3-6 16,1 1-40-16,-2 2-28 0,0 3-54 0,0 3-41 16,5 3-52-16,-1 2-57 0,-1 4-36 0,-2 1-141 15,4 2-256-15,-2 2-261 0</inkml:trace>
  <inkml:trace contextRef="#ctx0" brushRef="#br0" timeOffset="43763.44">6685 13300 31 0,'-11'-2'415'0,"11"2"-84"0,-16-1-46 0,16 1-22 16,-16-2-62-16,16 2-8 0,-12-1-53 15,12 1-8-15,0 0-34 0,-14 0 8 0,14 0-36 0,0 0 18 16,0 0-9-16,0 0-12 0,14 0-12 0,0 0 3 15,4 0-6-15,10 0-8 0,3 0 2 0,11 0-18 16,10 1 14-16,6-3-11 0,4 3 10 0,16-1-5 0,-1 0 20 16,7 0-18-16,-1 1 22 0,7-1-14 15,2 1 17-15,1-1-25 0,0 1 22 0,2 0-31 16,-3-1 20-16,-3 2-31 0,-3-1 29 0,0-2-26 16,-6 2 15-16,-3 1-24 0,-14-2 15 0,-1 0-21 15,-4 0 13-15,-3-2-18 0,-6 1 18 0,-9-1-19 16,-2 0 19-16,-7 1-19 0,-3 0 54 0,-5 0 12 15,-2-2 9-15,-2 2-6 0,-3 0-5 0,-3 0-19 0,0 0-6 16,0-2-18-16,-4 0-50 0,-9 3-63 0,6-2-28 16,-6 2-62-16,0 0-58 0,-8-3-62 0,8 3-96 15,-20 2-443-15,7-1-383 0</inkml:trace>
  <inkml:trace contextRef="#ctx0" brushRef="#br0" timeOffset="50775.27">13527 13246 279 0,'0'9'234'0,"0"1"-42"16,-1 1-42-16,1 0-3 0,0 0-20 0,1 2-4 16,-1-2-27-16,0 1-20 0,0 1-10 0,2-2 10 15,-1 2-7-15,0-1 14 0,0-1-45 0,1-1 17 16,0 1-31-16,-1 0 19 0,1-1-33 0,0-1 23 15,-1 0-30-15,2-1 23 0,-3-1-26 0,3 1 23 16,-1-2-23-16,2 2 28 0,1-1 17 0,-1-1 19 16,4 0-30-16,1 0 16 0,0 0-31 0,3-1 18 15,1 1-27-15,6 0 18 0,1-1-23 0,1 2 18 0,3-3-21 16,3 2 17-16,4-1-17 0,1 1 13 16,1 1-20-16,0-3 19 0,2 2-18 0,-1 0 18 0,2-2-17 15,-3 2 20-15,2 0-24 0,1-1 22 0,-3-2-8 16,0 2-13-16,-1 0 18 0,-4-2-20 0,3 1 21 15,-2-1-20-15,4 1 22 0,-3 0-26 0,-1-2 24 16,-1 0-24-16,-1 1 20 0,1 0-18 16,1-2 22-16,-1 1-2 0,0 0 25 0,-1 0-22 0,-2-1 12 15,-1 0-19-15,-2-1 13 0,-1 0-10 0,0 1 24 16,-3-1 6-16,-1 0 3 0,-2-1-1 0,0 0-6 16,0 0 6-16,-3-1 1 0,1 0 4 0,-1 0-16 15,-1-1 35-15,-1-1-13 0,-1 1 7 0,1-1-23 16,-2 0 13-16,1-1-29 0,-1-1 13 0,-2-1-18 15,-1-1 56-15,2 1-19 0,-2-1 0 0,-1-2-21 16,1 1 7-16,-3-2-18 0,2 0 12 0,0-2-22 0,-3 1 13 16,2 0-14-16,-2-2 34 0,-1 0-12 15,3-2 3-15,-3 2-14 0,0 0 5 0,1-3-8 16,-1 3 6-16,0-1 35 0,0 1-1 0,-1-2-11 0,1 2-8 16,0 1-11-16,-2-2-2 0,1 0-3 15,1 3-5-15,0-2 3 0,-1 2 40 0,1-1-11 0,-2 2-10 16,1-1-7-16,1 0-7 0,0 1-1 15,0 0-6-15,-1 1-4 0,0-1 0 0,1 3-4 0,-2-2-3 16,1 3-4-16,1 0 0 0,-1-1 2 0,1 8-3 16,-2-13-2-16,2 13-11 0,-1-11-94 0,1 11-58 15,-4-5-25-15,4 5-78 0,0 0-101 0,-17 4-132 16,6 3-395-16,-1 2-453 0</inkml:trace>
  <inkml:trace contextRef="#ctx0" brushRef="#br0" timeOffset="55395.58">17025 7788 159 0,'18'1'194'16,"0"-1"-42"-16,-3-1-20 0,3 1 4 0,1-2 1 15,1 0 10-15,0 1-6 0,-1-1-26 0,-1-1 26 0,0 0-42 16,-1-1 9-16,0 0-17 0,-1 2 8 0,0 0-41 16,-5-2 9-16,1 2-39 0,-3 1 13 0,2-2-24 15,-11 3 18-15,20-1-28 0,-20 1 18 0,20 0-20 16,-20 0 18-16,22 1-14 0,-12 0 12 0,3 1-30 16,0 0 26-16,1 0-28 0,-1-1 21 0,2 2-34 15,-1-2 15-15,-1 1-27 0,1 1 25 0,-1-2-30 16,-1 2 27-16,0-1-30 0,-2 0 22 0,-10-2-35 15,18 3 16-15,-18-3-40 0,14 2 22 0,-14-2-5 16,14 2 0-16,-14-2 7 0,9 3 9 16,-9-3-7-16,9 2-10 0,-9-2-2 0,0 0-7 0,9 4-2 15,-9-4-27-15,0 0-29 0,1 6-34 0,-1-6-81 16,0 0 79-16</inkml:trace>
  <inkml:trace contextRef="#ctx0" brushRef="#br0" timeOffset="62955.06">13907 8110 34 0,'2'19'105'0,"-2"1"-48"15,3 5 22-15,-3 3-43 0,0 5 29 0,-3 7-72 16,3 7 32-16,-6 3-58 0,1 4-90 0,-4 10 41 0</inkml:trace>
</inkml:ink>
</file>

<file path=ppt/ink/ink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4:32.49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69 1832 0 0,'13'-21'3701'0'0,"-9"12"-2423"0"0,1 1 0 0 0,0 1 1 0 0,1-1-1 0 0,6-7 0 0 0,-11 14-708 0 0,2 3-358 0 0,1 1-164 0 0,0 0 0 0 0,0 1-1 0 0,-1 0 1 0 0,1 0 0 0 0,-1 0-1 0 0,0 0 1 0 0,0 1 0 0 0,0-1-1 0 0,-1 1 1 0 0,1 0 0 0 0,-1 0-1 0 0,0 0 1 0 0,-1 0 0 0 0,1 0-1 0 0,-1 0 1 0 0,0 0 0 0 0,1 8-1 0 0,0 3-929 0 0,-1 1 0 0 0,0 0 0 0 0,-1 0 0 0 0,-2 23 0 0 0,-6-14-3135 0 0,4-17 1284 0 0</inkml:trace>
</inkml:ink>
</file>

<file path=ppt/ink/ink4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12-10T08:04:20.90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0 24575</inkml:trace>
</inkml:ink>
</file>

<file path=ppt/ink/ink4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12-10T08:04:21.68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0 24575</inkml:trace>
</inkml:ink>
</file>

<file path=ppt/ink/ink4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12-10T08:04:22.011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0 24575</inkml:trace>
  <inkml:trace contextRef="#ctx0" brushRef="#br0" timeOffset="1">0 0 24575</inkml:trace>
</inkml:ink>
</file>

<file path=ppt/ink/ink4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12-10T08:04:22.65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0 24575,'9'9'0,"8"12"0,0 2-8191</inkml:trace>
</inkml:ink>
</file>

<file path=ppt/ink/ink4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12-10T08:04:23.15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6 24575,'0'-5'0</inkml:trace>
</inkml:ink>
</file>

<file path=ppt/ink/ink4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12-10T08:04:23.66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1 24575</inkml:trace>
</inkml:ink>
</file>

<file path=ppt/ink/ink4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12-10T08:04:24.01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1 24575,'0'4'0</inkml:trace>
</inkml:ink>
</file>

<file path=ppt/ink/ink4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12-10T08:04:24.80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1 24575,'0'4'0,"0"7"0,0 5 0,5 0 0,1 2 0</inkml:trace>
</inkml:ink>
</file>

<file path=ppt/ink/ink498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767" units="cm"/>
          <inkml:channel name="Y" type="integer" max="32767" units="cm"/>
          <inkml:channel name="F" type="integer" max="8191" units="dev"/>
          <inkml:channel name="T" type="integer" max="2.14748E9" units="dev"/>
        </inkml:traceFormat>
        <inkml:channelProperties>
          <inkml:channelProperty channel="X" name="resolution" value="1290.03943" units="1/cm"/>
          <inkml:channelProperty channel="Y" name="resolution" value="2064.71338" units="1/cm"/>
          <inkml:channelProperty channel="F" name="resolution" value="0" units="1/dev"/>
          <inkml:channelProperty channel="T" name="resolution" value="1" units="1/dev"/>
        </inkml:channelProperties>
      </inkml:inkSource>
      <inkml:timestamp xml:id="ts0" timeString="2021-12-11T13:31:22.419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7435 11916 56 0,'0'0'397'0,"0"0"-103"0,-4 6-68 0,4-6-39 0,0 0-48 15,0 0-13-15,9 3-21 0,-9-3 19 0,14 0-44 16,-14 0 16-16,23 0-34 0,-9 1 14 16,7-2-4-16,-1 2 6 0,2-2-30 0,2 1 5 0,4 1-26 15,3-1 12-15,1 0-26 0,0 2 17 0,4-1-28 16,1-1 24-16,0 1-27 0,0 1 17 0,0 0-18 15,-1-1 21-15,1 3-22 0,1-3 17 0,-2 1-15 16,1 2 13-16,-3-2-14 0,2 0 15 0,-1 0-21 16,0 0 22-16,-4 1-23 0,1-1 25 0,1-1-23 15,-1 1 14-15,0 0-17 0,-1-1 23 16,-2 0-22-16,3 1 20 0,-1 0-14 0,-1-1 15 16,1 0-19-16,0 2 15 0,1-2-18 0,-3 1 20 0,3-1-18 15,0 0 22-15,4 2-22 0,-5-1 2 0,-1-1 2 16,2 1 17-16,-1-1-19 0,0 0 20 0,-1 2-18 15,1-2 17-15,-2 0-16 0,2 0 18 0,-3 0-23 16,3-1 20-16,-2 1-21 0,-1-1 20 0,-1 0-21 16,0 2 5-16,-4-2-1 0,1 0 19 0,-1-2-21 15,-2 2 15-15,2 0-13 0,0 0 14 0,-2 0-14 0,1-1 18 16,0 1-22-16,-2-1 19 0,1 1-20 16,0 0 23-16,1-1-23 0,-4 0 6 0,3 0-4 15,-1-1 20-15,-2 1-20 0,1 0 20 0,-2-1-17 16,2 1 14-16,-1-2-18 0,-2 0 21 0,2 1-20 0,-1-1 17 15,1-1-17-15,-2 1 21 0,2-1-22 0,0 0 20 16,-1-1-22-16,1 1 21 0,-3-1-19 16,3 0 20-16,-4-1-15 0,4 0 16 0,-3 0-17 0,-1-1 47 15,-1 1-7-15,2-3 3 0,-3 2-16 0,-1-1 31 16,2 0 3-16,-4-1-15 0,-1-2-1 0,2 0-13 16,-1 0 0-16,-1 0-12 0,-2-2 4 15,2-1-6-15,-3 0 1 0,0-1-3 0,-1 0-3 0,0-2-3 16,-2-1-4-16,2 0 7 0,0-4-5 0,-2 2 1 15,2-3-1-15,-1 1-30 0,-1 0 36 0,1-1-24 16,-2 0 37-16,3 2-13 0,-1-3-4 0,-1 2 1 16,1-1-4-16,0 0 9 0,1 0-10 0,-1-1-7 15,1 2 5-15,-2-2 2 0,2 0-6 0,-1 0 8 16,-1 1-8-16,2-1 5 0,1-2-3 0,-2 3 4 0,-1-1 2 16,2-2 0-16,-1 2-4 0,-1 0 1 15,2-2 3-15,-1 2 0 0,-1-1-5 0,2-1 2 16,0 3-1-16,-2-1 0 0,1 0 2 0,-2-2 0 0,2 2-28 15,-1 1 37-15,0-2-31 0,0 1 31 16,1 2 1-16,-2-3-7 0,3 1-3 0,-2 1 2 0,1-1-2 16,3-1 0-16,-2 0-3 0,1 1 1 15,0-5-2-15,2 2 4 0,-1-2-5 0,3 2 6 0,-3-2-8 16,2 1 10-16,2-1-4 0,-2 1-2 0,1 0 0 16,-1 0 1-16,2-1-15 0,-3 2 17 0,3-2 2 15,-2 1-2-15,0 0 1 0,1 1-1 0,-1-2 1 16,1 4 0-16,-3 1-26 0,0 0 30 0,1 1-1 15,0 0 6-15,0 1-9 0,-1-2-6 0,-2 2 5 16,3-1 1-16,-4 1 2 0,2 1-2 0,-1-1 14 16,0 1 11-16,-1 2 7 0,-1 0-10 0,-1-1-1 15,1 0-11-15,-1 1 7 0,-1 0-16 0,0-1 7 16,0 1-6-16,-1-1 5 0,-2 1-8 0,2 0 9 16,-3 0-13-16,1-1 10 0,0-1-8 0,-2 1 10 15,1 2-10-15,-1 1 9 0,1-1-12 0,0 0 10 16,0 0-12-16,0 1 12 0,-2-1-7 0,2 1 6 15,-1 1 0-15,1-1 4 0,-1 0-8 0,2 0 3 16,0 0 3-16,-1-1-4 0,-1 2 2 0,1-2-2 16,-1 1 3-16,1 0-6 0,0-1 0 0,-1 1 3 15,1 2-1-15,-2-3 2 0,1-1-1 0,-2-1 1 16,2 0-19-16,-1 0 20 0,-1 1-12 0,2-1 13 0,0-1-11 16,1 0 13-16,-1 1-22 0,1 0 17 15,-2-1-5-15,3-1 7 0,0 0-8 0,-1 1 10 16,0-2-10-16,0 2 12 0,1-4-17 0,1 1 16 0,-2 2-13 15,-2-2 13-15,2-1-12 0,-1 0 12 16,2 2-1-16,-2-2-4 0,1 0 3 0,-2 1-3 16,2 2 2-16,2-2 1 0,-1 1 4 0,-1 0-5 0,2 1-1 15,-1 0 1-15,0 3-3 0,2-1-10 0,-2 1 11 16,2-1-15-16,0 2 14 0,0-1-5 0,-3 0 9 16,4 1-16-16,-1 0 14 0,1-1-10 0,-2 2 18 15,1-1-22-15,1 0 19 0,-2 0-12 0,-1-1 13 16,3 2-13-16,-1-1 11 0,-2 0 5 0,3 1 45 15,-1-1-22-15,0 0 3 0,-2 0-17 0,2 0 8 16,-1 0-18-16,1 0 11 0,0 0-21 0,0 0 15 0,-1 0-15 16,2-1 14-16,-1 1-18 0,1-1 17 0,-1 0-19 15,1 0 6-15,1-1 9 0,0 1-5 16,-1 0 3-16,0 1-3 0,2-1 1 0,-2 2-5 16,1-2 1-16,0 1 0 0,2 1 2 0,-2-1-5 15,3-1 2-15,-2 1-18 0,2 0 15 0,1-2-8 16,2 1 12-16,-2-1-13 0,0 1 18 0,0-2-18 0,2 1 18 15,-1-1-17-15,0 1 17 0,2-1-15 0,0 0 18 16,-2 0-20-16,2 0 15 0,-2-1-9 0,2-2 11 16,-2 1-14-16,-2 2 12 0,5-1-12 15,-4-2 15-15,0 1-14 0,-1 1 13 0,2-2-15 0,-3 0 19 16,2 1-16-16,-3-1 14 0,0 1-16 0,-1 0 16 16,-1 0-3-16,0 3-7 0,0-4 8 0,-1 1-4 15,-2-2-13-15,3 1 15 0,-4 1-20 0,2 0 19 16,1-1-15-16,-1 0 18 0,1 2-20 0,0-2 15 15,1 4-12-15,-1-1-2 0,-1-2 7 0,1 0 0 16,0 0 1-16,-2 3 0 0,2-3 0 0,0 0-2 16,-1 3 2-16,2-2 4 0,-1-1-4 0,-2 0 5 15,2 1-2-15,-2-1 14 0,2 2-17 0,-1-1 14 16,-2 1-20-16,1 3 20 0,1-3-17 0,-2-1 17 16,0 4-18-16,3-1 18 0,-3 1-17 0,1 0 13 0,1 0-13 15,-2 1 14-15,-1-1-11 0,3 1 12 0,-2 0-16 16,0 2 17-16,-1-1-19 0,1 1 14 15,0-1-13-15,-2 0 14 0,2 2-15 0,-1 0 17 16,0 2-14-16,1-2 12 0,-2 1-14 0,0 2 13 0,2-1-17 16,1 3 14-16,-1-1-14 0,0 2 16 0,0-2-7 15,0 2 11-15,2-2-15 0,-2 3 9 16,0-1-6-16,0 0-2 0,2 1 2 0,-2-1 13 0,1 3-15 16,1-2 1-16,-2 1 1 0,1 1 1 0,-1-2 2 15,1 2-4-15,3 5 6 0,-5-11 0 0,1 5 0 16,4 6-3-16,-7-9 2 0,5 3-4 0,-2-2 1 15,-1 4 4-15,-2-3-3 0,1 0 2 0,1 1-1 16,-3 1 1-16,3-3-12 0,-4 2 7 0,0-1 6 16,3 1 0-16,-4 0-11 0,-1-3 11 0,1 2-2 15,-1 0 1-15,-1 0-4 0,2 0 3 0,-3-2-1 16,0 2 3-16,2 1-14 0,-3-2 11 0,1 1-5 16,-1 1 0-16,0-2 3 0,-1 2 5 0,-1-1-5 15,-2 1 0-15,2 1-1 0,-5 0 3 0,0-2-1 16,-1 3 2-16,-3 1-7 0,1-3 2 0,-4 3 2 15,1 0-3-15,-1-1 1 0,-2 2-2 0,-5 1-1 16,-1-1 6-16,-2 1-7 0,-3-2 6 0,3 3-20 16,-3 0 4-16,-4 3-2 0,-5-2 2 0,-1 0 0 0,-1 1 3 15,2 0-1-15,-1 2 0 0,2-1 1 16,2 3 7-16,2-3-1 0,6 1 1 0,0-1 6 16,2 2 0-16,0 1 5 0,-1-1 0 0,1 0-1 0,1 1-3 15,1 0 3-15,2 0-1 0,1 0-5 16,0 0 7-16,5 0-2 0,2-1-5 0,-2 2 0 0,3-1 9 15,-1 1-2-15,0-1 3 0,-5 2-2 0,1 1-3 16,2-2 2-16,2 1-4 0,-1-2 8 0,3 1-7 16,0 2 7-16,0-2-1 0,-1 2 0 0,3-2-3 15,-3 0-3-15,2 1 3 0,1-1-1 0,0 2 2 16,1-2 0-16,-2 1-2 0,4 0 5 0,-1 0-11 16,2 2 5-16,-2-3 2 0,0 4-3 0,1-3-1 15,0 3 3-15,3 0 4 0,-4-1-2 0,3 3 0 16,-3-3 1-16,0 4 4 0,5-1-4 0,-4 0 0 15,3 1-2-15,-2 1-4 0,3 0 4 0,-3 1 7 16,5 1-10-16,-5 2 5 0,4 0 0 0,-2 3 0 16,2-1-4-16,0 1 4 0,1 2-1 0,-1 0-1 15,0 1 1-15,0-1 4 0,0 0-2 0,-1 3-8 16,1-2 9-16,0 0-4 0,0 1 0 0,-1-1 2 16,0 2 2-16,0-2-4 0,1 1-2 0,1 0 6 15,-2-1-7-15,3 0 2 0,-2 2 1 0,0-3 3 16,3 1 0-16,-1 1-3 0,-1 0 4 0,3 0 1 0,-2-1-2 15,0 2 4-15,1-1-6 0,1 1 7 16,0 0-11-16,-1-2 6 0,-1 3-2 0,1 0-4 0,0-1 6 16,0 0-1-16,1-1-1 0,0 0-2 0,-2 0 2 15,3-4 3-15,-1 4-2 0,0 1-1 0,0-1-2 16,0 2 6-16,3-3-4 0,-3 3 2 0,0-2-1 16,3 2 3-16,-1-4-4 0,2 3 5 15,-1 0 0-15,3-2-7 0,-2 2 6 0,2-1-10 0,2 1 9 16,-1 2-3-16,-1 3 3 0,3 0-6 0,-1-2 5 15,1 4-3-15,1 0-1 0,-1-1 3 0,0 2-2 16,0-1 2-16,0 2 0 0,0 1 2 0,0-3 2 16,0 1-4-16,1 1 4 0,1-1-8 0,-1 1 8 15,0 0-1-15,2 0 3 0,-2 0-3 0,3 0-8 16,-2 1 8-16,2 5-9 0,1 0 9 0,-1 0-6 16,1-1 8-16,-1 0-10 0,3 1 5 0,-2-1-6 15,2-1 14-15,-3 0-18 0,4 0 15 0,0-2-8 16,-1 1 6-16,-1-5-5 0,2-1 4 0,-1-1 5 15,3 5-6-15,-4-4 2 0,2 2 4 0,-3-1-5 16,3-2 1-16,-1 2-11 0,0 0 9 0,-2 1-12 0,0-1 18 16,0-2-4-16,1 1 1 0,-2 1 16 0,0 0 16 15,1-3-19-15,-4 0 13 0,2 2-25 0,0-6 11 16,-1 2-14-16,-2-2 12 0,0 2-20 0,0-1 16 16,0 1-16-16,0-1 17 0,-1 0-14 0,0 0 12 15,-2 4-3-15,-1 1 7 0,2-2-11 0,-2 0 0 16,0 1 3-16,-2 0-5 0,1-1-12 0,-2 0 15 15,3-2-30-15,-2 1 26 0,1-5-10 0,0 0 15 16,0 0-16-16,1-1 15 0,-1 1-11 0,2-3 9 16,-1 2-13-16,0-2 16 0,2 0-12 0,-2 0 12 15,1-2-13-15,2 0 17 0,-1-1-16 0,0 1 10 16,1 1-11-16,1 0 15 0,-1-1-12 0,-1 0 12 16,1 2-17-16,1-1 20 0,0 3-1 0,0-2 1 15,0-1-6-15,-2 3 10 0,3 1-3 0,-1 0 4 16,0-1-34-16,1 1 27 0,-1-1 2 0,0 0-3 15,0 1-17-15,0 1 16 0,0-1-20 0,-2 1 16 0,0 0-10 16,1 0 17-16,-3 0-19 0,2 1 20 0,-1 1-19 16,-1-3 22-16,2 2-23 0,-1 0 26 0,1-1-22 15,-1 2 30-15,-1-2-16 0,3 2 15 16,-3-2-21-16,3 2 12 0,-2-2-13 0,2 0 13 16,-2 3 0-16,1-3-5 0,2 3 4 0,-1-1-6 0,1 2-11 15,1 0 12-15,-1 2-17 0,0 2 17 16,4 0-21-16,-3-2 24 0,0 0-25 0,-1-3 24 0,3-2-27 15,-2 1 25-15,2-1-16 0,-1-1 16 0,-1 1-24 16,2-3 24-16,1 1-16 0,0-1 20 0,0-1 10 16,1 0 11-16,-2-2-22 0,3 1 17 0,-3-1-24 15,3-2 15-15,-1 2-21 0,1-6 17 0,-1 2-19 16,-1-2 17-16,1-1-28 0,-1-1 28 0,1-1-16 16,-1-1 19-16,2-1-19 0,-3-2 19 0,1 1-19 15,-2-4 16-15,1 2-14 0,-3-7 15 0,4 10-9 16,-4-10 14-16,4 9-16 0,-4-9 11 0,2 8-15 15,-2-8 10-15,3 8 2 0,-3-8-8 0,0 0 3 16,5 7-4-16,-5-7 1 0,1 7 1 0,-1-7-48 16,-1 7-60-16,1-7-83 0,0 10-109 0,0-10-111 0,-2 11-441 15,2-11-392-15</inkml:trace>
  <inkml:trace contextRef="#ctx0" brushRef="#br0" timeOffset="5396.44">10347 12147 117 0,'0'0'312'16,"-9"-2"-97"-16,9 2-47 0,0 0-52 0,0 0-5 16,-11 2-24-16,11-2-14 0,-5 8 4 0,2-3 36 15,1 1-16-15,1 3 18 0,-2 2-12 0,3 1 15 16,-1 1-19-16,1 5-19 0,1 0 30 0,-1 3-28 16,3 1 9-16,-1 3-37 0,-1 2 3 0,2-1-24 15,1 6 9-15,-2 0-23 0,1-1 15 0,3 2-25 16,-5 0 15-16,2 1-17 0,-3 1 1 0,3 1 4 15,-3-2-4-15,0 3 0 0,-3 1-30 0,3-1 38 16,-1 1-7-16,-2 5-1 0,-1 0 5 0,-1-1-4 16,2 1 11-16,-3 0-17 0,0-2 12 0,1 1-17 15,-4 0 14-15,1-1-9 0,1 0 2 0,-2-2-8 16,-3-1 1-16,3 1 1 0,0 0 1 0,-2-3 3 16,2 1 9-16,0-6-38 0,-1 0 39 0,2-1-39 15,-1 0 40-15,1 0-4 0,0-1-3 0,0 0 5 0,0-1-4 16,2 1-1-16,-2 1-2 0,2-2 3 0,-1 1 17 15,1-2-12-15,-2 2 25 0,3-5-12 0,-3 5 5 16,5-4-8-16,-3 0 0 0,3 0-15 16,-1 0 15-16,-3 0-33 0,4-1 28 0,-1 1-2 0,-1 0-2 15,1 0 1-15,0-2 2 0,0 1-8 0,-1 1 4 16,0 1-4-16,1-3 0 0,0 2 1 0,2-1-33 16,-1 0 42-16,-1 0-7 0,0 0 1 0,-2 0-3 15,2-1 5-15,2 0 10 0,-2 1-20 0,0 0 25 16,3-3-26-16,-3 1 19 0,3 1-23 0,-2-3 18 15,-1-1-17-15,3-1 11 0,0 0-15 0,-1 0 14 16,1 0-17-16,1-2 18 0,0-1-16 0,1 0 15 16,1-2-22-16,-1 0 23 0,3 0-21 0,-2 2 24 15,2-2-21-15,0-1 20 0,0 0-18 0,1-1 23 16,1 1-26-16,3-1 22 0,0-2-22 0,-1 1 18 16,5-1 4-16,-2 0-10 0,2-2-20 0,4 0 21 15,-2 2-18-15,4-2 24 0,3-1-21 0,-3 1 19 16,5-2-18-16,2 1 23 0,-1-1-26 0,2-1 23 15,1 1-17-15,0-1 17 0,6 2-20 0,0-1 23 0,1-1-25 16,-1 0 22-16,1 0-18 0,1 0 19 0,-2 0-18 16,4-1 16-16,-3 3 2 0,-1-3-3 15,2-1-5-15,0 2 4 0,-2-2 0 0,1 1-3 0,3-2-9 16,-3 3 12-16,-5-3-10 0,1 0-8 0,1 1 14 16,0 0-2-16,0-1 0 0,-1 0-1 0,1-1 0 15,-2 1 2-15,2 0 34 0,-2-1-3 0,-1 0-5 16,-1-1-7-16,1 0-1 0,0 0 1 0,-5-2-8 15,2 1 0-15,-2-1 3 0,-4-1 4 0,1-1 51 16,-1-1-13-16,2-1-12 0,-4-2 3 0,0 1-5 16,-3-2 13-16,2 0-9 0,-3-1-12 0,-2 1-5 15,-1-2-9-15,3 0-3 0,-3-2-4 0,-1 1-4 16,3-2-4-16,-4 0 2 0,0 1-6 0,2-3 1 16,0 3-3-16,-1-2 0 0,3-2-1 0,-3 1 2 15,3-1-2-15,-3-2-12 0,2 1 18 0,0 1-19 16,1-3 12-16,0-1-10 0,2-1 16 0,-2 3-15 15,4-3 11-15,-5 0-9 0,4 1 10 0,-2-3 0 0,0-1-3 16,0 0-2-16,0-1-2 0,-1-1 1 16,3-3 0-16,-3 3 0 0,0 1-3 0,2-5 4 15,-3 3-3-15,-1 0-2 0,1-1 4 0,-2 1-5 0,3-2 6 16,-4 1-1-16,1 0 0 0,-1-1-2 0,0 1 1 16,-1-1-9-16,-2-1 14 0,1 3-6 15,0-3 8-15,-2 2-15 0,0-1 13 0,-2 0-2 0,1-1 0 16,1 2 1-16,-3-4-2 0,1 2-1 0,-1-1 1 15,1-1 1-15,-2 1-9 0,2-1 6 0,-2 2 4 16,-1 2-2-16,0 1 2 0,0-1-3 16,-1 1-1-16,1 0 4 0,-3 1-5 0,3 0 7 0,-2-1-4 15,-1 2 1-15,2 0 0 0,-2 0-5 0,3 2 8 16,-2-3-10-16,0 3 12 0,1 0-13 0,-1 0 14 16,2-1-1-16,-2 1-5 0,2-1-1 0,0 0 4 15,0-1-5-15,2 1 1 0,-2-2 2 0,3 2-2 16,-3 0-1-16,2-3 1 0,0 1-1 15,-1-3 2-15,2-2 2 0,1 1 1 0,-2 1 1 0,2 0 1 16,0-2 5-16,1 2 1 0,0-1 1 0,2 0 6 16,-2 2-12-16,0-1 8 0,1 0-13 0,3 1 11 15,-4 0-8-15,2 1 7 0,-1 1-13 0,1 0 10 16,0 0-1-16,0 4-1 0,-2 0-3 0,1-1-2 0,-2 2 4 16,2-1-3-16,-1 0 0 0,1 0-4 0,-1 0 4 15,1 0-3-15,-2-1 1 0,2 1 1 0,-1 0 2 16,1-2-1-16,-1 3-8 0,-1-3 7 0,1 1 2 15,0 2-3-15,0-3 3 0,-1 1-1 0,-1 1 0 16,1 0-9-16,0 0 11 0,1-1-8 0,0 2 12 16,-1-1-15-16,0 0 15 0,1-1-12 15,-1 3 11-15,-1-1-15 0,-1-2 13 0,2 2-2 0,-3 0-1 16,2-1-3-16,-1 1 0 0,-2 2 0 0,0 0 3 16,0 1-3-16,0-2 1 0,0 2-1 0,-1-1 1 15,0 0-4-15,1-3 7 0,-4 1-9 0,4 3 7 16,-1-4 2-16,-2 1-3 0,3-1 0 0,-1 1 0 15,-2-1 0-15,2-1-1 0,-2 1 0 0,2 0 2 16,-1 0 0-16,-1 0-1 0,0 1-8 0,1-1 10 16,-1 0-4-16,1 1 4 0,-2 1-10 0,0-1 11 0,2 0-7 15,-1 1 8-15,-1 1-12 0,2-1 11 16,-1 1-2-16,-1 3 2 0,2-2-2 0,-1-1-5 16,-2-1 2-16,4 0 3 0,-2 3 0 0,1-4-2 0,-1 2 0 15,1-1 0-15,0 0 1 0,-2 0-2 16,2-2 1-16,-1 1-1 0,1 0 1 0,-2-1-1 15,0 0 4-15,3 0-5 0,-3 0 3 0,0 1 1 0,2-2 0 16,-1 3 1-16,-1-3-2 0,2 1-1 0,-1 0 4 16,-2 3-1-16,2-3-8 0,2 2 7 0,-3-2-9 15,3 2 15-15,-2-1-12 0,2 4 10 0,-1-1-12 16,0-3 10-16,1 1-1 0,-2 1-2 0,2 1 0 16,1-2-2-16,-1 1 4 0,0 2-1 0,1-2 1 15,-3 0-3-15,3 0 1 0,0-1-2 0,0 1 2 16,1-2-2-16,1-1 0 0,-2 1 1 0,1-3-1 15,0 3 2-15,-1-1-2 0,3-1 2 0,-2 0-2 16,-1 0 1-16,3-1 1 0,-2 1 1 0,-1 0 3 16,1-2-8-16,-1 1 7 0,0-1-12 0,0 2 13 15,0 0-9-15,0-1 8 0,0 1-8 0,0 2 7 16,0-2 1-16,0 1 1 0,0 3-2 0,0-3-2 16,0 2 1-16,0 0 0 0,0-1 1 0,0-1-3 0,-1-2-2 15,0 2 4-15,-1 0-3 0,1-1-4 16,1-1 4-16,-1 2-6 0,1-3 8 0,-3 1 0 15,3-1 0-15,-1 1 0 0,0 0 0 0,-2-1 0 16,3 0 1-16,-4 0 1 0,3-1-5 0,-1 1 2 0,0-2 0 16,0 1-8-16,-1 1 11 0,0-1 0 15,2 1-3-15,-3 0-2 0,2-1-1 0,-1 2 4 16,1-1-2-16,-2 1-1 0,0-1-5 0,3 1 6 0,-3 0-4 16,1 1 4-16,1 0-15 0,-1 1 18 0,-1 0-4 15,2 0 5-15,-1 0-10 0,1 1 10 0,-2 0-5 16,0-1 7-16,2 1-7 0,-1 2 4 0,2-2-4 15,-2 0 3-15,1 1-1 0,-1 0 3 0,-1 0 1 16,2 1-2-16,0 1-2 0,-3 1 5 0,3 1-3 16,1-1 1-16,-1 0-1 0,0 0-2 0,-1 1-2 15,3-2 5-15,-1 2-3 0,1 0 1 0,-2 0-2 16,1 0-1-16,1-1 1 0,0 2-3 0,0-1 0 16,0 0-2-16,0 1 5 0,0 0-3 0,0 1 3 15,0-1-9-15,-1 0 4 0,1 1 0 0,0 1 8 16,0-1-5-16,0 1 4 0,1-1-6 0,-1 2 11 0,0-2-14 15,0-1 12-15,0 1-14 0,1 0 13 16,1-1-7-16,-2 1 7 0,1 0-8 0,-1 0 7 16,3 0-7-16,-1-3 8 0,0 3-8 0,-1-1 6 0,0-1-6 15,0 0 5-15,3 0-2 0,-3 0 4 0,2 0-7 16,-2 0 9-16,2-2-7 0,-2 2 5 16,2-1-8-16,-1 0 14 0,-1 1-11 0,2-1 4 0,-2 0 5 15,3-1-4-15,-4 2-3 0,3-1-2 0,-2 0-2 16,3 0 5-16,-2 1-7 0,-2-1 7 0,3 1-6 15,-3-2 7-15,1 2-15 0,-1-1 14 0,0 1-7 16,0-1 4-16,0 1-7 0,0 0-1 0,-1 0 2 16,-1-1-2-16,1 1 1 0,0 0-4 0,-3 0 7 15,2 1 1-15,-1-1 2 0,1 1-1 16,-2-1-1-16,1 0 0 0,1 1 0 0,-2-1 4 0,0 3-3 16,1-2 1-16,-3 0 11 0,4 2-11 0,-1-1 7 15,-1 0-10-15,1 2 13 0,2-1-12 0,-3 0 11 16,3 0-14-16,-2 2 16 0,2 0-12 0,1 1 13 15,-2-1-13-15,2 0 8 0,-4 1-9 0,4-1 7 16,-1 1-4-16,-1 1 11 0,1-3-15 0,0 3 14 16,0-2-10-16,-2 1 9 0,0 1-11 0,1-2 7 0,-1 0-6 15,-2 0 9-15,1-1-60 0,-2 0 27 16,2 1-10-16,-1 0 20 0,0 0-9 0,-2-2 19 0,2 2-13 16,-2-1 22-16,0-1-18 0,2 1 18 15,-4-2-17-15,0-1 16 0,2 1-18 0,-1-2 6 0,0 1 2 16,-2 0 3-16,1 0 2 0,3-1-1 0,-1 3 1 15,-3-2 0-15,4 2 22 0,-2 0-23 0,2 2 1 16,-2-3-1-16,0 0 5 0,2 2-2 0,-2 0 0 16,-2-1 4-16,4 1 1 0,-1-1-3 0,-2 1-4 15,2 2 8-15,0-2-3 0,2 0 17 0,-1 3-21 16,1-3 17-16,0 3-20 0,1 1 17 0,0-1-19 16,0 1 20-16,0-1-18 0,0 2 18 0,0-2-19 15,2 3 20-15,-3-3-22 0,1 3 16 0,2-2-14 16,-2 3 23-16,0-3-24 0,0 2 17 0,-1-1-18 15,0 2 19-15,-3 0-20 0,2 0 18 0,-1 0-18 16,1-1 14-16,-3 1-10 0,0 1 15 0,0-1-15 16,-1 0 11-16,-2-1-16 0,2 1 18 0,-4 1-10 15,3-2 9-15,-2 2-15 0,-3 0 16 0,4-3-19 16,-5 2 19-16,-2-1-18 0,2-1 15 0,-2 2-15 0,0-2 15 16,1 2-12-16,-1-3 5 0,2 3-4 15,-2-2 12-15,4 0-19 0,-2 1 7 0,2 1-3 16,0 0 4-16,-1 0 1 0,2 0 4 0,-1-2-1 0,1 3 0 15,0-1 1-15,0 1-5 0,1 0 1 0,1 0 7 16,-3 0 0-16,2 1-4 0,0-1 2 16,1 3-4-16,0-2-1 0,-1 0 1 0,2 1-1 0,-3 1 1 15,0-1 6-15,0-1-4 0,0 2 0 0,-3-1-6 16,4 2 5-16,-5 0 5 0,4-1-5 0,-2-1 1 16,-1 3 2-16,-1-1 1 0,3-1-6 0,-3 2 0 15,1 0 6-15,-2 0-1 0,0 0 0 0,4 0 3 16,-3 1-6-16,1-2-18 0,2 2 10 0,1 0-8 15,-3 0 17-15,2 0-1 0,-1 0-4 0,4 0-1 16,-5 2 3-16,4-2-7 0,-2 1 7 0,1 0-1 16,1 1 2-16,-2 1 1 0,1-1-3 0,-2 0 2 15,2 2-3-15,-1 0 2 0,2-1 1 0,-2 1 4 16,1-1-3-16,-1 2-5 0,0-1 5 0,0 1-4 16,2-2 7-16,-1 2-4 0,3 0 13 0,-1-2-10 15,1 2 9-15,-1 0-14 0,3 0 10 0,-3-2-10 16,3 2 11-16,-2 1-10 0,1-1 12 0,-3 1-12 15,3 0 12-15,-1 0-7 0,-1 0 9 0,3 0-14 16,-1 1 10-16,2-1-4 0,-1 0 9 0,-1 2-19 0,1-1 13 16,1 0-8-16,1 0 9 0,-1 0-11 15,-1 2 11-15,3-2-12 0,-1 1 12 0,0-1-10 0,2 2 15 16,-1-1-12-16,3 0 9 0,-3 2-12 0,3-2 10 16,-2 2-12-16,2 0 15 0,1 0-8 0,-1 0-7 15,2 0 6-15,-1 2 8 0,1-1-5 0,1 1-4 16,0-1 9-16,0 2-4 0,1 0 0 0,1-1-2 15,-1 2 1-15,-1 0 2 0,3 1-6 0,-2-2 6 16,0 3 0-16,0 1-2 0,1-2 0 0,-1 2 1 16,3 0 5-16,-2 0-13 0,-2-1 14 0,3 0-6 15,-1 0-1-15,1 0 3 0,-2 1 12 0,3-1-14 16,-1 1 16-16,-1-2 2 0,1 1 9 0,-1 0-15 16,2 0 9-16,0 1-17 0,0-1 12 0,-2 1-12 15,2-2 11-15,-1 0-14 0,-1 1 10 0,2 0-11 16,-1-1 12-16,-1 1-19 0,3 0 19 0,-2-2-16 15,-2 0 13-15,2 2-23 0,-2 1 23 0,-1-3-16 16,3 2 13-16,-3-1-9 0,1-1 10 0,-1 0-13 16,0 1 15-16,1-2-14 0,-1 2 13 0,0 0-18 0,0 0 17 15,0 0-15-15,0 0 3 0,1 0 2 0,-1-1-1 16,0 2 2-16,2 0-2 0,-2-2 3 0,0 0 2 16,0 2-3-16,-2 1 2 0,2-2-3 0,-1 1 2 15,1-1 5-15,0-2-6 0,-1 2 16 16,1 2-16-16,-1-3 10 0,1 2-14 0,-2 1 16 0,1-3-12 15,1 2 13-15,-1-2-16 0,1 1 14 0,0-1-15 16,0 1 17-16,0 1-20 0,-2 1 19 0,2-1-14 16,0 0 15-16,0 0-15 0,0 1 15 0,0 1 2 15,2-1-7-15,-2 1 0 0,1-3 1 0,-1 3-18 16,0-1 16-16,0 0-14 0,1 1 19 0,-1 0-24 16,2 0 24-16,-2 0-21 0,0 0 16 0,0 0-15 15,0 0 17-15,0 0-16 0,0 0 15 0,0 0-14 16,0 0 16-16,0 0-14 0,0 0 15 0,0 0-20 15,-2 1 22-15,2-1-24 0,-1 0 20 0,1-1-13 16,0 1 15-16,-1-2-13 0,1 3 14 0,-3-4-19 16,3 2 16-16,-1 0-17 0,0 0 17 0,-1-2-13 15,2 2 15-15,-2 0-20 0,-1-1 22 0,2-1-16 16,1 1 15-16,-1-1-17 0,-1 0 18 0,1-1-4 16,1-1 2-16,0 2-6 0,-1-1 2 0,0 0 1 0,1-2-4 15,-3 4 4-15,3-1-2 0,-3-1-2 16,2 0-3-16,0 2 2 0,-2-2-1 0,2 2-1 15,-2 0-8-15,2-2 11 0,0 1 1 0,0 0-20 16,-2 1 22-16,1-1-18 0,-1 1 17 0,2 0-16 16,-2 0 20-16,1 0-19 0,-1 1 11 0,-1 0-11 0,3-2 19 15,-3 2-18-15,0-1 19 0,3 1-24 16,-4-1 25-16,1 1-21 0,2 0 21 0,-1-1-18 0,-1 0 14 16,2 1-15-16,-5 2 19 0,3-3-22 0,2 0 20 15,-2 0-21-15,0 0 23 0,2 0-17 0,-1 0 17 16,-1 0-21-16,0-2 18 0,2 2-12 0,-2-1 17 15,0 1-6-15,-1-2 4 0,3 1-6 0,-2-1 0 16,0 0-3-16,1 1 5 0,-2-2-3 0,1 1-1 16,2 1-1-16,-3-2 1 0,2-1 1 0,-1 0-6 15,2 0-12-15,-1 0 19 0,1 0-1 0,0-1-2 16,-2 1 2-16,2 1-4 0,-1-2 3 0,2 1 0 16,-4 1-2-16,4-2 0 0,-2 1-1 0,2 0 2 15,-2 0-1-15,2 1-1 0,0-1 4 0,-2 0-20 16,2 0 21-16,0 0-18 0,1 1 18 0,-3-2-17 15,3 0 19-15,-1 1-19 0,-1 1 18 0,1-2-17 16,1 1 19-16,0 0-29 0,0 0 30 0,-1 0-17 16,1 0 21-16,0 0-18 0,1 3 14 0,-1-2-16 15,0-2 18-15,0 2-22 0,0 0 24 0,0-1-19 0,1 1 17 16,-1 0-19-16,2-1 19 0,-2 2-19 16,0-1 17-16,1-2-18 0,-1 2 20 0,0 0-17 0,0 0 19 15,1 1-7-15,1-1 0 0,-2 0 1 0,2 0 0 16,-2 0-4-16,0 0 2 0,1-1-5 0,1 3 5 15,-2-2-6-15,1-1 4 0,-1 1 4 0,0 1-6 16,0 0-1-16,1-1-16 0,-1 0 24 0,0 2-20 16,0-3 20-16,-1 2-21 0,1 0 19 0,0 0-1 15,0-1 1-15,0 1-4 0,0 0 0 0,-1 0 1 16,1-1-2-16,-3 3-3 0,3 1 4 0,-1-2-3 16,0 1 5-16,-2-2-6 0,2 3 5 0,-2-1-7 15,2 0 4-15,-2 1-15 0,1 0 22 0,-2 1-23 16,3-1 28-16,-2 1-28 0,-1 0 22 0,2 1-16 15,-1-1 16-15,2 0-18 0,-3 1 20 0,3 1-15 16,-2-1 18-16,2-1-22 0,-2 5 22 0,0-4 0 16,0 0-3-16,2 0-12 0,0 0 12 0,-2 0-2 0,0 1-1 15,2-1 1-15,-3 0-3 0,4 0-1 0,-2 0-17 16,-1 1 26-16,2-1-20 0,-2 0 19 16,1 3-3-16,-2-3-3 0,4 2 0 0,-1-2-1 0,-1 0 2 15,1 2-1-15,2 2-1 0,-2-3 0 0,1 0-2 16,0 0 1-16,-1-1-1 0,0 2 0 0,1-1 0 15,0 1 1-15,0-1-2 0,-2 1 0 0,2-1-3 16,-1 0 5-16,1-1 1 0,0 3-1 0,0-2-2 16,0 1 2-16,0-2-1 0,0 2 2 0,1-1 3 15,1-1-2-15,-1 2-1 0,0-2-3 0,-1 0 1 16,3-1 2-16,-2 1-4 0,3-1 6 0,-2 0-2 16,1 0-19-16,-1-1 24 0,2 1-19 0,-3-1 18 15,2 0-17-15,1-2 24 0,0 2-23 0,0-1 18 16,-1-1-20-16,1 1 22 0,-1 0-24 0,-1-1 26 15,2 0-28-15,-1 0 22 0,-2-1-20 0,2 1 20 16,-1-2-2-16,-1 0-3 0,1 1 5 0,-1-1-6 16,3 0 1-16,-4 0-1 0,2 3-3 0,-2-5 2 15,2 3-1-15,-1-1 5 0,0 1-4 0,-1-2 1 16,3 2-1-16,-2 0 1 0,-1 0 0 0,1 1 0 16,2-1-2-16,-2 1-18 0,0 0-3 0,2 1-1 15,0-1 11-15,-1 0 2 0,-1 1 1 0,2-1 2 0,-3 1 3 16,4-3 0-16,-3 0 2 0,0 3 1 0,-1-2-4 15,3 0 4-15,-2 0 3 0,-1 1-2 0,3 1-20 16,-1-1 25-16,0-1-21 0,-1 1 20 0,0 1-16 16,2-2 18-16,-2 2-19 0,2 0 26 0,-1-2-25 15,1 1-2-15,-2 2 6 0,4-1 0 0,-4 1-6 16,3-1 13-16,-1 0-22 0,0 1 27 0,0 1-28 16,2 0 25-16,-2 0-24 0,2 0 30 0,-3 0 1 15,2 0-8-15,-1 1 7 0,1-1-10 0,-2 0 3 16,1 0 2-16,-2 0-3 0,3 0 1 0,-3 0-31 15,3 0 38-15,-3-1-3 0,4 2 4 0,-4-2-5 16,2 0-2-16,0-2-1 0,-1 0 4 0,0 2-4 16,-1-3-3-16,0-1 3 0,2 1-1 0,-2-1 1 15,2-1 1-15,-2 0 1 0,0-2-2 0,0 3 3 16,1-1 1-16,-1 1-5 0,3-1-1 0,-2 0 4 16,-1 0-1-16,2-1-3 0,0 2 1 0,-1-1 7 15,-2-1-30-15,3 0 27 0,-2 0-24 0,3 2 34 16,-3-4-28-16,2 1 23 0,-2 1-26 0,2-2 30 15,-1 2-29-15,1-1 32 0,-2 0-42 0,3-1 20 0,-3 0 24 16,-1 1-29-16,3-2 0 0,-2 0 4 16,0 0 8-16,-1 0-8 0,0-2 1 0,0 2 3 0,0-1 26 15,1 1-32-15,-1 0 32 0,0-1-29 0,-1-1 22 16,1 2-30-16,0-1 31 0,0 2-30 0,0-2 29 16,0 1-29-16,-1-1 27 0,0 2-27 0,1-1 30 15,-3 3-35-15,3-1 35 0,0 2-32 0,-1-2 28 16,-2 4-1-16,3-3-6 0,-1 4 11 0,0 1-7 15,-2-1 9-15,1 2 4 0,-1 1-3 0,3-1-3 16,-1 1-7-16,0-1 2 0,-1 1 5 0,2-2-9 16,0 1 1-16,-1-1-2 0,1 1-6 0,-1-2 6 15,2 0 4-15,-1-1-4 0,0-1-61 0,1 2-97 16,-1-3-103-16,-1-1-109 0,2 3-473 0,-3-3-376 0</inkml:trace>
  <inkml:trace contextRef="#ctx0" brushRef="#br0" timeOffset="9331.32">10261 12043 186 0,'0'0'371'0,"-9"3"-58"0,9-3-84 16,0 0-20-16,0 0-57 0,0 0-7 0,0 0-31 15,0 0 11-15,0 0-38 0,13-4 6 0,0 3-33 16,4-1-6-16,6 0-7 0,5-2 10 0,0 2-28 16,8-1 11-16,3 0-21 0,0 2 11 0,1-1-13 15,-1 1 7-15,1-1-21 0,2 1 17 0,-2-1-21 16,-2 1 20-16,2 0-18 0,-2 0 15 0,2 1-20 15,-2-1 16-15,3-1-17 0,-3 0 13 0,2 1-9 16,-3-1 12-16,4 1-13 0,-3-2 11 0,1 0-18 16,0 1 23-16,-2 0-24 0,0-2 21 0,2 1-18 15,-2 1 17-15,0-3-16 0,0 2 19 0,-1-2-2 0,-2 2 20 16,2 0-18-16,-3-2 9 0,2 2-12 16,-2-2 8-16,-5 3-14 0,0-2 16 0,0 0-16 15,0 1 7-15,-1-1-11 0,1 1 10 0,-1-1-12 0,1 1 12 16,0 0-11-16,-3-1 7 0,0 0-9 0,2 0 10 15,-3 2-15-15,-1-2 16 0,3 2-12 0,-7-2 11 16,0 1-15-16,-1 0 13 0,1 2-8 0,-3-2 9 16,-2 2-9-16,-3-1 11 0,0 1-9 0,0-1 7 15,-11 2-2-15,16-2 7 0,-16 2-7 0,14-2 10 16,-14 2-13-16,12-3 13 0,-12 3-10 0,0 0 3 16,17-1 2-16,-17 1-3 0,0 0-8 0,11-2 6 15,-11 2-2-15,0 0 1 0,0 0-1 0,12-1 2 16,-12 1-8-16,0 0 8 0,0 0-9 0,0 0 12 15,0 0-2-15,0 0 1 0,0 0-3 0,0 0 3 16,-11 2-5-16,11-2 4 0,-10 1-4 0,10-1 4 16,-14 1 0-16,14-1-17 0,-17 3 17 0,7-2 2 15,-1 0-4-15,-1 0-1 0,-4 0-6 0,-1 2 7 16,1-2-1-16,-4 1 0 0,1 1-1 0,-3-2 2 0,-1 2 3 16,-2-1-8-16,-1 1 9 0,-2 0-12 15,1 0 4-15,-1 0-1 0,0-1-1 0,0 2 0 16,-3-1 4-16,-2 1-2 0,1-1 1 0,-1 1-5 0,0 0 5 15,1 1-7-15,0-1 7 0,1 0-5 16,3 0 4-16,1 0 0 0,2 0 0 0,1-1 0 0,4 0 0 16,2 0-3-16,3-1 4 0,3 0 0 0,-2 1 1 15,4-2 2-15,10-1 11 0,0 0 4 0,0 0-3 16,0 0 0-16,19 3-9 0,3-3 8 0,9-1-3 16,2 1-22-16,5-1 29 0,6 1-3 15,-1 0-3-15,8 0 1 0,-10 0-3 0,2 0-21 0,-3 1-42 16,-1-1-35-16,-9 0-18 0,0 1-76 0,-7 0-51 15,-2-1-110-15,-4 2-263 0,-4-1-121 0</inkml:trace>
  <inkml:trace contextRef="#ctx0" brushRef="#br0" timeOffset="17022.54">7540 8156 134 0,'0'0'292'0,"0"0"-82"0,1 9 13 0,-1-9-60 16,9 7 14-16,-9-7-58 0,15 4 16 15,-6-1-46-15,3-1 21 0,4 0-36 0,2 0 19 16,4-1-41-16,1-1 18 0,4 0-38 0,2-1 19 0,2 0-31 16,3-1 21-16,2-1-38 0,0 2 29 0,0-3-35 15,-2 2 28-15,3-2-32 0,-5 1 33 0,-1 1-35 16,-2 0 33-16,3-1-34 0,-2 3 30 15,-2-1-32-15,-1 0 29 0,0 0-30 0,-2 1 32 0,1 0-35 16,-4 0 32-16,2 0-32 0,-1 0 33 0,0 1-34 16,-1-1 34-16,0 1-35 0,1-1 34 0,2 1-32 15,-2-1 30-15,0 0-29 0,0 2 30 0,3-2-31 16,0 0 31-16,2 1-33 0,-1-1 36 0,-5 2-33 16,2-2 31-16,0 0-30 0,3 0 32 0,-3 0-35 15,2 0 34-15,2 0-31 0,-2 0 32 0,0-2-33 16,0 2 30-16,2-1-28 0,-2 1 29 0,-2-2-34 15,3 1 37-15,-2 0-35 0,1 0 32 0,-3-1-32 16,0-1 36-16,3 2-37 0,-1-1 33 0,-1 1-30 16,2-2 32-16,-6 0-34 0,2 2 31 0,4 0-31 0,-3-1 34 15,-3 1-18-15,2-1 40 0,-2 0-30 0,1 1 30 16,-1 0-28-16,-1 1 34 0,-2-1-30 0,2-1 18 16,-3 2-10-16,0-1 30 0,-2 1-19 15,3 0 4-15,-3-1 10 0,0 1-7 0,0 0-4 0,1 0-4 16,-2-2-7-16,1 2-4 0,-1 0 29 0,1-1 2 15,0 1-7-15,-1 0-9 0,-1 0-9 0,0 0-18 16,2 0 11-16,-2 0-4 0,-12 0 6 0,21 0 1 16,-21 0-19-16,20 0 12 0,-20 0-12 0,19 0 36 15,-19 0-20-15,16 0 15 0,-16 0-21 0,17-1 13 16,-17 1-16-16,14 0 23 0,-14 0-11 0,13-1 27 16,-13 1-22-16,10-1 15 0,-10 1-26 0,10-1 13 15,-10 1-20-15,12-2 16 0,-12 2-24 0,10-3 18 16,-10 3-24-16,9-2 35 0,-9 2-5 0,9-3 15 15,-9 3-16-15,0 0 14 0,10-4 1 0,-10 4-7 16,8-3 2-16,-8 3-12 0,6-5 2 0,-6 5-19 16,5-6 11-16,-5 6-15 0,7-7 14 0,-7 7-13 15,5-11 7-15,-5 11-9 0,5-11 5 0,-3 4-8 0,1 1 11 16,3-3-15-16,-3 0 8 0,1 1-9 16,0-3 7-16,-2 0-6 0,3-1 7 0,0-3-11 15,2 1 12-15,-1 0-4 0,-1-2 2 0,2-2-2 0,-1-1 2 16,3-2-1-16,-3-1 2 0,2-1-3 15,0-3 1-15,1-2-1 0,-3-1-9 0,2-1 9 16,-2-1 0-16,2 1-2 0,-5-4-1 0,3 0-13 0,-3 0 11 16,1-2-11-16,0-6 13 0,-1 0-11 0,-1-1 15 15,0 4-14-15,1-5 12 0,0-1-12 0,-3 7 12 16,1 0-8-16,-1-1 9 0,0 2-3 0,-1 0 4 16,0 1-1-16,-2 1-2 0,1 0-11 0,-1 0 9 15,1 3-15-15,-2 0 17 0,-2-2-8 0,3 3 8 16,-3-1-15-16,1 0 16 0,-1 1-13 0,0 1 18 15,-2-2-17-15,0 1 13 0,-2 1-14 0,1 1 15 16,0 1-28-16,-2-2 12 0,-1 3-10 0,2 0 22 16,-4 0-14-16,1 2 19 0,-1 0-20 0,0 2 18 15,-1 1-10-15,-1 2 16 0,-1 0-15 0,-2 2 14 16,0 1-12-16,-1 0 13 0,3 4-16 0,-2 0 17 16,1 1-14-16,-2 1 14 0,-1 0-14 0,2 0 15 15,-1 3-16-15,1-2 12 0,-1 3-9 0,1-1 10 16,3 2-12-16,-2 1 13 0,0-1-3 0,1 0 0 0,-2 2-3 15,1 1 2-15,0-2-4 0,0 3 0 0,-1-2 0 16,0 2 1-16,-1 0-14 0,-1 2 12 0,1-1-14 16,-1 0 15-16,0 0-15 0,0 1 15 15,-2 0-17-15,0 0 23 0,0 0-23 0,-2 1 20 0,-2 0-18 16,5-1 16-16,-5 1-16 0,3-1 21 0,-3 0-20 16,4 1 19-16,1-1-17 0,-3 1 12 15,2-2-22-15,0 2 18 0,2-1-24 0,-2 0 17 0,0 2-6 16,3-1 11-16,-2 0-14 0,-1-1 14 0,3 2-11 15,-1-1 16-15,-1 0-16 0,2 1 18 0,-1 0-17 16,1-1 9-16,0 1-22 0,0-1 14 0,0 1-14 16,0 0 17-16,-1 2-9 0,1-2 9 0,-3 3-13 15,1-2 12-15,0 2-10 0,-2 0 14 0,1 1-23 16,0-1 26-16,-1 2-10 0,-1 0 15 0,1 0-10 16,-4 3 14-16,2-1-16 0,-2 3 14 0,-1 1-25 15,1-2 28-15,1 4-4 0,-1-1-2 0,-3 4-3 16,3-2-4-16,3 0 16 0,-1-1-4 0,3 2-2 15,-1 1-1-15,-1-1-1 0,4-1 0 0,-1 0-5 16,0 0 7-16,2 1 0 0,-1-2-2 0,1 2 7 16,-1 0 4-16,2-2-31 0,0 1 38 0,-1 1-17 15,2 0 9-15,-3 0-7 0,3-2 11 0,-1 2-14 16,1-2 17-16,-1 2-20 0,3-4 15 0,-1 2-12 0,-1-1 7 16,0 0-8-16,2 0 12 0,-2-1-4 15,1 1-1-15,-1 1 1 0,3-2-7 0,-3 0 8 16,1 3-11-16,2-2 16 0,-2-1-16 0,2 3 3 0,1-1 0 15,0 1 9-15,1 0-7 0,-1-1 7 0,3 2-13 16,0 1 12-16,-1 0-6 0,3 1 8 0,0 2-9 16,-2-1 12-16,1 6-9 0,1-1 11 0,0 2-21 15,2 0 18-15,-1 0-22 0,3 1 11 0,1-3-9 16,-1 2 11-16,1-1-11 0,4 3 13 0,0-3-5 16,0 4 11-16,0 1-1 0,4 2-2 0,2 0 2 15,-1 1 8-15,2-2-11 0,2 4 0 0,2 1-8 16,1-2 6-16,-1-1-8 0,3 1 12 0,-1-8-12 15,1 1 9-15,-1-3-4 0,2 1 8 0,1-2-9 16,0-3 10-16,1-2-13 0,-1 0 15 0,0-3-26 16,0-1 27-16,1-2-30 0,1-1-5 0,0-2-19 15,-3-1-39-15,2 0 10 0,-3-2-46 0,2-3-23 16,0 4-94-16,-1-4-60 0,-1-1-350 0,0-1-154 0</inkml:trace>
  <inkml:trace contextRef="#ctx0" brushRef="#br0" timeOffset="19191.31">14488 8086 207 0,'-5'-7'311'0,"5"7"-73"0,-5-7 7 15,5 7-65-15,-5-8 9 0,1 3-35 0,0 0 20 16,0 0-58-16,-2 1-23 0,2-2-19 0,-1 1 4 16,1-1 3-16,-1 1-15 0,1 0-11 0,-2 1-15 15,0-2-3-15,-1 2-11 0,3-2-7 0,-3 2-4 16,-1 0-5-16,0 1-1 0,1-1 19 0,-1 1-22 16,-3 1 21-16,0-1-31 0,1 2 26 0,-3-1-26 15,0 2 20-15,-2-1-22 0,1 1 22 0,-1 0-24 0,-3 0 19 16,-1 1-20-16,-2 1 23 0,3-1-24 15,-3 1 20-15,0-1-20 0,1 0 17 0,-2 0-19 16,0 0 26-16,2 1-27 0,-2 1 26 0,-1-2-24 16,4 0 22-16,-3 0-19 0,2 0 18 0,-1 1-22 15,1 0 20-15,-1 0-22 0,3 0 23 0,1-1-19 0,0 2 14 16,-1-1-14-16,0 0 20 0,3 0-24 16,1 1 5-16,-3 1 2 0,3-1 5 0,-3 2-1 0,5 0-4 15,-4 0 1-15,2 0 3 0,2 0-2 0,-1 1 1 16,-1 1 3-16,1 0 5 0,-1 0-13 0,2 1 9 15,1-1-3-15,-2 2 1 0,3 0 1 0,-2 0 5 16,2 0-8-16,-1 2 0 0,-1-1 5 0,2 2-2 16,0-2 3-16,-2 1 3 0,2 0 1 0,2 1-27 15,-1 0 30-15,-1-1-32 0,1 2 38 0,1 0-34 16,0 0 58-16,1-2-43 0,-2 3 44 16,4-1-45-16,-3 0 45 0,1 1-32 0,2 0 38 0,0-2-47 15,-2 2 38-15,3-1-6 0,-2 1-7 0,3-1 39 16,0 1-20-16,0-2-1 0,2 0-13 0,-2 1-7 15,2-2-2-15,0 1-7 0,1 1-2 0,-2-3-2 16,2 3 9-16,2-2-11 0,-2 1 2 0,1 0 2 16,0 0 0-16,2-1-11 0,1 2 11 0,-2-2-2 15,2 1 0-15,2 0-3 0,-2 0 2 0,3 0 1 16,-2 0-5-16,1 0 2 0,3 0-1 0,-3 0-4 16,1-1 3-16,1 2-1 0,0-2 0 0,-1 1-2 15,-1-1 7-15,2 1-6 0,-2 0-35 0,3-2 41 16,-1 2-35-16,-2-1 41 0,1 0-36 0,0 1 42 0,2 0-36 15,-4-2 29-15,2-2-34 0,-1 3 36 0,-1-3-35 16,2 2 29-16,-1-2-20 0,0 2 30 0,3-1-36 16,0 1 35-16,-1-2-33 0,1 2 38 0,1-2-40 15,0 1 37-15,1-1-32 0,0 1-1 0,2-1 0 16,0-1 7-16,-1 2 0 0,4-2 7 0,-2 0-1 16,2 0-1-16,1 1-1 0,3 0 3 0,1-2-1 15,-1 1 1-15,2-1 5 0,1 0 1 0,0 0-8 16,0 0-3-16,3-2 1 0,-1 0 3 0,-3 1 0 15,4-1 1-15,-1-1 6 0,1 0-6 0,-1-1-3 16,2-1 6-16,-4 2-3 0,5-1 6 0,-4 0-5 16,3-2-2-16,-4 1 1 0,-1-1-1 0,6 0 3 15,-1-1-2-15,-1-1-2 0,0 1 6 0,1-2-9 16,1 1 3-16,-3 0-1 0,0-1 1 0,2 1 1 0,-1-1-3 16,-1-3 32-16,1 3-37 0,-2-2 35 15,2 2-34-15,-1-4 32 0,-1 3-30 0,1-1 29 0,-2-1-23 16,2 1 24-16,-2-1-36 0,0 0 34 0,-1-1-37 15,0 0 38-15,-1-1-33 0,0 0 44 16,-2 1-5-16,0-2-4 0,-3 2 11 0,0-4-1 0,2 3 5 16,-1-3 7-16,-4 3-3 0,-1-3 3 0,4 2-2 15,-4-3-5-15,-1 0-8 0,-2 0-2 16,1-2-4-16,-4 0 7 0,2-1 18 0,-2 0-11 0,-2-2-1 16,1-1-11-16,-2-1 1 0,-2 0-8 0,0-3 2 15,-1 1 8-15,-1-2 15 0,-2-1-16 0,0 1 18 16,-1-1-18-16,-1 0 6 0,-2 2-11 0,1 0 3 15,-3 0-15-15,0 0 8 0,0 1-16 0,-4 0 11 16,2 0-16-16,-1 1 12 0,-3 0-16 0,2 2 12 16,-1 1 1-16,1 0-9 0,-2 3 2 0,1-2-1 15,-3 0 0-15,3 4-3 0,-4-1 3 0,3 1-2 16,-3 1 0-16,0 0 1 0,0 1-1 0,2 0-8 16,-4 2-35-16,1 1-32 0,0-1-39 0,3 3-19 15,0 0-55-15,-2 0-53 0,3 3-52 0,-3-2-70 16,3 2-112-16,1 1-276 0,1 0-261 0</inkml:trace>
  <inkml:trace contextRef="#ctx0" brushRef="#br0" timeOffset="21915.28">11095 8090 111 0,'0'0'425'0,"0"0"-54"0,0 0-89 0,0 0-56 15,-11-4-14-15,11 4-6 0,0 0-18 16,-7-5-19-16,7 5-34 0,-2-7-35 0,2 7-21 0,-4-8-8 16,4 8-18-16,-3-6-8 0,3 6-12 0,-2-6-2 15,2 6-9-15,0 0-8 0,-4-7 4 0,4 7-8 16,0 0-5-16,-4-6 1 0,4 6-2 0,0 0-1 16,-9-5-1-16,9 5 5 0,0 0-6 0,-14 0-3 15,14 0-2-15,-11 2-3 0,3 0-1 0,8-2-2 16,-18 3 5-16,8 0-9 0,-3-1 1 0,0 2-4 15,-5 0-6-15,3 1 0 0,-3 0-13 0,-4 1 6 16,1 0 4-16,-2 1 0 0,0 0-3 0,1 0 9 16,-1-2 2-16,0 3 1 0,0-1 9 0,2-1-2 15,1 1-4-15,-2-1 6 0,3 1-3 0,0-2-2 0,4 1 0 16,-3-1 11-16,1 0-11 0,-1 1-4 0,3-2 3 16,0 1 6-16,-2-1-7 0,3 1-3 0,0-2-2 15,0 1 3-15,1 1-8 0,-1-1 5 16,2-1 3-16,0 1-3 0,1-2 3 0,1 2-3 0,0-1 8 15,0 0-12-15,1 0 4 0,-1 0 1 16,10-3 0-16,-15 4-1 0,15-4-3 0,-12 4 0 0,12-4-15 16,-14 5-5-16,14-5-9 0,-12 3 4 15,12-3-3-15,-14 5 4 0,14-5 13 0,-11 5-9 0,4-1-7 16,2-1-3-16,5-3 3 0,-14 6-12 0,14-6-23 16,-10 5-28-16,10-5-70 0,-13 5-153 0,13-5 204 15</inkml:trace>
  <inkml:trace contextRef="#ctx0" brushRef="#br0" timeOffset="23595.96">10997 11868 141 0,'-8'4'179'0,"0"-1"-41"15,0 0-17-15,0 1-19 0,-1 0-20 0,-1-2-12 16,-1 2-12-16,1-2-8 0,0 2-9 0,0-1-1 15,-2 0-5-15,2-1-6 0,-2 2 10 0,2-2-17 16,-2 1 2-16,1 0-5 0,0 1 3 0,-2-2-9 16,1 2 1-16,0-2-4 0,0 1 4 0,1-1 3 15,-2 3-1-15,1-3 1 0,0 2 9 0,0-2 13 0,2 2 1 16,-3-1-1-16,3 1 6 0,-2-1-1 0,1 0-7 16,-1 1-4-16,1-2-6 0,1 3-1 15,-1-2 3-15,0 1 4 0,1 1 1 0,-1-2 1 0,0 3-11 16,2 0 6-16,-1-1-12 0,0 1-1 15,-2 2-1-15,2-1-7 0,0 1 2 0,-2-1-1 16,3 3-22-16,-2 0 27 0,2 0-26 0,-3 1 32 16,2 1-28-16,-1 1 29 0,0 3-37 0,0-2 44 0,1 1-44 15,1 2 40-15,-3 0-4 0,4-1 26 0,1 2 0 16,-3 0 10-16,2 1-3 0,1-1-19 0,1 3 8 16,0-1-3-16,-2 1-5 0,2-1-9 0,1 0 14 15,-2 3-11-15,3 0-13 0,-2-1 3 0,2 2-4 16,-1-2-3-16,1 2 6 0,-1 1-3 0,2-2-3 15,1 1-5-15,-2 2-38 0,-1-2 47 0,4 0-35 16,-2 1 40-16,1-1-41 0,-1 0 61 0,2 1-68 16,-2 0 11-16,3 0 3 0,-2 1 39 0,-1-1-41 15,3-1 43-15,-1 3-39 0,-2-2 33 0,3-2-46 16,0 4 49-16,-2-2-41 0,0 0 42 0,0 2-11 0,2-1 0 16,-3 1-4-16,2-2-4 0,1 0 2 15,-2 2 1-15,0-1 1 0,1-1-48 0,0 1 46 16,-2-1-41-16,3 3 50 0,-1-2-44 0,-2 1 45 0,2 1-45 15,-2-2 44-15,2 0-44 0,-2 1 11 16,2 1 3-16,-1-1 3 0,-2 1 5 0,1-2-5 0,2 0 48 16,-3 1-49-16,3-2 45 0,-3 2-54 15,3-2 47-15,0-1-48 0,-2 2 62 0,2-2-31 0,-1 0 43 16,1 1-61-16,0-1 52 0,0 0-46 0,1-4 37 16,-2 0-29-16,2-1 24 0,0 2-47 0,-1-2 48 15,2 1-43-15,-1-1 41 0,0 1-40 0,2-1 47 16,-2-1-44-16,0 0 48 0,0 0-46 0,1 0 40 15,-1-1-37-15,1 0 40 0,-1-1-47 0,3 0 46 16,-3-2-31-16,1 1 39 0,2 0-41 0,-2 1 39 16,1-1-38-16,1-1-1 0,1 0 0 0,-2 1 3 15,2-2-2-15,2 0 4 0,0 0 5 0,-1 2 7 16,0-1-1-16,3 0-13 0,-1 0 3 0,-2 0 24 16,2 1-28-16,-1-1 16 0,1-1-28 0,0 3 33 15,2-2-34-15,-2 1 24 0,-1-2-26 0,3 1 31 16,-1-1-34-16,-2 1 31 0,3-1-4 0,0-1-2 15,0 0-3-15,-1-2-3 0,-1 2 1 0,2-2-5 16,-1 1 6-16,1-3-6 0,0 3 0 0,-2-3-1 16,1 1 1-16,0-1-5 0,-1-1-6 0,2 0 9 15,-2-2-1-15,-1 3 1 0,4-2-3 0,-2-2 7 16,-2 3-6-16,2-3 0 0,-3 0 1 0,3-1-8 0,-1 1 0 16,1 1 0-16,2-3 4 0,-1 1-17 0,-1-1 1 15,0 0-7-15,2 1-7 0,-10-3-10 16,15 2-17-16,-15-2-67 0,17 2 26 0,-17-2-43 0,15 0-37 15,-15 0-44-15,14-2-78 0,-5 0-345 16,-2-2-160-16</inkml:trace>
  <inkml:trace contextRef="#ctx0" brushRef="#br0" timeOffset="25378.65">11433 5572 27 0,'-3'-11'215'0,"-1"2"-9"15,3-1-50-15,0 2-34 0,-2-3-28 0,3 2-13 16,-3-2-7-16,2 2-22 0,1-2-10 0,-1 3-4 16,0-3-8-16,1 1 18 0,-2-1-7 0,2 3-4 15,-1-3-10-15,0 1-6 0,-3 2-5 0,3 0 0 16,-2-2-3-16,3 2-2 0,-4-1 0 0,2 2-8 16,-2-3 2-16,-1 4-3 0,0-3 0 0,-3 2 1 15,0 0-3-15,1-2 5 0,-2 3-6 0,-4-1 1 16,0 0 0-16,-2 0-1 0,-2-1-2 0,1 2 2 15,-4 1 6-15,0-3-4 0,-3 2-1 0,3 0 0 16,-2 0-1-16,-1 0 2 0,-1 2-2 0,-1-1 4 16,2 0-10-16,-1 1 7 0,0 0 0 0,-2-1 6 15,3 2 13-15,0 1-3 0,1-1 4 0,2 1 2 0,-1 0 5 16,1 1-3-16,-2-1-4 0,2 1-7 16,-2 1 0-16,2 0-2 0,-1 0 0 0,0 1-5 15,-2 1 0-15,3-1-10 0,-4 1-4 0,0 0 2 0,0 2-5 16,2-1-5-16,-3 1 1 0,1 1 6 0,3 0-1 15,-1 2-8-15,-1-2-6 0,0 2-44 0,0 0 34 16,2 2-1-16,-2-1-5 0,3-1 4 0,-2 4 3 16,2-1 5-16,-3 3 4 0,1-3 1 0,0 4 5 15,0 0 8-15,2 2-6 0,-2 0 6 0,3 0 2 16,-2 2 3-16,1 0 0 0,1 1-1 0,0 2 4 16,1 2 0-16,0-2 1 0,3 1-4 0,-2 2 4 15,3 0-1-15,0 0 3 0,0 1 1 0,4 1-2 16,-3 1 5-16,3-2 0 0,0 4-1 0,3 0-2 15,-1-1 3-15,2 3-1 0,1 0-25 0,-1 0 38 16,2 3-9-16,1-2-2 0,1 1 4 0,2 2-3 16,-2 0 1-16,2 1-6 0,0 0 2 0,2 0-1 15,-1 0 3-15,0 0-2 0,2 0 3 0,-2 0-2 16,2 2-2-16,0-2 0 0,1 0-4 0,0 6 7 16,1-2-23-16,2 0 29 0,-1-1-30 0,2 1 40 15,-1-1-39-15,1 0 38 0,1 0-39 0,2-1 51 16,0 2-19-16,-1-2 1 0,1 0-1 0,0 0-1 0,0 2 5 15,1-4-5-15,-1 2 4 0,2-4-4 16,-2 1-32-16,2 0 37 0,1 0-29 0,-1-2 43 16,1-6-26-16,2 6 37 0,-3-7-44 0,2 2 5 15,4 0 5-15,-5-2 6 0,6 1-1 0,-2-2 4 0,-1-1-2 16,2-1 0-16,1 3 32 0,-1-3-40 0,2 0 35 16,-2-1-27-16,2-2 36 0,0 0-34 15,-1 1 36-15,1-1-28 0,1-1 39 0,-2 1-44 0,2-3 34 16,1 1-47-16,0-1 32 0,0 0-41 0,0 0 36 15,0-1-29-15,1-3 43 0,-1 1-22 0,2-1 27 16,0 1-28-16,1-2 12 0,-2-1-34 16,0 0 26-16,-1-2-31 0,2 0 32 0,-2 0-36 0,0-2 30 15,1 2-31-15,0-2 28 0,0 1-33 0,1-2 34 16,-1 0-33-16,0 1 28 0,3-1-29 0,-3-2 28 16,3 1-19-16,-1-2 19 0,2 1-30 0,0-2 35 15,-1-1-32-15,1 1 31 0,3-1-26 0,-3-1 45 16,1 0-25-16,-1-1 23 0,2-1-21 0,-2 2 8 15,1-3-1-15,-1 1-7 0,-1-2 0 0,6 0 5 0,-1-2 5 16,0 0 11-16,0-1-4 0,0 0 0 16,-1-1 1-16,-1-1 6 0,2 1 0 0,0-2-4 15,6-3-2-15,-8 2 4 0,0-1 1 0,-1 2-3 16,0-3 40-16,1 0-7 0,-2-1-11 0,-1 1-19 0,-2-2 9 16,2 1-2-16,-4-2-5 0,1 2-9 0,1-1 29 15,-5-1 1-15,2-1-24 0,-2 0 9 16,-2-1-24-16,0 0 34 0,-1-1-8 0,1-1-3 0,-4-1-10 15,1-1-6-15,-2 0 1 0,-1-4 11 0,0 2-6 16,0-3-1-16,-1 0-2 0,-1 0 28 0,1-3-18 16,0 1 3-16,-2-1-11 0,0-1 14 0,1 1-18 15,-1-2 12-15,-2 2 12 0,-1 1-13 0,0-4-5 16,-2 3-5-16,1-1 13 0,-2 0 0 0,-2-1-3 16,2 4-9-16,-3-1-16 0,0 0 2 0,-2-6-4 15,1 2-23-15,0-3 13 0,-2-1-16 0,-1 0 16 16,-1-6-18-16,1 0 18 0,-3-3-16 0,0 0 15 15,0 0-14-15,0 0 30 0,-3 1 30 0,0-1 2 16,0 3-5-16,-2 0-5 0,-2-1-6 0,0 2-7 16,1 0 0-16,-6 2-18 0,2-2 11 0,-2 0-11 15,0 2 10-15,-3 0-18 0,-3-9 13 0,-1 1-16 16,0-1 9-16,-3-1-10 0,4 1 10 0,-5-1-12 16,1 0 8-16,-2 3 0 0,1-4-5 0,-1 5 3 0,-2-1-2 15,1 2-7-15,-4 1-5 0,2 1 15 16,-5 1-12-16,1 0 8 0,-4 2-9 0,-2 1 11 15,-3 2-17-15,-3 1-33 0,-2 2-8 0,-3 2-12 0,-4 1-44 16,-1 4-24-16,-4-1-36 0,-4 5-44 0,-2 3-44 16,-8 2-26-16,-1 4-47 0,-9 5-86 15,-3 2-74-15,-5 4-309 0,-4 2-328 0</inkml:trace>
  <inkml:trace contextRef="#ctx0" brushRef="#br0" timeOffset="34029.08">14010 7931 49 0,'0'0'116'0,"-5"-7"-22"0,5 7-19 16,-3-8-19-16,3 8-12 0,-3-7-8 0,3 7 1 15,-7-7-9-15,7 7 4 0,-3-5-4 0,3 5-8 16,-4-5-9-16,4 5 1 0,-8-4-2 0,8 4-2 15,-9-4-8-15,9 4 4 0,-15-2 4 0,15 2-11 16,-19 0 6-16,7 2 4 0,-1-1-2 0,1 0-6 16,-4 1 5-16,1 0 4 0,-2 0-8 0,-2 1-2 15,0-1 10-15,2 0-12 0,-2 1 8 0,0-1-4 16,-2 2 1-16,1-1-2 16,1 1 1-16,-3-1 3 0,-1 4-4 0,1-3 2 0,1 1 2 0,-2 1-1 15,0 1-2-15,1-1 1 0,-1 2 5 0,0 0-5 16,0 0-1-16,2 1 1 0,0-2 3 0,-1 4-5 15,1-3-1-15,1 3-1 0,-1 0 1 0,1 1 6 16,-3 1-1-16,2 2 2 0,1-1-1 0,-1 2-6 16,0 1 9-16,1 0-7 0,1 0 4 0,-2 2 3 15,4-1-26-15,0 1 27 0,1 2-18 0,-3-1 24 16,5 1-31-16,-4 2 32 0,4-1-29 0,-3 2 33 16,1 2-6-16,3-1-12 0,-6 5 12 0,6-3-7 0,-1 5-3 15,-3-1 3-15,5-4 0 0,-5 5 2 0,5-5-4 16,1 2 2-16,-2-1-2 0,3 1 0 15,-4-2-1-15,4 2 0 0,0-2 0 0,1 1-23 0,-2-2 31 16,4 3-30-16,-2-2 30 0,1 1-28 0,-1-2 12 16,3 2 3-16,-2-2 2 0,0 0 34 0,2 3-35 15,1-3 31-15,-3 3-30 0,3 0 29 16,0 0-34-16,1 1 30 0,0 0-1 0,-1 1-8 0,3 0-3 16,-3 0-1-16,1 2-1 0,0-2-4 0,0-1-2 15,0 2 3-15,0-1-1 0,2-4-3 0,-1 0-25 16,2-1 36-16,-4-1-32 0,4 2 33 0,-2-2-29 15,3-2 33-15,-2 3-32 0,-1-2 5 0,3 0 6 16,-3 1 0-16,2-1-1 0,1 0 32 0,-1 0-34 16,0 1 29-16,1 0-35 0,0 0 33 0,-2 1-34 15,4-1 29-15,-2 2 1 0,1-1-4 0,-1 1 1 16,1 0 4-16,0-1 9 0,1 1-4 0,-1-1-5 16,0 1 7-16,2 0 16 0,-2 0-36 0,-1-1 29 15,1 1-27-15,1 0 43 0,-1 0-38 0,-1-1 28 0,1 0-33 16,2 1-2-16,-3-1 0 0,0 1 0 15,0-1 3-15,1 3 22 0,0-3 1 0,-1 3-6 16,0-1 20-16,3 2-38 0,-2 1 28 0,2 0-35 0,-1 2 29 16,1-2 0-16,1-1 30 0,-2-2-37 15,2-3 22-15,0 1-35 0,2 0 25 0,-2-2-32 0,1 2 23 16,2-2-30-16,-2 0 40 0,2-2 7 0,-2 3 15 16,3-3-35-16,-1 1 21 0,-1-2-28 0,4 1 17 15,-1 0-30-15,-1 0-1 0,3-2-1 0,-2 0 2 16,0-1-1-16,3 1 7 0,-1-1-5 15,-2 0 0-15,5 3-2 0,0-2 1 0,0-1-2 0,-1 1 1 16,-1 0 0-16,-1-2 0 0,2 1-4 0,0 1 1 16,-3-2 22-16,1 1-27 0,2-1 28 0,-1 1-21 15,-2 0 46-15,3 0-22 0,-2-1 16 0,2 2-27 16,-2-2 15-16,1 1-25 0,2-1 17 0,-1 0-18 16,1-1 21-16,0 0-26 0,1 0 22 0,1-1-21 15,0-2-11-15,0 1 21 0,0-2 12 0,2 1-13 16,1-2 10-16,-1 0-13 0,0-1 0 0,2 0 3 15,1-1-2-15,-1-1-1 0,2 0-1 0,-3 0 1 16,3-2 2-16,2 1 2 0,-3-2 6 0,-1-1 3 16,2 0 10-16,-2-1-3 0,-2-2-5 0,3 1-1 0,-1-1 8 15,-2-1-7-15,4-1 19 0,-3 0-2 16,4-2-5-16,1 0-5 0,2-2 2 0,-2 0-11 16,-1-1 2-16,0 0-19 0,1 0 12 0,-1-3-2 0,-1 1-12 15,1 0 11-15,-1-1-19 0,1 0 19 0,-1-2-3 16,-1 0 0-16,1 0 3 0,-3 1-7 15,3-2 2-15,-2 1-3 0,1 0-1 0,-1 0 0 16,1 1 2-16,-1-1-4 0,-1 0 5 0,-1 1-2 0,1-1-1 16,2 1 0-16,-3 0-5 0,1 0 3 0,0 0-2 15,-1 0 5-15,1 0-7 0,-1-1 4 0,2 1 3 16,1 0-3-16,-4-2-2 0,2 2 1 0,-3-2 6 16,2 3-7-16,0-3 1 0,-4 3 3 0,3-4-6 15,-2 3 7-15,0-2-35 0,-1 1 37 0,2-3-23 16,-2 2 28-16,0 0-35 0,1-1 34 0,-3 0 1 15,-1 1 2-15,1-1-9 0,2-1-7 0,-3 0 10 16,0-3-4-16,1 0 2 0,0-1-3 0,-2-1 5 16,4 0-10-16,-1-4-7 0,0 0 11 0,1-2-10 15,0-1 8-15,-3 0-5 0,2-2 14 0,1 0-20 16,-4 0 15-16,2-1-2 0,-3 1 0 0,0-2-5 16,-2 2 5-16,2-2 4 0,-1 0-7 0,-3 0 9 15,3 2-8-15,-3-2-25 0,4 1 32 0,-3-1-26 0,1 3 29 16,-1-3-3-16,3 1-5 0,-3 0 0 0,2-1 3 15,1-1-3-15,1 0-6 0,-1-2 5 0,0-2-20 16,5-2 20-16,-4 0-6 0,3 0 10 16,-1 0-7-16,-2 0 8 0,1 6-8 0,-3-1 4 0,0-2 4 15,-1 3 14-15,2 0-3 0,-2-1-3 0,-1 1 2 16,-1 0-10-16,0 1-21 0,2-1 29 0,-4 4-10 16,3-5 4-16,0 4-1 0,-1 2 4 0,-1-4-10 15,2 4 2-15,-1-4-8 0,2 0 13 0,-3 4-13 16,2-4 9-16,-1-1-13 0,3-1 11 0,-2 0-6 15,1 0 6-15,-1-2-8 0,4-1 6 0,-5 3-7 16,2-1 12-16,-1-1-6 0,2 4 3 0,-2-2 3 16,-1 1-2-16,-1 2-2 0,0 3 28 0,1-1-8 15,-4 1-25-15,2 0 23 0,2 1-4 0,-4 0-5 16,3-2-4-16,-3 2 4 0,2-1-5 0,-2 2-1 16,-1-4-9-16,2 2 8 0,-1-2-10 0,-1 1 14 15,0-3-15-15,-1 2 11 0,-1-7-9 0,1 0 10 16,-2 2-8-16,1-2 3 0,-2 1-5 0,-1 0 10 0,1 1-15 15,-1 1 19-15,0-1-1 0,-3 2-1 0,2 1-1 16,-4 2 1-16,1-1-2 0,-4 3 0 16,3 0-2-16,-3 0 0 0,-1 2 0 0,-3 2 0 0,1 2 0 15,-2 1-25-15,-3 2-26 0,-2 1-39 0,4 5-35 16,-4 1-73-16,-3 3-28 0,0 2-82 0,-4 3-351 16,1 1-166-16</inkml:trace>
  <inkml:trace contextRef="#ctx0" brushRef="#br0" timeOffset="38735.42">15884 11940 233 0,'1'-6'231'0,"-1"6"-4"0,0 0-79 16,0-9 11-16,0 9-51 0,0 0 30 0,0-9-35 16,0 9 24-16,0 0-43 0,-3-6 8 0,3 6-46 0,0 0 17 15,-5-7-38-15,5 7 31 0,-7-4-28 0,7 4 14 16,-8-3-36-16,8 3 25 0,0 0-30 0,-13-3 24 15,13 3-30-15,-16 0 31 0,16 0-24 0,-22 0 20 16,10 0-16-16,1 1 27 0,-3-1-28 0,0 0 34 16,-1 0-31-16,2 0 16 0,-3 0-24 0,4 0 22 15,-5 2-26-15,4-2 23 0,-5 0-25 0,4 1 28 16,-5 0-32-16,5-1 22 0,-4 2-26 0,0-1 29 16,0 1-25-16,2 0 40 0,-3 0-30 0,1 0 19 15,1 0-25-15,1 1 22 0,-1 0-24 0,-1 1 28 16,3-1-30-16,-3 1 33 0,2 0-29 0,-3-1 18 15,3 2-22-15,0-1 32 0,-3 2-37 0,1-1 33 16,2 1-20-16,-1 1 11 0,-1 0-23 0,3-2 21 16,-2 2-22-16,2 1 31 0,-4 1-30 0,1 0 17 15,1 1-9-15,1-1-2 0,0 1 11 0,0 2-12 16,1-1 1-16,2 1 4 0,-3 1 0 0,2 0 7 16,1 0-5-16,-1 3 4 0,1-2-2 0,1 3 2 0,-4-1 1 15,3 1 7-15,-2 3 20 0,0 0-25 0,0 1 25 16,-1-1-33-16,2 0 22 0,1-2-27 15,1 2 26-15,0-1-20 0,-1 3 29 0,1-1-27 16,-1 1 36-16,1-2-27 0,2 1 18 0,0 3-24 0,-3 1 13 16,3-1-14-16,1 1 14 0,-4 2-19 15,4-3 22-15,0 4-23 0,-1 0 2 0,0 1 4 0,-1-2-7 16,0 2 6-16,2 0 3 0,-1 1-2 0,0 0-4 16,1 0 6-16,-2 1 3 0,4 1-7 0,-3-3 23 15,2 4-23-15,0-2-17 0,2 0 23 0,-2 2 13 16,2-2-18-16,-2 0 12 0,3 0-18 0,-4 1 17 15,3-1-16-15,-1 0 19 0,-2-1-25 0,2 0 20 16,0 0-16-16,1-1 1 0,-2 1-1 0,4-6 5 16,-2 2 5-16,2-1-6 0,2-2 5 0,-1 1-34 15,2 0 39-15,1 0-3 0,0-2 40 0,1-2 7 16,0 1-15-16,1-1-10 0,0-1-5 0,-1 0-6 16,2 1-1-16,1-1 0 0,0 0-3 0,-2-1-6 15,3 1 4-15,-2-1-5 0,2 1-1 0,0-2 0 0,-1 1 3 16,2-1-1-16,-2 0 0 0,0 1-6 15,0-2 3-15,0 1-3 0,0-2 4 0,-1 0 0 16,4 0-3-16,-2 1-2 0,1-2 7 0,-2 0-6 16,3 0-1-16,1 1 4 0,-3-1 1 0,2 0 5 0,1-1-9 15,-3 1 2-15,2 0 0 0,0 0 0 16,-2-1 2-16,1 2-1 0,-2-1 3 0,4-1-6 16,-5 0 1-16,3 2-1 0,-1-2-4 0,-1 1 1 0,1 0 4 15,2-1 3-15,-2 1-4 0,2-2 0 0,-2 3-11 16,3-1 12-16,-1 1 1 0,1-2-1 15,-2 2 7-15,2 0-7 0,2 0-5 0,-1 2 6 16,2 0 0-16,-1-2-5 0,1 2 3 0,-1 1 10 0,3-1-29 16,-1 0 1-16,-1 0 4 0,3 0 11 0,-1 1-10 15,1-2 9-15,0 4 1 0,0-3-9 0,0 1-8 16,0-2 13-16,4 4-18 0,-1-1 18 0,0-1-15 16,2-2 17-16,0 2-22 0,0 0 21 0,0-1-17 15,4 0 22-15,-2-1-19 0,2-1 21 0,-2 1-12 16,4-3 7-16,-1 2-11 0,0 0 25 0,2-2-17 15,-1 1 19-15,2-2-20 0,-3 1 20 0,5-1-18 16,-4 0 15-16,3-1-10 0,0 0 20 0,-1-1-23 16,1 1 21-16,0-3-10 0,2 2-3 0,-3-2-9 15,2-1 10-15,3 2-11 0,-1-3 16 0,3 0-14 16,-2-1 17-16,1 0-19 0,-1-1 14 0,-2-2-13 0,-1 1 15 16,-2-2-12-16,2 1 16 0,1-2-10 15,-1 0 0-15,-1 0-9 0,2-3 13 0,-2 0-16 16,0 0 15-16,1 0-30 0,-2-2 22 0,4-2-15 0,-2 2 16 15,2-3-17-15,-2 0 24 0,-1-1-21 16,2 0 18-16,-2-3-9 0,-1 2 4 0,0-3-14 16,1-1 16-16,-3 1-10 0,3-2 14 0,3-4-13 0,-2 0 14 15,-2-2-13-15,1 1 17 0,-1-1-20 0,-3-3 20 16,-2 5-16-16,0-1 13 0,2-4 0 16,-2-1-16-16,-2 2 0 0,-3 1 1 0,2 0 4 0,3-6 0 15,-7 4 2-15,4-1 2 0,-2-4 2 0,-2 4-4 16,2-7-1-16,-2 6-1 0,-1-6 20 0,3-1-24 15,-3 2 19-15,1-2-17 0,1 0 16 16,0-2-19-16,-3 1 14 0,4 1-16 0,-3-2 19 0,2 0-17 16,0 2 10-16,0-2-11 0,0 1 18 0,0 2-17 15,2-2 4-15,-4 2-2 0,4 1 1 0,-4-1 9 16,-1 4-8-16,2 0 1 0,-3 0-3 0,-1 0 1 16,-1 0 20-16,1 0-18 0,-1 0 23 0,-1-1-7 15,-1-1 19-15,-1 2-7 0,2-2-2 0,-1 1-11 16,0 0 7-16,2 0-10 0,-4-2 7 0,2 3-15 0,-1-1 10 15,2-1-9-15,-2 3 7 0,-2 4-11 16,0-1 3-16,0 0 44 0,-1 4-7 0,0-1-8 0,-2 1-1 16,1 2-12-16,-2-1-1 0,-1 1-6 15,1 0 1-15,1 1 43 0,-4-1-13 0,2 0-17 0,-1 0 7 16,1 1 4-16,0 1-11 0,-1-1 0 0,1 0-5 16,-2-1-2-16,1 1-6 0,1-2-5 0,0 1 3 15,0-1-5-15,0-1-12 0,0-1 13 0,0 1-16 16,0-1 18-16,0 2-25 0,0-1 26 0,-1-1-11 15,-3-1 12-15,3 0-15 0,-3-1 16 0,0-1-14 16,-1 1 15-16,-1 1-17 0,-1-1 16 0,-3-5 2 16,2 2-6-16,-1-2 1 0,-2 3-3 0,2-2 0 15,0 0 0-15,-1 1 2 0,0-3-19 0,-1 2 2 16,0 0 26-16,1 0-22 0,-1-2 18 0,0 2-2 16,-1-3-1-16,2 2 0 0,-2-1-4 0,-1 0 0 15,0 1-3-15,0 0 2 0,2 1 1 0,-3-1-2 16,2 2 3-16,-2-1-38 0,1-1-31 0,-2 2-18 15,-2-5-9-15,2 6-24 0,2-2-50 0,-3 2-30 16,2 3-10-16,-2-3-130 0,2 1-285 0,1 2-131 16</inkml:trace>
  <inkml:trace contextRef="#ctx0" brushRef="#br0" timeOffset="41061.69">18514 7882 21 0,'-4'-8'88'0,"0"-1"3"0,-1 2-9 0,1-1-13 16,-3 0-21-16,2 2-4 0,-2-3-7 0,1 3 7 16,-2 0-11-16,-1-1-8 0,0 1-6 0,0 0-2 15,-1 0-5-15,0 1-6 0,-2 2 4 0,1-1-5 16,-1 0-1-16,-3 1-3 0,2 0 2 0,-5 1 0 15,2 1-2-15,-2 1 1 0,0 0-1 0,-4 1 2 16,2 0-3-16,-1 0 1 0,-2 3 1 0,-2-1-3 16,-1 3 3-16,1-3 2 0,0 3-4 0,2 0 0 15,-2 1-3-15,-1 1 4 0,-2 2 4 0,0-1-8 16,2 1 1-16,-2 3 1 0,0-1 2 0,1 1-1 16,-1 0 3-16,0-1-1 0,0 2-7 0,3 1 5 15,-2-1 6-15,1 1-7 0,-2-1 2 0,1 3 0 0,2-1 0 16,-6 2-1-16,1 2 0 0,1-1 6 0,1 1-4 15,-1 2-1-15,1-1 0 0,1 0 5 16,2 2-26-16,-2 0 28 0,3-2-27 0,1 5 7 16,3-4 31-16,-1 4-34 0,0 1 35 0,3 2-27 0,-3 0 23 15,5 1 2-15,-1 2-6 0,-1 2 0 0,5-2 0 16,-3 3 1-16,3 1-7 0,1 1 1 0,-3-1 0 16,3 3-5-16,1-1 5 0,-2 2-35 0,2 0 45 15,-3 1-14-15,2 2 6 0,0-3 23 0,1 4-7 16,-4 1 19-16,5-1-34 0,-2 5 29 0,1-3-11 15,2 4-4-15,-2-3-1 0,3 3-3 0,-1-1 21 16,2 0-6-16,-2 0-33 0,2 1 24 0,2-3-31 16,-2 4 9-16,3-2 12 0,-2 1 23 0,1 1-38 15,-3 1 32-15,3-1-36 0,0 2 28 0,0 1 13 16,-2 0-33-16,1 0 28 0,1-2-35 0,0 2 27 0,0 0-32 16,1 0 43-16,-1 0 14 0,1 0-22 15,0 1-7-15,2 0 28 0,-1 0-15 0,0 2 13 16,1 1-30-16,-1-2 41 0,1 0-42 0,-1 1 26 0,-1-1-34 15,2 0 43-15,-2-1-35 0,3 0-2 0,-2 0 6 16,3 0-8-16,-2 2 20 0,-1 0 1 16,2 1 19-16,-2 9-32 0,2 0 24 0,-2-9-5 15,-1 7 4-15,1 1-30 0,-1-2 18 0,-3-8-24 0,1 8 4 16,2 0-28-16,-4 0 31 0,3 0-3 0,-2-11 22 16,-1 10-30-16,3-8 28 0,-2-1-20 0,0 0 19 15,3-1-26-15,-4 0 28 0,3 0-25 0,-1-2 36 16,-3 1-27-16,4-2-2 0,-2-1-1 0,1 2-4 15,1 0-1-15,-3-4-4 0,3 3 23 0,0-3-24 16,0 3 20-16,1-2-24 0,0-1 20 0,-2 0-23 16,5-1 18-16,-2 0-18 0,3-6 13 0,0 5-12 15,3-3 17-15,0 3-19 0,1-9-1 0,-1 1 5 16,2 4 2-16,-1-5 6 0,0 0-4 0,1-2 0 16,-1 1-6-16,1 1 20 0,-3 0-19 0,2-1 19 15,0 0-21-15,-2 0 20 0,1-1-23 0,0 1 18 16,-1-1-16-16,-2 1 15 0,1-2-17 0,1-5 18 15,-2 2-13-15,1-4 14 0,-1 3-19 0,0-2 21 16,1-1-20-16,2-1-4 0,-1-1 6 0,1 0 7 0,1-1-1 16,0-1-2-16,1-1 2 0,1 1-1 15,4-2 4-15,-1 2-5 0,0-2 5 0,1 1-3 16,1-2-2-16,0 1 0 0,2 2 19 0,-3-2-24 0,0 1 0 16,3-2 9-16,-4 1-1 0,3-1-7 0,-1 1 20 15,-2-2-20-15,3 1 18 0,-1-1-22 0,-2 1 16 16,4-2 1-16,-2 1-3 0,1-1-22 15,0 0 18-15,0-2-18 0,3 0 21 0,-2-1-18 0,0 0 2 16,2 0-9-16,-1-1 24 0,2-1-21 0,-1 1 19 16,0-2-22-16,1 1 28 0,-1-1-19 0,-2-2 12 15,1 1-14-15,-1-2 22 0,3 2-21 0,0-2 21 16,0 2-18-16,2-2 13 0,1 0-13 0,0 0 18 16,1-1-21-16,1 0 20 0,1 0-17 0,1-1 21 15,-1-1-20-15,2 1 17 0,2-1-18 0,-2-1 19 16,3-1-18-16,0 1 16 0,1-2-7 0,0-1 5 15,1 1-8-15,1-1 17 0,0-2-24 0,1 1 21 16,1-2-20-16,4 0 19 0,1 0-20 0,2-1 21 16,-2 0-22-16,3 0 17 0,0 0-18 0,-1-1 21 15,2 1-13-15,-2-1 5 0,-1 1-10 0,0 1 22 16,1-2-22-16,-2 1 17 0,-2-1-18 0,1 0 20 16,0 0-15-16,-3-1 14 0,2 0-20 0,-3-2 18 0,0 0-19 15,-2-1 24-15,2-2-8 0,-2-2 7 0,4-4-3 16,-2 0 19-16,0-4-8 0,1-2 8 15,-1 1-14-15,2-4 4 0,-3 0-3 0,4-3-6 16,-1 1-2-16,0-2 4 0,0-2-1 0,-1 2-5 0,-1-2 14 16,-1 1-21-16,-3-2 1 0,0 1 6 0,0-3 15 15,-5 1-3-15,0-1 12 0,0-1-14 0,-2-1 3 16,-3-2-12-16,-1-2 6 0,0-1-6 0,-3-1 5 16,0-1-4-16,2-4-2 0,-4 1-1 0,6-11-33 15,-2 0 39-15,1-2-2 0,0-4-1 0,4 0-6 16,-1-6 0-16,1 1-3 0,0-3-3 15,2-2 0-15,-1 3-31 0,1 0 46 0,-4 2-32 0,-1 2 34 16,-3 1-2-16,-2 3 0 0,1 2 12 0,-5 8-7 16,0 0-2-16,-1 2-4 0,-2 1 3 0,1-2-5 15,-1 3 1-15,-2 2 3 0,1-4-1 0,0 5-29 16,-3-3 32-16,2 1-27 0,-1-1 35 0,1-1-6 16,0 0-6-16,-1-4-1 0,4-2-6 0,-2-9-3 15,1-4 3-15,1 0-3 0,-1-1 5 0,2 0-2 0,-2 2-21 16,-1 1 28-16,0 1-5 0,-1 10-4 15,-1 0 3-15,-2 1-6 0,2-2-8 0,-2 2 11 16,1 2-19-16,-2-1 19 0,-3 1 0 0,1-1 0 16,1 2 0-16,-1 1-27 0,-1-1 2 0,2 2 39 0,-3 1-32 15,1-1 24-15,-1-1-3 0,-1 2-2 0,3-2-15 16,-6-2 16-16,4 3-9 0,-2-2 8 16,-1-1-9-16,2 0 8 0,-2 0 1 0,-1 2 3 0,4 0-5 15,-4 2 1-15,3-1-29 0,-2 3 40 0,-1 2-30 16,2-1 29-16,-1 3-3 0,-2 0-4 0,2 1 1 15,0 1-4-15,-2 0-6 0,-1 1 8 0,2 1-7 16,1-2 2-16,0 2-6 0,-1 0 5 0,0-2 2 16,0 0 5-16,2 0-1 0,-3 0-5 0,1 0 6 15,3 1-5-15,-1 4-4 0,-1 0-16 0,2 3 31 16,-1-2-5-16,-1-4-1 0,0 5 2 0,-2 1-6 16,1 2 1-16,-1-1-5 0,3 0 3 0,-4 3-4 15,2-4 2-15,-1 5-5 0,0-3 12 0,1 1-9 16,-1-1 5-16,0 0-4 0,-1 0 4 0,1 0-9 0,0 2 5 15,-1-1-1-15,1 1 12 0,0 0-10 16,-1 2 2-16,0-2-4 0,1 3 6 0,-4 1-7 16,3-1 3-16,-3 1 2 0,0 1-2 0,-1-1-6 15,0 1 6-15,3 2 3 0,-1 2-2 0,-2-3-1 0,2 3 3 16,0-1-11-16,0 1 4 0,-1-1 6 16,-1-2-6-16,0 1 7 0,0-1-19 0,0 0 7 15,0 2-7-15,0-2 3 0,-1 2 0 0,1-2 4 0,-3 2 2 16,4-2 8-16,-3 2-13 0,2 0 14 0,-3-1-12 15,0 1 8-15,0 0-7 0,0 1 7 0,-4 1-8 16,1-1 8-16,1 3-9 0,-3-1 14 16,-1 0-18-16,-1 2 15 0,-2 0-12 0,1 0 12 0,-3 1-15 15,-2 2-7-15,-1-2-21 0,-4 1 15 0,-1 1-19 16,-4 0 24-16,2 3-16 0,0-1 28 0,2 2-15 16,0 0 15-16,-2 3-17 0,2-1 16 0,0 1-72 15,-1 2-2-15,0 1-66 0,-1 2-24 0,1 0-57 16,0 1-217-16,-2 1 70 0</inkml:trace>
  <inkml:trace contextRef="#ctx0" brushRef="#br0" timeOffset="57669.47">13766 15480 161 0,'0'0'412'0,"0"0"-101"0,-1-7-22 0,1 7 8 16,0 0-31-16,-3-9-36 0,3 9-20 0,0 0-31 15,-1-7-25-15,1 7-38 0,0 0-23 0,0 0-20 16,-3-6-9-16,3 6-24 0,0 0-4 0,0 0-17 16,0 0 1-16,0 0-16 0,0 0 8 0,0 0-9 15,0 0 8-15,-2 6-8 0,2-6 33 0,0 15-2 16,1-6-1-16,-1 2-4 0,1 2 15 0,1 2 30 15,-1 2-11-15,2 0 19 0,-1 2-4 16,1 3-12-16,1 1-8 0,-1 0 4 0,1-1-1 0,4 3 0 16,-3-1-20-16,0 0-3 0,4-2 3 0,1 3-14 15,-2-3 18-15,1 0 8 0,1-2-5 0,2-1-23 16,-1 1 12-16,1-2-15 0,-1-2 9 0,2 0-12 0,2-1 3 16,-2-1-8-16,4-2 3 0,-2-1-6 15,3-2 2-15,-3-1-6 0,3-1 4 0,-1-3-3 16,-3 0 2-16,2-1-5 0,-3-1 8 0,0-2-12 15,2-2 11-15,-2 0-9 0,0 0 5 0,0-3-6 16,-1-1 6-16,0-1-10 0,-2 0 7 0,0-3-6 16,-1 1 6-16,-1-3-5 0,0 2 1 0,-1-3-4 15,1-1 0-15,-3 1-2 0,2-1 4 0,-4-1-3 0,2 0 3 16,-1 0 4-16,-1-1 2 0,-1 3 0 0,1-3-1 16,-2 0 1-16,-1-1-2 0,0 4 0 15,0-1 3-15,0-1 17 0,0 1-8 0,-1 0 5 0,0 2-2 16,-2-3 4-16,2 2-4 0,-2 1 1 0,1 0-6 15,-2 0 2-15,0 0-8 0,0 0 8 0,2 1-12 16,-2 0 10-16,1 2-15 0,-2-1 10 0,1 2-10 16,3 1 13-16,-4-1-12 0,4 2 8 0,-2 0-9 15,3 6 13-15,-4-10-19 0,4 10-48 0,-2-9-45 16,2 9-58-16,-3-7-85 0,3 7-26 0,0 0 22 16,-4-5-53-16,4 5-84 0,0 0-115 0,-7 6-250 15,7-6-259-15</inkml:trace>
  <inkml:trace contextRef="#ctx0" brushRef="#br0" timeOffset="60064.5">21860 17799 244 0,'0'0'346'16,"0"0"-46"-16,0 0-39 0,0 0-55 0,0 0-17 15,-2-7-28-15,2 7-23 0,0 0-24 0,0 0-15 0,0 0-16 16,0 0-18-16,0 0-18 0,0 0-9 0,0 0-12 16,0 0 27-16,0 0-2 0,0 0-15 0,0 0-4 15,13 3 1-15,-13-3 18 0,12 10-17 16,-6-4 13-16,1 1-10 0,0 4 1 0,1 0 35 0,1 1-11 16,1 3-7-16,-1 4 41 0,1-1-21 0,0 2-7 15,-1 0 11-15,2 2 4 0,-1 3-6 0,0 0-10 16,0 1 36-16,-1 1-10 0,0-2-19 0,0-2-17 15,1 2-3-15,-3-3 1 0,0-2-5 0,2 0-3 16,-1-2-9-16,-2-4-7 0,2 0-3 0,-3-2-5 16,3 0 1-16,-3-2 6 0,0 0 17 0,2-3-5 15,1-2-8-15,-1 1-6 0,2-4-5 0,0 0-6 16,-9-2 1-16,20-2-3 0,-11 0-5 0,4-4-2 16,-3 1 0-16,5-4-5 0,-4 0 1 0,0-2 5 15,2 0-8-15,0-2 4 0,-2-2-1 0,3 0-6 16,-2-1 6-16,-1-1-6 0,1 1 3 0,-1-2 1 15,2 1-1-15,-3-1-2 0,-1 0-2 0,3 0 5 16,-5 0-6-16,1 0 4 0,2 0-4 0,-3 0 2 16,-2 2 4-16,1 2-4 0,-2-2 2 0,0 2-2 0,1 0 7 15,-3 3-6-15,2 0 2 0,-2 1 0 16,0 2 2-16,1 0 2 0,-2 0-8 0,2 2-46 16,-3 6-74-16,2-11-89 0,-2 11-16 0,0 0 5 15,0 0-23-15,0 0-45 0,-11 5-103 0,4 3-452 0,-2 4-389 16</inkml:trace>
  <inkml:trace contextRef="#ctx0" brushRef="#br0" timeOffset="61388.49">18920 15520 30 0,'-1'9'241'16,"1"-9"-48"-16,10 5-13 0,-1-3-31 0,4 0-17 16,6 1-18-16,2-2-26 0,7 2-1 0,2-2-17 15,7 0-8-15,4 2-10 0,10-3 4 0,2 1-12 0,3-1 2 16,2 1-16-16,2-1 5 0,1 0-15 0,4 0 3 16,-1 1-8-16,0-1 5 0,0 1-9 0,2-1 6 15,-4 3-8-15,-2-2 5 0,-4 1-29 0,0 1 33 16,-2-1-11-16,-3 1 5 0,-4-2-8 0,-7 0 9 15,1 0-9-15,-4 0 5 0,-6-1-9 0,-1 1 9 16,-3-1-12-16,-3 0 12 0,-4 0-6 0,0 0 5 16,-6 0-14-16,3-1 17 0,-4 1-11 0,-1 0 15 15,0 0-21-15,-12 0-29 0,18 0-77 0,-18 0-93 16,16-1-260-16,-16 1 53 0</inkml:trace>
  <inkml:trace contextRef="#ctx0" brushRef="#br0" timeOffset="65181.08">21465 10655 178 0,'0'0'177'16,"0"0"-52"-16,-8 5 8 0,8-5 5 0,5 9-39 15,2-4-9-15,3 1 30 0,4 3-44 0,3 1 10 16,3 1-47-16,6 2 19 0,0 0-37 0,2 1 22 15,1 1-33-15,3 3 22 0,-7-4-27 0,2 0 23 16,1 1-7-16,-5 1 3 0,1-3-11 0,-4-1 1 16,-1 0-4-16,-1-1-1 0,-2-2-5 0,-3 0-2 15,-1-1 2-15,-2-2-3 0,0 1 1 0,-2-2 2 16,-2 0 4-16,2-2-6 0,-2 2 7 0,-6-5 0 16,8 6-5-16,-8-6 3 0,0 0-12 0,4 6-28 15,-4-6-58-15,0 0-76 0,0 0-249 0,-7 5 124 16</inkml:trace>
  <inkml:trace contextRef="#ctx0" brushRef="#br0" timeOffset="70518.14">10994 3864 19 0,'-2'-11'282'15,"2"11"-51"-15,-2-8-37 0,2 8-15 0,-1-11-25 0,1 11-6 16,0-10-8-16,0 10-16 0,-1-12 6 0,1 12 14 16,-2-8-44-16,2 8 13 0,-1-10-49 0,1 10 11 15,0-8-15-15,0 8-19 0,-1-9-1 0,1 9-9 16,-1-7-9-16,1 7 1 0,-3-6-8 0,3 6-3 16,0 0-12-16,-2-7 5 0,2 7-5 0,0 0-1 15,-5-6-7-15,5 6 4 0,0 0-1 0,-13 2-5 16,5 2 3-16,-2 1-1 0,-2 2 1 0,1 0 4 15,-3 3-1-15,1 2 1 0,-2 1-8 0,2 1-18 16,-1 1 36-16,2 0-27 0,2 3 23 0,-1-1-20 16,2 0 26-16,2-1-29 0,2-1 27 0,0 2-18 15,1-2 21-15,4-4-22 0,0 3 18 0,0-2-19 16,4-2 27-16,4 1-21 0,-2 0 23 0,4-1-20 16,2-4 21-16,1-1-27 0,1 1 35 0,2-2-6 15,2-3-3-15,-4-1-5 0,5-1-1 0,-2 0-26 16,2-2 24-16,-1-1 7 0,0-2-26 0,2 0 22 15,-3-5-24-15,2 0 24 0,-2-1-3 0,-1-1-4 16,0-1 7-16,-2-1-7 0,-3-2 11 0,2-1 0 16,-5 0-4-16,-2-1 6 0,-1 0-3 0,-2 0-4 15,-2 0-1-15,-2-1-5 0,-3-2-2 0,0 1-24 16,-2-1 28-16,-3 3-4 0,-3-1 40 0,1 2-13 16,-3 1-41-16,-3 1 32 0,-2 2-24 0,0 1 15 15,-3 3-26-15,-1 2 32 0,-1 3-29 0,1 0 15 16,0 4-21-16,-3 2 33 0,-1 4-33 0,1 0 36 0,-4 3-2 15,2 4-3-15,2 2-10 0,2 1 6 0,1 2-7 16,3 2 4-16,2 2-2 0,1 0-3 0,3 2 1 16,1 0 1-16,6-2 9 0,0 2-6 0,3-1-23 15,3 1 27-15,0-4-22 0,2 0 26 0,3 0-30 16,1 0 31-16,4-1-30 0,1-1 34 0,2-1-4 16,1-4-4-16,1 0-4 0,0-4 4 0,1-1 3 15,0-1-1-15,3-3-2 0,-5-2-3 0,4-1 17 16,-2-4 0-16,2 0 14 0,-3-5 2 0,2-2-4 15,-2-3-7-15,0-2-11 0,-2-2 4 0,-2-1-20 16,-2-3 25-16,-2 2-18 0,-2-1 8 0,1-1-12 16,-5 3 2-16,1 1-28 0,-1 1 5 0,-1 1-42 0,1 3-27 15,0 1-66-15,-1 1-90 0,0 3-62 16,-2 1-43-16,3 7-204 0,-3-9-58 0</inkml:trace>
  <inkml:trace contextRef="#ctx0" brushRef="#br0" timeOffset="72258.25">21175 9578 146 0,'2'-8'188'0,"-2"2"-7"0,0-1-68 0,0 0 10 0,0 1-36 16,-5-2 20-16,0 0-44 0,0 2 21 0,-3-1-43 15,-3 2 42-15,-3 1-43 0,0 0 23 0,-3 2-42 16,2 2 26-16,-4 2-36 0,-3 3 28 0,0 2-23 16,-5 6 15-16,-5 5-36 0,0 2 33 0,2 6-35 15,-1 2 21-15,0 4-37 0,-4 6 1 0,3 3 11 16,2 2-1-16,8-5-2 0,2 5 3 0,3-1 33 15,3 3-35-15,5 0 34 0,4 2-34 0,5 1 29 0,0 0-35 16,7-1 37-16,0 2-36 0,4 0 7 0,0-1 5 16,5 9 12-16,1 0-5 0,-1 0 0 15,2 1-2-15,1-1 2 0,-1 0 32 0,2 1-38 16,2-2 35-16,1 0-40 0,1-2 37 0,3-2-39 0,0 0 1 16,1-2 3-16,1-2 1 0,2 0-12 15,1-4 23-15,1 2-17 0,0-3 19 0,2-2-12 16,-2 1 12-16,3-1-1 0,-3-1 3 0,5-2-8 0,-4-1-2 15,0 0-5-15,-2-4-6 0,-1-3-11 0,1 1-6 16,0 0 2-16,1-1-4 0,0 0 2 0,-2-2 0 16,2 1-1-16,-1-2-7 0,0 0 9 0,0-1 3 15,-1-3 4-15,1 2 5 0,0-1-11 0,0-1 24 16,-2-1-16-16,2-1 25 0,0 1-15 0,-1-2 21 16,-2 1-3-16,2-2 30 0,-2 0-13 0,1 0 27 15,-5-4-17-15,6 4 22 0,-2 0-26 0,2 0 2 16,-2-1 4-16,3 1-2 0,0 1-13 0,3-2-1 15,-2 1-5-15,0 0 0 0,2 0-2 0,0 2-6 16,0-2 5-16,1 2-5 0,-2-2-4 0,3 1 18 16,-1 1-22-16,0-2-1 0,-2 0 1 0,2 0-1 15,-1-1-3-15,0 0-4 0,1 0 4 0,0-1 0 16,2 1-4-16,1-2-4 0,0 0 4 0,0 0-9 16,3-2 1-16,0 3-9 0,1-2 0 0,0-1-5 15,0-1-4-15,4 3 4 0,-2-3 5 0,2 0 4 16,-1-1 2-16,4 0 0 0,-1-1-12 0,-1 1 19 0,2-1 3 15,0-2 5-15,1 1 0 0,1-2-1 0,1 1 0 16,1-3 2-16,-1-2-2 0,2 1-3 0,1-1 7 16,-2-1 0-16,1-2-1 0,1-2-3 0,-2-2-9 15,-2-2-17-15,3 0-5 0,-2-1 3 0,-1-3 8 16,-2 0 4-16,0-2 7 0,-3 0 11 0,-1-1 18 16,-2-3 46-16,-2-2-46 0,-3 1 60 0,-3-2-47 15,1-1 39-15,-5-1-55 0,0-2 42 0,-2 0-44 16,-4-2 32-16,-1-3-38 0,-4 1 30 0,-1-3-43 15,-5 4 4-15,-2-2 2 0,-1 0-21 0,-3-3 0 16,-2-1-1-16,-1 1-28 0,-2-5-8 0,0 0 2 16,-4-4 10-16,-3-6-22 0,-1-2-15 0,-1-2 36 15,-2-4-76-15,-5-11-106 0,-3-3 75 0</inkml:trace>
  <inkml:trace contextRef="#ctx0" brushRef="#br0" timeOffset="75153">21135 9855 67 0,'-17'-1'134'0,"2"0"-16"0,0 1-26 16,1 0-20-16,0-2-10 0,0 2-4 0,2 0-12 15,-1 2-14-15,1-1-7 0,0-1-7 0,12 0-2 16,-18 3-2-16,18-3-6 0,-17 3 0 0,17-3-3 16,-13 5 4-16,6-1 40 0,1 1-1 0,1 0-4 15,0 1-8-15,1-1-9 0,1 3-10 0,-1-2 1 16,3 2 24-16,0 2-35 0,1 0 24 0,-2-1-35 15,2 3 32-15,-1 0-26 0,1 3 68 0,0 0-42 16,0 2 20-16,0 1-36 0,0 1 29 0,-1 1-4 16,0 4-7-16,-1-2 0 0,0 3-1 0,-1-1-5 15,3 1-7-15,-2 0-27 0,-2 0 35 0,0-1-14 16,3 2 49-16,-2-1-30 0,-1-2 18 0,2 1-28 16,-1 0 24-16,-1 1-34 0,2-4-3 0,-1 2 1 15,-3-2 5-15,3 1 59 0,1-3-11 0,-1-2-14 0,1 1-10 16,-1-2-10-16,1-1-3 0,0 1 0 0,1-4-12 15,0 0 3-15,1 0-3 0,0-2 16 0,2 0 44 16,1 0-9-16,2-2-7 0,1-1-14 0,3 1-5 16,3-1-8-16,1 0-4 0,3-1-3 15,0-1-8-15,1 0 4 0,5 0-4 0,2-1-7 0,0 0 5 16,2 1-5-16,1-2 4 0,1 1-6 0,2 1 4 16,3-3-16-16,0 2 16 0,4 0-4 0,-2 0-1 15,2 0 2-15,0-1-3 0,0 1-2 0,1 0 2 16,-2-1-1-16,2 2 7 0,-1-3-9 0,-1 2 7 15,1-1-9-15,-1 1 3 0,1 0-2 0,-4-1 0 16,-2 0 4-16,-2-1-1 0,-2 1 7 0,0 0-4 16,0 0-4-16,-3-1 1 0,2 0-1 0,-5 0 0 15,1-1 1-15,0 0 4 0,0 0-1 0,-2 0-4 16,1 0 3-16,0-1 14 0,-3 0-4 0,3 0-5 16,-1 0 1-16,-3-1-1 0,2 0-3 0,-2 0 0 15,0-1 17-15,-1 0-1 0,0-1-7 0,-2-1 4 16,3 0 3-16,-3 0-15 0,1-1 0 0,-2 0-4 15,4-1 2-15,-3 0-5 0,1 0 6 0,1-1-7 0,1 1 1 16,-3-1-25-16,6-2 31 0,-1 1-7 0,-3-2 32 16,3 2-33-16,1-2 31 0,-1 2-32 15,0-3 32-15,-1 2-1 0,2-2-1 0,-3 0-5 16,2 0 14-16,-1-1 21 0,-3 1-9 0,3-2-9 0,-5 0-8 16,2 1-7-16,-3-2-4 0,-2-1-3 0,0-1-13 15,-1 1 7-15,-2-1-10 0,-1 0 11 16,-3-2-14-16,2 0 18 0,-3-2-16 0,-1 0 21 15,1-5-14-15,-5 1 9 0,3-2-12 0,-5 1 18 0,3 0 19 16,-2 0-7-16,-1 0-4 0,0 1-3 0,-1 0-1 16,1 2-4-16,-1 0 5 0,0 1 0 0,-1 0-5 15,-2 2-5-15,0 1-2 0,2 1-9 0,-1 0 4 16,0 4-8-16,-2-1 11 0,2 1-14 0,1 2 13 16,-2-1-5-16,0 2 3 0,0-1-6 0,0 3-5 15,-2-1 3-15,0 1-3 0,-2 0 5 0,-1 0-2 16,0 3 0-16,-2-2-2 0,-1 0 1 0,-3 1-1 15,1 1 2-15,-1 1-1 0,0-2-2 0,-2 1 1 16,0 0 2-16,-2 1 0 0,1 1-2 0,0-1 0 16,1 1 5-16,1-1-2 0,-2 2-5 0,-3-1 4 15,7 1-2-15,-3 0 1 0,1-1 1 0,-4 0-3 16,1 0 2-16,-2 1 0 0,1-1-1 0,-1 1-2 16,-2 0 1-16,0-1 3 0,0 2-5 0,0-1 3 15,-5-1-2-15,-4 2 0 0,-2 0 2 0,1 1-4 16,-2-2-4-16,-1 2-28 0,2 0 8 0,-1 0 2 15,-1 0 5-15,0-1-7 0,2 1-4 0,-1 0 4 16,2-1 2-16,-1 2 6 0,2-1-9 0,0 1-3 16,5 1-6-16,0-1 4 0,2 0-14 0,-1 2-15 0,2-1-16 15,2 0-25-15,0 2-24 0,3-2-35 0,-1 3-37 16,4 0-27-16,4 1-57 0,0-1-96 0,5 1-143 16,1 1-26-16</inkml:trace>
  <inkml:trace contextRef="#ctx0" brushRef="#br0" timeOffset="76066.85">22720 10846 252 0,'4'-9'313'15,"-4"9"-78"-15,2-9 13 0,-2 9-50 16,4-6-11-16,-4 6-48 0,0 0-16 0,3-7-7 15,-3 7-21-15,0 0-19 0,-2-8-15 0,2 8-18 0,0 0-10 16,-6-6-11-16,6 6-4 0,-9-4-3 0,9 4-4 16,-13-3-5-16,13 3 0 0,-11-1-5 0,11 1 3 15,-14 0-4-15,14 0 24 0,-12 3-28 0,12-3 19 16,-18 5-20-16,11-2 15 0,-2 1-20 0,1 2 21 16,-1 0-24-16,0 1 25 0,1 4-25 0,1 0 27 15,-1 2-25-15,-1 3 20 0,3 2-24 0,-2 1 22 16,1 2-10-16,-1 2 68 0,1 5-26 15,2-1-1-15,-2 3-15 0,3 1 3 0,0-2 38 0,0 3-7 16,3-6-8-16,0 3 2 0,-1-2-23 0,2 2 23 16,0-4-11-16,0 3-13 0,0 0 1 0,2-3-2 15,-1 1-7-15,0-2-6 0,-1-1 1 0,3 1-5 16,-1-5 0-16,-2 1 2 0,3-2 0 0,-2-3-5 16,2 1 4-16,-2-2 1 0,1-2-1 0,0-1 10 15,0 0-20-15,-2-3-36 0,3 1-28 0,-1-4-78 16,-2-5-134-16,5 8-78 0,-5-8-314 0,0 0-176 15</inkml:trace>
  <inkml:trace contextRef="#ctx0" brushRef="#br0" timeOffset="76276.86">22745 10874 32 0,'14'-7'258'0,"4"2"-100"16,0 0-4-16,5 1-64 0,0-2 11 0,-1 3-47 15,1 2 13-15,-1 0-102 0,-1-1-79 0,-1 1-128 16,0 1 78-16</inkml:trace>
  <inkml:trace contextRef="#ctx0" brushRef="#br0" timeOffset="77168.07">13512 7183 146 0,'-18'-2'332'0,"4"-1"-33"16,1 0-37-16,4 2-38 0,-1-1-48 0,10 2-36 0,-15-1-19 16,15 1-30-16,0 0-14 0,0 0 7 0,6-6 2 15,8 6-32-15,10-1 28 0,8 0 2 16,18 1 1-16,13 1-19 0,19 0 15 0,8 1-14 0,6 2-9 15,9-1-3-15,25 4 8 0,1-2-9 0,2 1-12 16,-2 1 13-16,-2-2-27 0,-27 0 16 0,1 0-14 16,-4 0 3-16,-3-2-12 0,-6 1 3 0,-6-1-11 15,-6 0 3-15,-14 1-8 0,-8-3 7 0,-6 0-11 16,-8 0 7-16,-10 0-30 0,-4-1-11 0,-6 0-41 16,0 2-65-16,-2-2-69 0,-4 1-73 0,-4 0-29 15,0 0-352-15,-12-1-166 0</inkml:trace>
  <inkml:trace contextRef="#ctx0" brushRef="#br0" timeOffset="77796.11">17930 7310 47 0,'0'0'280'0,"-17"0"-45"0,17 0-21 15,-14 0-24-15,14 0-23 0,0 0-32 0,-15 0-32 16,15 0-23-16,0 0-12 0,-12 1-5 16,12-1 14-16,0 0-1 0,18 3-4 0,-2-2 0 0,9 0 6 15,10 1-14-15,13 2-6 0,6-1-3 0,7 3-15 16,11-2 12-16,6 2-20 0,0 0 21 0,3 0-16 15,4 1 7-15,1 1-8 0,0-2 10 0,1-1-16 16,-4 2 11-16,-2-3-6 0,-6 1-10 16,-12-1 6-16,-4-1-8 0,-7-1 4 0,-9-2 1 0,-3 1-2 15,-9-1 43-15,-2 0 25 0,-6 0-28 0,-3 0 9 16,-1 0-24-16,-4 0 0 0,0 0-31 0,-3 0-27 16,-12 0-69-16,14 0-84 0,-14 0-78 15,0 0-113-15,-12 5-391 0,2-2-249 0</inkml:trace>
  <inkml:trace contextRef="#ctx0" brushRef="#br0" timeOffset="79102.64">24431 11873 290 0,'0'0'267'0,"0"0"-32"0,0 0-61 0,10-4 11 15,-10 4-56-15,0 0-5 0,4-7-33 0,-4 7 14 16,0-7-42-16,0 7 12 0,-1-8-35 0,1 8 17 15,-3-8-37-15,3 8 20 0,-10-10-30 0,2 6 17 16,-1-2-30-16,-2-1 26 0,-2 2-31 0,-2-1 27 16,-2-1-30-16,1 3 33 0,-2-2-30 0,-4 1 22 0,-1 0-29 15,1 2 28-15,-3-1-30 0,3 2 29 16,-1 1-29-16,1 1 24 0,-1 1-22 0,-2 1 20 16,1 2-24-16,0 0 27 0,-1 3-27 0,2 1 28 15,-3 3-8-15,1 2 30 0,4 2-24 0,-2 2 20 0,4 1 4 16,1 4 14-16,2 1-26 0,0 2-3 15,4 2 0-15,1 2-3 0,2 4-22 0,-1 4 28 16,6-2-4-16,-1 0 1 0,5 4-4 0,0 0 21 16,1 4-32-16,5 1 18 0,0 0-18 0,3-3 23 0,1 0-9 15,3 0 17-15,2-2-20 0,3-1 23 0,-1-1 8 16,3-4 10-16,1 0-23 0,0-2-3 16,2-3-1-16,0-1 1 0,-1-4-4 0,1-2 11 0,3-4 3 15,-1-2 11-15,5 0-11 0,0-4-2 0,2 0 15 16,1-2-5-16,3-3-9 0,-3-1-8 0,5-3 0 15,-1-2-7-15,2-2 5 0,7-3-16 0,0-3 5 16,0-1-6-16,1-3-9 0,0-3 12 0,1 0-13 16,-2-3 32-16,5-6-4 0,0-1 14 0,-3-3-22 15,-2-2 18-15,-3-2-2 0,-8 3 38 0,-5-2-27 16,0-2 6-16,-5-3 7 0,-3 0 17 0,-5-1-9 16,-3-3-17-16,-5 2-1 0,-7 1-9 0,-3 0-9 15,-7-6-9-15,-6-1-4 0,-9-4-13 0,-8 2 11 16,-7 2-12-16,-5 4 6 0,-6 1-36 0,-6 4-57 15,-11 2-41-15,-3 5-51 0,-11 3-84 0,-5 3-53 16,-7 6-151-16,-3 3-307 0,-7 3-287 0</inkml:trace>
  <inkml:trace contextRef="#ctx0" brushRef="#br0" timeOffset="81222.14">21193 10824 227 0,'0'0'234'0,"0"0"8"0,-7-5-66 16,7 5 11-16,0 0-42 0,-5-5 1 0,5 5-47 0,0 0-9 16,0 0-19-16,-4-6-16 0,4 6-15 0,0 0-7 15,0 0-10-15,0 0-7 0,4-6-8 0,-4 6 1 16,0 0-5-16,0 0-5 0,10 1 5 0,-10-1-7 15,8 5-2-15,-8-5 45 0,13 9-32 0,-7-4 22 16,1 2-31-16,-1 2 25 0,4-1-30 0,-1 4 25 16,3 1-28-16,3-1 29 0,-1 3-4 0,3 1 25 15,1 0-35-15,3 3 24 0,0-3-29 0,-1 2 25 16,5 0-26-16,-1 0 40 0,4 3-27 0,-4-3 20 16,4 2-29-16,2 0 25 0,-2 0-31 0,0 0 26 15,0 0-15-15,1 1 33 0,1-1-35 0,-1 0 5 0,2 3-2 16,0-2 0-16,-1-1 18 0,0 2-26 15,0-1 28-15,2 1-36 0,-1-2 32 0,2 2-2 16,-1-1 2-16,0 0 0 0,1 0-6 0,2-2 0 16,-3 0-3-16,0-1-11 0,1-1 5 0,-3 0-3 0,-1-3-4 15,-1 0 2-15,-3 1 14 0,4-1-22 0,-3 0 20 16,1-2-24-16,1 2 16 0,-1-1-15 0,0 0 14 16,1 0-12-16,-2-2 10 0,1 2-11 0,1-1 11 15,-3-1-19-15,3 1 25 0,-2-2-23 0,1 2 0 16,-6-4 18-16,2 2-14 0,4 1 1 0,-4-3 1 15,0 0 3-15,0 2 0 0,0-3 0 0,1 3 2 16,1-3-1-16,-2 1-1 0,1 0 1 0,0-1-2 16,1 0 15-16,-1-1-18 0,2 0 17 0,-1 0-16 15,1-1-1-15,-1 0-1 0,3-1 17 0,-1 1-15 16,-1-1 15-16,3-2-7 0,-1 2 12 0,-1-2-12 16,0 1-4-16,2-2 2 0,-1 0-1 0,-1-1-1 15,1 0 0-15,-2 0 0 0,1-1 7 0,-2-2-6 16,2 2 6-16,-3-2 8 0,2 0-1 0,-4 1 7 15,-2-2 24-15,0 1-10 0,-1-2-2 0,0 0-6 16,-3 0-10-16,2-1 1 0,-1 0-3 0,-2 2 30 16,0-3 9-16,-2 0-8 0,-1 1-12 0,0-2-5 15,0 0-7-15,-2 0-3 0,2-2 0 0,-3 1-5 16,-3-3-9-16,4 0 1 0,-5 0-2 0,0-1-2 16,-1-3 2-16,0 1-1 0,-1 0 0 0,-3-2-3 15,1 0-2-15,-2-1-8 0,0 0-16 0,-1 0 29 16,0-1-26-16,-2 0 33 0,1-1-23 0,-1-1 31 15,-1 1-35-15,1 0 19 0,-3-2 7 0,2 2 10 0,0-2-4 16,-2 1-1-16,2 2-5 0,-4-2 3 0,4 0-7 16,-1 2 1-16,-1-1-3 0,-2-1-11 15,3 2 12-15,-2 0-12 0,-1 0 22 0,-1 1-21 16,2 0 15-16,-2 0-15 0,0 0 11 0,-3 1-8 0,2-1 8 16,-3 0-12-16,-2-1 13 0,0-1-17 0,0 1 18 15,-3 1-11-15,0 1 13 0,4 2-10 0,-2-1 12 16,2 3-4-16,-2 0 1 0,0-2-6 0,1 2 7 15,-1 1-4-15,2-1 0 0,-2 2-2 0,1 0-2 16,0-1 3-16,0 3-3 0,0-2-9 0,2 3 13 16,0-2-2-16,0 3 1 0,0-3-1 0,-1 3 3 15,1-1-4-15,0 0-1 0,-2 0 1 0,-1-1 3 16,0 1-2-16,-1-2-2 0,1 3 1 0,-2-2-19 16,3 0 24-16,-1 0-21 0,-1 0 25 0,4 1-28 15,-3 0 21-15,3 0-21 0,-1-1 20 0,2 2 6 16,0-3-4-16,-2 2-2 0,2-2 5 0,-1 1-6 15,1-1 2-15,-1 0-4 0,4 0 7 0,-3 1-6 16,1-2-1-16,1 0 1 0,-3 1-4 0,3-5 0 16,1 4-9-16,-2-1 11 0,3-1-7 0,-1-3 10 15,0 3-16-15,2 0 20 0,-1-4-15 0,1 2 15 16,-2-2-12-16,3 0 11 0,-1-1-23 0,0-1 19 16,2-1-16-16,-2 0 24 0,2 1-19 0,-1 0 13 15,0-2-14-15,-1 2 17 0,2-1-4 0,-3 0-1 16,0 0 2-16,-1 0-5 0,-3-3 1 0,0 0-1 15,-1-1 4-15,-3 2 0 0,-1-2-2 0,-3-2-10 16,-2 1 23-16,-2 1-5 0,2 0-1 0,-5 0-3 16,0 1 0-16,0 0 0 0,-3 0-4 0,-3 1 0 0,-1 0 0 15,-3 1 2-15,0 1-9 0,-3 1 11 0,-4 0-13 16,-7-3 13-16,-3 2-12 0,-2 1 0 16,1 1-15-16,-4 0 7 0,0 2-17 0,-1 0-5 15,-2 3-7-15,11 3-24 0,-3 0 16 0,1 1-28 0,-1 1 9 16,3 1-22-16,-1 1-5 0,2 0-25 0,4 1 9 15,5 2-32-15,5 1-1 0,1 1-25 16,7 0-23-16,-1 1-26 0,7 0-206 0,3 1 104 0</inkml:trace>
  <inkml:trace contextRef="#ctx0" brushRef="#br0" timeOffset="-209406.59">10728 15625 292 0,'-3'-13'326'0,"-1"1"-51"16,1 0 4-16,1 1-20 0,-1 2-17 0,2 0-31 16,-2 1-25-16,2 2-47 0,1 6-28 0,-1-12-34 15,1 12 20-15,0 0 38 0,0 0-7 0,0 0-1 16,0 0 37-16,2 14 12 0,1-3-25 0,-2 1-19 0,3 4-14 16,-3 0-21-16,3 1-23 0,-1 0-14 0,-1 1-12 15,2-2-12-15,0 2-6 0,-2 0-5 16,2-1-3-16,-1-2-7 0,-1 2-3 0,0-4 1 15,-1-2 2-15,0 0-5 0,2-1 6 0,-2-1-4 16,-1-1 7-16,1-2 5 0,-1-6 56 0,3 10-32 0,-3-10 5 16,0 0-18-16,0 0-4 0,1-6-10 0,0-3 2 15,1-3-11-15,-1-4-9 0,3-6-37 0,-2-2-5 16,2-2 8-16,1-5-9 0,0 0 12 0,2 2-1 16,-1 6 6-16,-1-1 2 0,-1 3 7 15,1 3 0-15,-1 3-3 0,1 0-7 0,-2 4 4 0,-1 3-2 16,3 2 14-16,-5 6-9 0,11-5 8 0,-11 5-7 15,9 6 9-15,-4 0-5 0,2 2 8 0,-2 3-9 16,2 3 12-16,-1 0-8 0,-1 0 5 0,3 1-3 16,-3 0 7-16,0 1-8 0,2-2 1 0,-2 1 9 15,2-3-8-15,-4-2 2 0,1 1 11 0,0-3-7 16,-2 1 35-16,1-2 45 0,-1-1 27 0,-2-6 50 16,7 9-57-16,-7-9-6 0,0 0-36 0,14-3 2 0,-8-3-24 15,1-1 10-15,0-5-26 0,2 0 9 16,0-4-25-16,4 1 11 0,-3 0-11 0,-1 0 15 15,0 2-21-15,1 2 11 0,-3 0-14 0,-1 1 12 16,-1 3-20-16,3 0 9 0,-5 0-14 0,1 2 13 0,-4 5-10 16,8-5 12-16,-8 5-6 0,0 0 10 0,9 4-10 15,-9-4 19-15,6 10-18 0,-6-2 12 16,2 1-11-16,-1 1 16 0,0 1-12 0,-1 1 11 0,0 1-14 16,0 0 1-16,0-1-49 0,0 3-10 0,1-2-75 15,1 1-2-15,-2-1-44 0,1 2-4 0,0-3-12 16,2 0-22-16,-2 0 18 0,3 0-23 0,-1-2-12 15,-1-2 7-15,2-1-55 0,3-2-69 0,-7-5-284 16,17 0-150-16</inkml:trace>
  <inkml:trace contextRef="#ctx0" brushRef="#br0" timeOffset="-209225.58">11416 15561 287 0,'10'-10'510'0,"-1"1"-116"16,-1 3-112-16,-2 0-54 0,-1 2-13 0,-5 4-3 15,0 0-17-15,0 0-56 0,0 0 5 0,0 0-13 0,-5 9-24 16,-1-1-16-16,-4 1-24 0,1 2-14 15,-2-1-7-15,0 3-9 0,-2 1-4 0,0-1-6 16,2 1-7-16,-1 1-7 0,1-1 3 0,-1 0-2 16,3-1-32-16,-1-1-31 0,1-2-33 0,3 1-59 0,-2-2-54 15,2-2-4-15,1-1 24 0,1-1-69 16,4-5-56-16,-8 3-281 0,8-3-95 0</inkml:trace>
  <inkml:trace contextRef="#ctx0" brushRef="#br0" timeOffset="-209056.75">11300 15633 201 0,'2'-7'471'0,"2"4"-111"0,-4 3-75 15,5-9-73-15,-5 9-51 0,4-5-35 0,-4 5-26 16,0 0 47-16,0 0-19 0,14 3-21 0,-9 1-28 16,0 2-15-16,2-1-12 0,0 4-10 0,0-2-14 15,-1 2 4-15,1 1-4 0,-1 3-7 0,1-3 1 16,1 1-3-16,-3-1-45 0,2 2-34 0,0-3-16 16,-2 0-53-16,1-1-36 0,-1-1 9 0,-1-1 37 15,-4-6-11-15,7 7-35 0,-7-7-60 0,0 0 0 16,17-5-158-16,-11-2 158 0</inkml:trace>
  <inkml:trace contextRef="#ctx0" brushRef="#br0" timeOffset="-208797.75">11549 15641 301 0,'10'-14'289'0,"0"5"6"0,-1-1-42 16,0 3-52-16,0 1-48 0,0 1 0 0,0 3 6 15,-9 2-5-15,20 1 10 0,-9 3-39 0,-2 1-16 16,1 2-25-16,-1 2 25 0,-1 1-10 0,-2 0-21 16,3 0-18-16,-3 1-6 0,-2-3-11 0,1 4-9 15,-1-4-5-15,1 1-10 0,-2-1-13 0,0 0 9 16,0-2 20-16,-3-6 68 0,5 11 60 0,-5-11 70 0,4 7-5 15,-4-7-41-15,0 0-46 0,14 1-26 16,-14-1-21-16,10-6-13 0,-2 2-28 0,-2 0-2 16,3-1-20-16,-1 1 1 0,0 0-18 0,-8 4 5 0,11-6-18 15,-11 6 6-15,12-3-9 0,-12 3 10 0,11 3-10 16,-11-3 2-16,9 9-35 0,-7-2 1 0,1 3-27 16,-3 0-25-16,0 1-27 0,0 3-11 0,-4 1-54 15,-2 2-2-15,1 2-17 0,-4 2-95 0,-6 4-5 16,-6 4-41-16,-2 0-43 0,-5-2-337 0,-5 2-225 15</inkml:trace>
  <inkml:trace contextRef="#ctx0" brushRef="#br0" timeOffset="-208639.74">11075 16251 285 0,'-54'7'395'15,"-1"-4"-96"-15,3-2-3 0,2 0-44 0,6-2 28 16,6 0-7-16,6 0 16 0,4 0 19 0,4-2-39 16,4 0-56-16,5-2-44 0,7 0-37 0,8 5-31 15,3-9-16-15,7 4-17 0,8-1-17 0,9 1-5 16,8-1-2-16,3 1-13 0,9 3-1 0,2 1-35 15,2 1-46-15,-1 1-39 0,-3 0-31 0,1 4-39 16,-4 1-54-16,-7-1-89 0,-5 2-95 0,-1 0-416 16,-8-1-345-16</inkml:trace>
  <inkml:trace contextRef="#ctx0" brushRef="#br0" timeOffset="-208473.11">10911 16392 497 0,'-28'2'495'0,"4"2"-35"16,3-1-54-16,2-3-57 0,6 0-82 0,3 0-63 0,10 0-42 15,-13-6-29-15,13 6-32 0,4-4-11 0,5 0-15 16,4 2-12-16,7-2-10 0,3-1-6 0,11 2-11 16,4-1-15-16,3 1 10 0,9 0-11 0,1 1-10 15,1-1-38-15,3 1-49 0,1 1-45 0,-2-2-71 16,4 1-105-16,-2-1-102 0,-1-2-362 0,1-3-277 16</inkml:trace>
  <inkml:trace contextRef="#ctx0" brushRef="#br0" timeOffset="-206807.89">15526 15348 265 0,'0'0'259'0,"5"4"-22"15,-5-4-19-15,3 16 35 0,-2-5-26 0,3 1-45 16,-2 4-15-16,1-1-2 0,-2 2-28 0,3 1-23 0,-1 0-17 16,-1 0-20-16,2-1 18 0,-1 0 1 0,-1-2-12 15,2 1-15-15,0-4-15 0,-2 0-9 16,-1-1-8-16,2-2 16 0,-2 0 37 0,1-2 30 0,0-1 40 15,-2 1 39-15,0-7 2 0,3 9-42 0,-3-9-30 16,0 0-23-16,0 0-28 0,0 0-13 0,2-11-9 16,0 1-14-16,0-2-12 0,2-1 0 0,2-3-17 15,-2-1-32-15,4-2 0 0,0 3 9 0,-2 0-6 16,2 1 5-16,-1 2-1 0,-3 3 0 0,1 0-18 16,-1 2 13-16,4 0-1 0,-8 8 9 0,10-5-7 15,-10 5 9-15,10 3-2 0,-3 0 2 0,-1 4-1 16,-1 0 5-16,0 0-5 0,0 1-2 0,-1 2 6 15,1-1-3-15,2 1 2 0,-5 0 3 0,3-1-3 16,-1 0-1-16,0-1 5 0,-1-1 2 0,-1-1 1 16,1-1 7-16,-3-5 16 0,5 10 52 0,-5-10 39 15,3 7-10-15,-3-7-19 0,0 0-22 0,12-1 8 16,-5-4-32-16,1 0 7 0,0-2-22 0,1-1 5 16,4-1-24-16,-3 0 12 0,0 0-18 0,3-1 14 0,-3 3-18 15,-2 1 11-15,0-1-19 0,-1 4 7 16,1-3-10-16,-8 6 17 0,14-2-16 0,-14 2 25 15,14 4-18-15,-8 0 18 0,2 0-14 0,-4 4 10 0,4 1-14 16,-3 0 24-16,-1 1-20 0,1 3 13 0,-1 1-15 16,1 0 19-16,0 1-37 0,-2-1-22 15,3 0-41-15,-3 1-15 0,4-1 10 0,-2-1-33 0,4 0-33 16,-1-1-13-16,-2 2 0 0,3-4 13 0,1-1 16 16,-1-1 14-16,1-2 9 0,3-2 2 0,-1-2-13 15,2-2-24-15,0-2 7 0,2-3 0 16,2-2 9-16,3-3 39 0,-3 0 0 0,2-3 43 0,-1 2 26 15,-2-2 92-15,-2 4 12 0,-1-2 29 0,-1 4 10 16,-3-2 14-16,-1 4-25 0,1-2-23 0,-3 3-23 16,-1 0-10-16,-6 4-8 0,0 0-2 0,0 0 9 15,0 0-9-15,0 0-5 0,-11 7-6 0,3-1-6 16,0-1-7-16,1 2-1 0,-1 1-2 0,-2 0-1 16,0 0-24-16,-1 1-43 0,1-1-43 0,1-1-40 15,0 3-43-15,2-3-55 0,0-1-49 0,-1 0-50 16,2-1-14-16,6-5-175 0,-11 4-27 0</inkml:trace>
  <inkml:trace contextRef="#ctx0" brushRef="#br0" timeOffset="-206647.72">16164 15604 297 0,'0'0'377'0,"2"-7"-85"16,-2 7-7-16,0 0-62 0,0 0-26 16,13 0-25-16,-13 0-36 0,10 7-31 0,-3-3-15 0,-1 2-13 15,1 2-17-15,1-1-11 0,-1 1-6 0,-1 2-7 16,3-1-8-16,-1 2-20 0,-2-2-58 0,2 0-69 15,-2-2-41-15,1 1-52 0,0-2-15 16,-3 1-19-16,4-2-214 0,-8-5 60 0</inkml:trace>
  <inkml:trace contextRef="#ctx0" brushRef="#br0" timeOffset="-206447.72">16472 15661 153 0,'13'-2'336'16,"-1"1"-68"-16,1 1-9 0,1 1-41 0,-1 1-8 15,-3 0-39-15,4 4-8 0,-2 0-26 0,-3-1-33 16,-2 2-13-16,0 1-15 0,-2-1 5 0,-4 0-8 15,0 0-17-15,1-1-7 0,-2-6-1 0,-3 12 8 16,3-12 16-16,-1 10 21 0,1-10 37 0,-3 8 27 16,3-8-33-16,0 0-23 0,0 0-21 0,0 0-18 15,0 0-12-15,0 0-9 0,11-5-10 0,-3 2-3 16,0-2-7-16,1 2-5 0,4-2-53 0,-2 0-32 16,1-1-45-16,2 2-61 0,-4 1-81 0,4-1-73 15,-2 0-140-15,-1 1-196 0,-1 1-175 0</inkml:trace>
  <inkml:trace contextRef="#ctx0" brushRef="#br0" timeOffset="-205533.78">21903 13350 340 0,'0'0'373'0,"0"0"-110"0,0 0 60 16,0 0-26-16,3 8-56 0,-1 0-45 0,5 2-16 15,-4 3-6-15,3 0-47 0,0 3-15 0,-1-1-32 16,-1 1-4-16,2 0-22 0,-2 0-1 0,-1 0-7 15,1-1-11-15,-2 0-3 0,-2-3-6 0,3-1-10 16,-1 0 3-16,0-2 42 0,-1-2 68 0,0 0 53 16,-1-7 58-16,0 11-32 0,0-11-42 0,0 0-34 15,0 0-23-15,0 0-23 0,-4-5-22 0,4 5-12 16,0-13-13-16,2 5-16 0,0-3 5 0,6-2-28 16,-2 0-7-16,3-3-18 0,4 0-32 0,2-1-37 15,1-1-44-15,5-2-40 0,5-2-14 0,2 1-21 16,1 1-25-16,2-1 0 0,0 1-27 0,1 2 29 0,-4 3 5 15,-1 1 52-15,1 2 17 0,-4 0 33 0,0 3 34 16,-2 3 30-16,-5 2 21 0,1 0 36 16,-4 3 53-16,1 0 14 0,-3 2 58 0,0 3-17 0,-3-1 5 15,0 2 49-15,0 1-35 0,-4 1 31 0,-2 1-29 16,-1 1-9-16,-3 0-32 0,0 1-3 0,-3-1-32 16,-1 5 11-16,-3-2-24 0,2 0 9 0,-1 1-18 15,-2-1 9-15,1 2-16 0,0-3 1 0,-1 0-72 16,2 0-18-16,-3-1-57 0,1-1-53 0,3-3-2 15,-2 1-59-15,1-2-29 0,-1-1-2 0,8-4-311 16,-12 0-98-16</inkml:trace>
  <inkml:trace contextRef="#ctx0" brushRef="#br0" timeOffset="-205369.78">22348 13393 503 0,'-1'-7'391'0,"1"7"-114"0,0 0-51 16,0 0-35-16,2-6 33 0,-2 6-22 0,8 3-38 15,-8-3-27-15,13 8-23 0,-3-3-14 0,0 3-27 16,0 0-5-16,3 1-24 0,0 0 3 0,1 1-12 0,-3 0 1 15,2 1-17-15,1-3-57 0,-1 2-25 0,0-2-72 16,0 1-14-16,-1-3-56 0,0 1-3 16,-2-2-5-16,2-3 4 0,-2-1-72 0,0-2-146 15,2-1 105-15</inkml:trace>
  <inkml:trace contextRef="#ctx0" brushRef="#br0" timeOffset="-205156.77">22689 13438 10 0,'9'-8'415'16,"0"0"-36"-16,-4 4-64 0,3-2-49 0,-2 2-89 15,-6 4-14-15,11-3-11 0,-11 3-8 0,11 5-5 16,-6 0 14-16,-1 2-35 0,-2 2-31 0,1 0-2 15,0 1-22-15,-3 2-7 0,1-2-15 0,-1 1-1 16,0 0-10-16,-1-1-4 0,1-2-4 0,0-1-3 16,0 1 28-16,-2-1 107 0,2-7 76 0,2 9 27 15,-2-9-52-15,0 0-40 0,10 2-39 0,-4-4-22 16,3-4-28-16,3-1-6 0,3-1-28 0,2-2-1 16,2-1-17-16,1 0-1 0,1 0-12 0,-1 1 3 15,0 0-15-15,0 2-33 0,-4 2-32 0,0 1-34 16,0 3-44-16,-3 1-8 0,1 1-55 0,-2 2-25 15,-3 3-39-15,-2 1-96 0,0 3-58 0,-5 1-364 0,1 2-311 16</inkml:trace>
  <inkml:trace contextRef="#ctx0" brushRef="#br0" timeOffset="-203833">18729 18391 233 0,'0'0'156'0,"0"0"-15"0,0 0-59 16,0 0 4-16,0 0-53 0,0 0 27 0,-4-6-49 15,4 6 24-15,0 0-46 0,0-8 32 0,0 8-37 16,1-5 34-16,-1 5-37 0,1-9 35 0,-1 9-36 15,4-9 30-15,-4 9-13 0,3-10 51 0,-3 10-16 16,2-12 56-16,-2 12-30 0,5-11 43 0,-3 5-46 16,-2 6 38-16,2-11-12 0,-2 11 41 0,0-9-44 15,0 9 8-15,3-9-44 0,-3 9-11 0,0 0-24 16,1-7 19-16,-1 7-36 0,0 0 23 0,0 0-22 16,3 6 56-16,-3-6-11 0,3 11 12 0,0-5-28 15,0 2 20-15,1 1-25 0,-2 1 1 0,3-1-1 16,-1 2 38-16,0-1-10 0,-2 3-12 0,2-4-4 15,0 3-6-15,-1-1-1 0,-1 0-5 0,2-3-4 0,0 2-6 16,-2-2 5-16,0-1-10 0,0-1 7 16,-2-6 16-16,3 12 42 0,-3-12 31 0,4 7-7 15,-4-7-27-15,0 0-5 0,0 0-13 0,0 0-24 0,2-8 8 16,-1 1-17-16,3-4-15 0,-1 0 15 16,2-2-24-16,1-1-4 0,1-1 42 0,0 1-15 0,1 0-1 15,2 0-8-15,-1 2 3 0,1 1-36 16,2 1 38-16,-3 1-10 0,1 1 6 0,0 3-35 15,1 3 34-15,-1 1-30 0,1 1 37 0,-2 2-7 0,3 3 35 16,-2-1-33-16,-1 3 1 0,1 1-4 16,0 1-4-16,-1 0 47 0,-2 0-56 0,-1-1 43 0,2 0-49 15,-3 1 50-15,0-1-42 0,0-1 40 0,0 0 1 16,-2-1-19-16,1 0 19 0,-4-6-22 16,6 10 8-16,-6-10 29 0,5 7 39 0,-5-7 22 0,5 7 26 15,-5-7 7-15,0 0-23 0,4 5-29 0,-4-5-19 16,0 0-15-16,13-2-41 0,-13 2 33 0,11-5-55 15,-11 5 45-15,13-6-52 0,-13 6 48 0,11-6-47 16,-3 2 43-16,-8 4-43 0,13-4 36 0,-13 4-53 16,15-4-52-16,-15 4-13 0,13-4-5 0,-13 4-16 15,13-1 0-15,-13 1-17 0,11-1-15 0,-11 1 1 16,0 0-32-16,17 1 18 0,-17-1-43 0,8 3-9 16,-8-3-36-16,0 0-12 0,11 3-232 0,-11-3 11 0</inkml:trace>
  <inkml:trace contextRef="#ctx0" brushRef="#br0" timeOffset="-203625.01">19644 18146 207 0,'9'-4'229'0,"-9"4"22"0,0 0-39 0,-3 7-26 15,-3 0-29-15,-2 2-12 0,-3 2-25 0,-2 1-13 16,-1 1-14-16,0 2-20 0,-3-1-6 0,4 1-19 15,-3 1 13-15,0 0-31 0,1-2 17 0,0 1-75 16,1 0-4-16,1-2-53 0,2 0-42 0,0-3-46 16,3 0-49-16,3-2-210 0,-2 0 99 0</inkml:trace>
  <inkml:trace contextRef="#ctx0" brushRef="#br0" timeOffset="-203231.01">19443 18331 222 0,'0'0'368'0,"6"-9"-58"0,-6 9-101 0,2-6-36 0,-2 6-54 15,0 0-20-15,3-7-31 0,-3 7-2 0,0 0-22 16,0 0 13-16,0 0-37 0,12 1 24 0,-12-1-31 16,9 6 27-16,-9-6-29 0,10 7 29 0,-2-1-32 15,-3-2 22-15,4 1-77 0,0 1 15 0,0-1-42 0,1 0 8 16,3-1-38-16,-3 0 39 0,5 0-28 16,-2-3 39-16,0 0-18 0,4-1 36 0,-2-1-30 15,4-3 22-15,3-2-10 0,-2-1 40 0,3-2-34 16,3 0 41-16,-3-1-6 0,-4 1 30 0,4-2 22 15,0 1 15-15,-5 2 8 0,2 2-6 0,-2-1-8 0,-2 3-7 16,0 0-9-16,-3 2-1 0,0 1-8 16,0 2-3-16,-3 0-5 0,1 3-3 0,-4-1 8 0,-1 4 21 15,-1-2-31-15,-1 2 28 0,-3 2-34 0,1-1 35 16,-2 1-35-16,-3 1-1 0,3 0 1 0,-1-2 1 16,-2 4-5-16,1-3-1 0,-1 2 3 0,2-1-2 15,-1 0 6-15,1 1 7 0,1-1-8 0,0 1 12 16,0-1 2-16,1 2-17 0,1-1 18 0,-1 0-9 15,0 1 0-15,1-2 1 0,-2 3-1 16,0-1-1-16,-2 0 9 0,0 0-8 0,-1 0 10 0,-2 0-11 16,1 1 4-16,-3-1-43 0,0 0-32 0,0-1-33 15,-4 0-34-15,1-2-70 0,0-1-6 0,-3 0-167 16,-2-2 174-16</inkml:trace>
  <inkml:trace contextRef="#ctx0" brushRef="#br0" timeOffset="-203079.64">19382 18711 175 0,'12'1'218'15,"5"2"-49"-15,4-2-43 0,4 2-14 0,2-1-33 16,2 0-17-16,-3 1-9 0,2-1-62 0,0 1-65 0,0 0-211 16,-3 1 260-16</inkml:trace>
  <inkml:trace contextRef="#ctx0" brushRef="#br0" timeOffset="-202938.63">19582 18823 93 0,'-12'1'516'0,"12"-1"-87"0,-13 1-135 15,13-1-28-15,0 0-81 0,0 0 5 0,0 0-28 16,10-3-26-16,3 1-28 0,2 1-28 0,4 0-8 0,4 1-12 16,5-1-45-16,-2 1-10 0,5 0-85 0,-3 0-52 15,1 1-129-15,2-1-416 0,-2-1-183 0</inkml:trace>
  <inkml:trace contextRef="#ctx0" brushRef="#br0" timeOffset="-198319.15">18290 18041 196 0,'-16'24'309'0,"2"2"-41"0,0 1-30 0,2 2-14 15,2 1-18-15,0 0-36 0,3 1-23 0,2 0-1 16,5 2-26-16,0-4-15 0,3 3-14 0,2 0-19 16,0 2-15-16,6 2-15 0,2 0-3 0,0-1-6 15,1-2-2-15,4-3 8 0,-3-4-8 0,3-3-15 16,0-2 2-16,2-2-14 0,2-1-50 16,-1-2-47-16,-1-4-51 0,0-1-71 0,1-4-60 0,1 0-296 15,-3-4-86-15</inkml:trace>
  <inkml:trace contextRef="#ctx0" brushRef="#br0" timeOffset="-197996.57">20085 18201 245 0,'19'21'327'0,"-1"1"-10"0,2 6-52 15,-2-4-47-15,-4 1-17 0,1 2 14 0,-2-2-65 16,-4 0-26-16,0-2 3 0,-4-2-21 0,0 1-21 0,-2-4-8 15,-2 1-18-15,-2-2-10 0,0 1 2 0,-6 0-8 16,-3-1-13-16,-2 0 12 0,0-2-50 0,-4-2-78 16,2 1-64-16,-5-3-81 0,0-1-115 0,5-3-253 15,-4 0-111-15</inkml:trace>
  <inkml:trace contextRef="#ctx0" brushRef="#br0" timeOffset="-195792.84">11558 4832 56 0,'1'7'364'0,"7"0"-116"16,1-1-115-16,6-1-80 0,8 3-145 15,5 0-149-15,7-1 78 0</inkml:trace>
  <inkml:trace contextRef="#ctx0" brushRef="#br0" timeOffset="-194342.57">16483 17284 355 0,'0'0'227'0,"0"0"-25"0,0 0-9 15,-5 5-15-15,8 0-10 0,2 5-30 0,0 2 19 16,5 5-23-16,-1 2-17 0,5 4-26 0,-1 1-11 16,-2 1-7-16,3 2-5 0,-1-1-4 0,-3 1-11 0,1 0 1 15,-4-2-25-15,-1-1 9 0,-1 0-10 16,-2-3 21-16,-1-2-36 0,-2-2 31 0,-2 0 29 0,-1-2-22 16,-1-2 22-16,0-2 30 0,-3-2-10 15,1-2-9-15,-4-1-39 0,2-4 8 0,-3-1 19 0,-2-2 0 16,4-2-8-16,0-4-15 0,-2 0-6 0,2-2-10 15,2-2-12-15,1-2 19 0,3 1-20 16,3-1 14-16,0-1-29 0,4-1 20 0,1 1-27 0,4-3 0 16,3 0 0-16,2 1-19 0,6-1-43 0,1 2-45 15,4-1-13-15,2 3-24 0,1 0-35 16,8 0-38-16,-7 1-32 0,2 1-38 0,2 2-41 0,-1-1-255 16,8-1-97-16</inkml:trace>
  <inkml:trace contextRef="#ctx0" brushRef="#br0" timeOffset="-194177.57">17223 17350 95 0,'14'0'339'0,"-5"2"-74"0,-1 2-20 16,-3 1 3-16,-1 2-34 0,-4 0 17 0,-4 3-30 16,0 2-38-16,-2 1-33 0,-3 0 8 0,-3 3-29 15,1 1 14-15,-1-1-54 0,-2 1 24 0,0 0-63 16,0 0-2-16,1-2-16 0,-2 1-19 0,2 0 2 16,0-2-21-16,1 0-35 0,0-1-31 0,2-1-35 15,1-3-43-15,1 1-19 0,2-3-15 0,1 0 19 16,-2-3-101-16,7-4-151 0,0 0 94 0</inkml:trace>
  <inkml:trace contextRef="#ctx0" brushRef="#br0" timeOffset="-193727.57">17081 17512 37 0,'4'-7'516'0,"1"1"-99"0,-5 6-93 0,4-10-79 16,-4 10-59-16,5-6-38 0,-5 6-29 0,0 0-7 16,0 0 14-16,12 5 8 0,-12-5-58 15,6 9-8-15,-2-2-22 0,0 2 29 0,1 0-46 0,0 3 23 16,1-1-40-16,1 2-1 0,-1 0-7 15,-1 0 3-15,2 0-27 0,0-1 7 0,0 0 7 0,-1 0-33 16,2 0-9-16,-1-1-9 0,0-2-15 0,-2-1-8 16,-1-1 16-16,2-1-10 0,-6-6-64 0,10 6 18 15,-10-6-54-15,9-4 1 0,-5-1-35 0,3-3 70 16,-1-4 17-16,4-1 26 0,-1-3 27 0,3-2 44 16,4-2 35-16,0 0 35 0,0-1 1 0,3 2 64 15,1 1-4-15,-1 1 25 0,-3 5-12 0,2 0-19 16,-4 5-25-16,3 0 3 0,-3 5 10 0,0 0 12 15,-2 5-19-15,-1-1 30 0,-2 4-13 0,-3 1 5 16,1 2 11-16,-3 0-16 0,-1 2-14 0,0 0 2 16,-3 1 30-16,0 0-25 0,-1 0-17 0,1-2-13 15,-2 3 0-15,1-2-18 0,-3-2-17 0,3 1 10 16,0-3-8-16,0 0 62 0,1-7 55 0,-2 11 38 16,2-11-6-16,0 0-35 0,2 7-36 0,-2-7-20 0,0 0-15 15,12-5-19-15,-5 2-11 0,2-1-11 16,1 1-6-16,1-1-9 0,0 0-1 0,1 2-7 15,4-2 1-15,-2 3 13 0,0-1-25 0,0 2-7 16,-1 0-2-16,-2 1-23 0,3 1 5 0,-2 2-17 0,-2 0-43 16,0 4-37-16,-1 1-56 0,-1 1-26 15,-1 1-19-15,-3 2-29 0,-1 0-57 0,-2 2-60 16,-2 0-78-16,-3 2-252 0,-2-1-209 0</inkml:trace>
  <inkml:trace contextRef="#ctx0" brushRef="#br0" timeOffset="-193211.53">15993 17285 326 0,'-6'-5'338'15,"6"5"-82"-15,0 0-21 0,-9 3-25 0,7 4-17 16,-1 1 10-16,1 5-20 0,0 2-27 0,0 3 20 15,2 3-1-15,4 1-45 0,-2 2-6 0,2 2-55 16,4 2 18-16,0 4-47 0,0-3-21 0,0 1 17 16,1 3 8-16,-1-2-48 0,2-1 10 0,-1 1-7 15,1-2 27-15,0 0-41 0,2-3-41 0,-2 0-52 0,4-4-30 16,0 0-45-16,-1-4-62 0,1-2-105 16,4-3-256-16,-1-3-119 0</inkml:trace>
  <inkml:trace contextRef="#ctx0" brushRef="#br0" timeOffset="-192906.53">17954 17342 279 0,'19'7'389'0,"1"1"-35"15,0 3-58-15,-3 2-64 0,3 3-49 0,-2 3-32 16,-4 2-14-16,1 0-14 0,-4 2-21 0,-4 0-28 16,-2 0-9-16,2 2-28 0,-7-1 9 0,-2 2-23 15,-5 2 15-15,-2-1-31 0,-3 1 28 0,-6 2-11 16,-2-1 6-16,-2-3-36 0,-3-2-49 0,-3-1-65 15,-4-3-93-15,-4-1-122 0,-1-4-259 0,-8-3-107 16</inkml:trace>
  <inkml:trace contextRef="#ctx0" brushRef="#br0" timeOffset="-191516.44">10286 15868 223 0,'-11'1'251'0,"3"1"-59"0,8-2-47 0,0 0-32 0,15 9-23 16,10-6-9-16,12 3-21 0,16 1-7 0,20 3-10 15,10 0 0-15,7 0-10 0,26 5-12 16,11 0-37-16,7 2-43 0,4 3-60 0,6 1-94 16,3 1-82-16,8 0 250 0</inkml:trace>
  <inkml:trace contextRef="#ctx0" brushRef="#br0" timeOffset="-190924.07">17368 17947 15 0,'0'0'594'0,"0"0"-149"0,0 0 2 15,2-9-154-15,-2 9 18 0,13-8-140 0,1 4 50 16,3 1-110-16,8-1 53 0,2 0-97 0,8 2-2 16,0 0 17-16,5 0-47 0,1 2 3 0,0 0 49 15,2 2-149-15,7 0-15 0,0 0-85 0,0 2-45 16,-7 1-120-16,-3-3-408 0,-7 2-240 0</inkml:trace>
  <inkml:trace contextRef="#ctx0" brushRef="#br0" timeOffset="-190262.52">17732 17050 21 0,'4'-10'349'0,"-1"2"-76"16,1 0-34-16,0 2-49 0,-1-1-36 0,-2 0-9 15,2 1-37-15,0 1-15 0,-4-3-36 0,1 8-3 0,-6-12-33 16,2 7 13-16,-4 0-18 0,-1 2-4 0,-5 1-9 15,0 0 3-15,-6 5-5 0,-5 1 8 16,-4 6 18-16,-5 3-4 0,-5 5 12 0,2 2 25 16,-5 5-7-16,-3 5-9 0,2 1-9 0,-2 3 37 0,5-1-14 15,3 2-5-15,8-3-12 16,1 0-1-16,4 3 2 0,3-1 49 0,4 1-39 0,4 2-14 0,3 0-6 16,5-2-19-16,4 0 10 0,4 2-25 0,3 4 30 15,3 0 20-15,6 0-50 0,1-3 40 0,4-2-46 16,2-1 50-16,5-3-14 0,3-2 12 0,2-2-21 15,3-3 18-15,3-3-64 0,3-2 77 16,4-3-62-16,-2-3 96 0,2-1-43 0,0-6 88 0,2-3-82 16,-7-3 83-16,1-2-44 0,6-5 37 0,-1-2-40 15,0-5 41-15,-1-4-53 0,-1-3 27 0,5-8-39 16,-5-2 35-16,-3-2-30 0,-2-3-18 0,-8 2-6 16,-3-1 5-16,-4 0-14 0,-3-2 28 0,-2-4-3 15,-4-1-11-15,-5-2-11 0,-2 0-2 0,-7-3 6 16,-2 1-22-16,-7-2-4 0,-5 0 2 0,-7-4-4 15,-8 1 6-15,-7 4-53 0,-6 2-67 0,-6 3-90 16,-8 4-56-16,-9 3-65 0,-9 4-138 0,-14 4-138 16,-21-1-254-16,-10 3-388 0</inkml:trace>
</inkml:ink>
</file>

<file path=ppt/ink/ink4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39:18.09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72 310 756 0 0,'0'0'1449'0'0,"11"-11"2573"0"0,7-23 459 0 0,-17 32-4182 0 0,3-11 657 0 0,-3 11-933 0 0,-1 0 0 0 0,0 0 0 0 0,0 0 0 0 0,0 0 0 0 0,0 0 0 0 0,0 0 1 0 0,0 0-1 0 0,0 0 0 0 0,-1 0 0 0 0,1 0 0 0 0,-1 0 0 0 0,0 0 0 0 0,1 0 0 0 0,-1 0 0 0 0,0 0 0 0 0,0 1 0 0 0,0-1 0 0 0,0 0 0 0 0,-1 1 0 0 0,0-3 0 0 0,-2 1 19 0 0,0 0 1 0 0,0 0-1 0 0,0 0 0 0 0,0 1 0 0 0,0-1 0 0 0,0 1 0 0 0,-1 0 0 0 0,-4-1 1 0 0,-29-10-45 0 0,-1 1 1 0 0,-1 3-1 0 0,-75-9 1 0 0,94 16 1 0 0,0 1 0 0 0,0 1 0 0 0,-1 1 0 0 0,1 1 1 0 0,0 0-1 0 0,1 2 0 0 0,-1 0 0 0 0,1 2 0 0 0,0 0 1 0 0,0 1-1 0 0,-30 16 0 0 0,34-14 2 0 0,0 0 0 0 0,1 2 0 0 0,0 0-1 0 0,0 1 1 0 0,1 0 0 0 0,1 1 0 0 0,0 1 0 0 0,1 0-1 0 0,0 0 1 0 0,2 1 0 0 0,-1 1 0 0 0,2 0 0 0 0,-11 23 0 0 0,10-14 17 0 0,1 0 1 0 0,1 0 0 0 0,1 1-1 0 0,2 0 1 0 0,-5 49 0 0 0,8-27 93 0 0,2 1 0 0 0,7 62 0 0 0,-4-94-49 0 0,-1 0 0 0 0,2 0 0 0 0,0-1-1 0 0,1 1 1 0 0,1-1 0 0 0,0 0 0 0 0,1-1 0 0 0,1 1 0 0 0,0-1 0 0 0,2-1 0 0 0,-1 0 0 0 0,2 0 0 0 0,-1-1-1 0 0,2 0 1 0 0,0-1 0 0 0,0 0 0 0 0,1-1 0 0 0,19 13 0 0 0,-10-12 49 0 0,0 0-1 0 0,1-2 1 0 0,0 0-1 0 0,0-2 1 0 0,1 0-1 0 0,0-2 1 0 0,1 0-1 0 0,-1-2 1 0 0,43 2-1 0 0,-35-5 18 0 0,0-2-1 0 0,-1-2 0 0 0,1-1 0 0 0,0-1 0 0 0,-1-1 1 0 0,0-2-1 0 0,34-14 0 0 0,-31 9 41 0 0,0-2 0 0 0,0-2-1 0 0,-2-1 1 0 0,0-2 0 0 0,-1 0 0 0 0,-1-3-1 0 0,-1 0 1 0 0,-1-2 0 0 0,-2-1 0 0 0,0-1-1 0 0,-2-1 1 0 0,0-1 0 0 0,33-56 0 0 0,-48 67-99 0 0,0 0 1 0 0,-2-1-1 0 0,0 0 1 0 0,-1 0-1 0 0,0 0 1 0 0,-2-1-1 0 0,0 0 1 0 0,-2 0-1 0 0,0 0 1 0 0,-1 0-1 0 0,-1 0 1 0 0,-1 0-1 0 0,-1 0 1 0 0,-7-38-1 0 0,3 36-59 0 0,-1-1 0 0 0,-1 2 0 0 0,0-1 0 0 0,-2 1 0 0 0,-1 0 0 0 0,0 1 0 0 0,-1 0 0 0 0,-2 1 0 0 0,0 0 0 0 0,0 1 0 0 0,-2 1 0 0 0,-28-25 0 0 0,25 27-204 0 0,-2 0 0 0 0,1 1 1 0 0,-2 0-1 0 0,0 2 0 0 0,-1 1 0 0 0,0 1 0 0 0,0 1 1 0 0,-1 0-1 0 0,0 2 0 0 0,-33-5 0 0 0,28 8-1466 0 0,1 1 1 0 0,-1 1-1 0 0,0 2 0 0 0,1 1 0 0 0,-35 5 0 0 0,13 2-4165 0 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05:34.95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0 320 188 0 0,'4'3'474'0'0,"0"-1"0"0"0,-1 1 0 0 0,1-1 0 0 0,-1 1 0 0 0,0 0 0 0 0,1 0 0 0 0,-2 0 1 0 0,1 1-1 0 0,0-1 0 0 0,0 1 0 0 0,-1 0 0 0 0,0-1 0 0 0,0 1 0 0 0,0 0 0 0 0,0 0 0 0 0,-1 0 0 0 0,1 1 0 0 0,-1-1 0 0 0,0 0 0 0 0,0 9 0 0 0,1 6 228 0 0,-2 1 0 0 0,0 0-1 0 0,-4 29 1 0 0,0-8-352 0 0,3 13 4 0 0,-1 13-940 0 0,-3-26-3079 0 0</inkml:trace>
  <inkml:trace contextRef="#ctx0" brushRef="#br0" timeOffset="1">156 204 660 0 0,'-41'-77'6312'0'0,"31"61"-5633"0"0,0 0 0 0 0,-1 1 0 0 0,-1 0 0 0 0,-26-25 0 0 0,7 16-1208 0 0,28 23-276 0 0</inkml:trace>
</inkml:ink>
</file>

<file path=ppt/ink/ink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4:32.87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14 1884 0 0,'2'-37'2691'0'0,"-1"20"-729"0"0,4-32 0 0 0,-5 48-1940 0 0,0 1 0 0 0,0 0 1 0 0,1-1-1 0 0,-1 1 1 0 0,0 0-1 0 0,0 0 0 0 0,0-1 1 0 0,0 1-1 0 0,0 0 0 0 0,0-1 1 0 0,0 1-1 0 0,0 0 0 0 0,0-1 1 0 0,0 1-1 0 0,0 0 0 0 0,0-1 1 0 0,0 1-1 0 0,0 0 0 0 0,-1-1 1 0 0,1 1-1 0 0,0 0 0 0 0,0-1 1 0 0,0 1-1 0 0,0 0 1 0 0,0 0-1 0 0,-1-1 0 0 0,1 1 1 0 0,0 0-1 0 0,0 0 0 0 0,-1-1 1 0 0,1 1-1 0 0,0 0 0 0 0,-1 0 1 0 0,1 0-33 0 0,0 0 0 0 0,-1 0 0 0 0,1 0 1 0 0,0 0-1 0 0,-1 0 0 0 0,1 1 0 0 0,0-1 1 0 0,0 0-1 0 0,-1 0 0 0 0,1 1 1 0 0,0-1-1 0 0,0 0 0 0 0,-1 0 0 0 0,1 1 1 0 0,0-1-1 0 0,0 0 0 0 0,0 0 0 0 0,0 1 1 0 0,-1-1-1 0 0,1 0 0 0 0,0 1 0 0 0,0-1 1 0 0,0 0-1 0 0,0 1 0 0 0,0-1 0 0 0,0 0 1 0 0,0 1-1 0 0,0-1 0 0 0,0 0 0 0 0,0 1 1 0 0,0-1-1 0 0,0 1 0 0 0,0-1 0 0 0,1 8-664 0 0,0 0 0 0 0,1-1-1 0 0,0 1 1 0 0,0-1 0 0 0,0 1-1 0 0,5 8 1 0 0,0-5-1129 0 0</inkml:trace>
  <inkml:trace contextRef="#ctx0" brushRef="#br0" timeOffset="1">275 155 1188 0 0,'4'-1'1463'0'0,"0"1"-1207"0"0,1-1-1 0 0,0 1 1 0 0,-1 0 0 0 0,1 0-1 0 0,-1 1 1 0 0,1-1 0 0 0,0 1-1 0 0,-1 0 1 0 0,1 0 0 0 0,-1 1 0 0 0,1-1-1 0 0,-1 1 1 0 0,0 0 0 0 0,0 0-1 0 0,0 0 1 0 0,0 1 0 0 0,0-1-1 0 0,0 1 1 0 0,-1 0 0 0 0,1 0-1 0 0,-1 1 1 0 0,0-1 0 0 0,5 7-1 0 0,8 12 74 0 0,-1 2-1 0 0,-1-1 0 0 0,-1 2 1 0 0,13 34-1 0 0,-20-45-267 0 0,20 54 178 0 0,-4 1 0 0 0,20 103 1 0 0,-27-109-189 0 0,-13-52-250 0 0,-1-3-334 0 0,1 0 0 0 0,0 0 0 0 0,0 0-1 0 0,1 0 1 0 0,0-1 0 0 0,1 1 0 0 0,5 9 0 0 0,10-8-3858 0 0</inkml:trace>
</inkml:ink>
</file>

<file path=ppt/ink/ink5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39:21.42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992 325 1012 0 0,'11'-17'2754'0'0,"-6"11"-2301"0"0,-1 1 1 0 0,-1-1-1 0 0,1 0 0 0 0,-1 0 1 0 0,0 0-1 0 0,0 0 1 0 0,0-1-1 0 0,-1 1 1 0 0,2-13-1 0 0,-3 11-272 0 0,0 5-156 0 0,0-1 0 0 0,0 0 0 0 0,-1 0 0 0 0,0 1 0 0 0,0-1 0 0 0,0 0 0 0 0,0 1 0 0 0,-1-1-1 0 0,1 0 1 0 0,-1 0 0 0 0,-2-5 0 0 0,1 7-27 0 0,0-1 0 0 0,0 1 0 0 0,0 0 0 0 0,-1 0 0 0 0,1 0 0 0 0,-1 0 0 0 0,1 0 0 0 0,-1 0 0 0 0,0 1 0 0 0,0-1 0 0 0,-5-1 0 0 0,4 1-13 0 0,-29-11 15 0 0,0 2 0 0 0,-2 1 0 0 0,1 1 0 0 0,-69-7 0 0 0,60 10 40 0 0,0 3 0 0 0,0 1 0 0 0,0 2 0 0 0,-73 9-1 0 0,96-5 63 0 0,-1 0-1 0 0,1 1 0 0 0,0 2 1 0 0,0 0-1 0 0,1 1 1 0 0,0 0-1 0 0,0 2 0 0 0,1 0 1 0 0,0 1-1 0 0,1 1 1 0 0,-27 25-1 0 0,21-15 60 0 0,1 1 1 0 0,2 1 0 0 0,0 1-1 0 0,2 1 1 0 0,1 1-1 0 0,-17 33 1 0 0,24-37-35 0 0,0 0 0 0 0,1 0 0 0 0,1 1 0 0 0,1 0 0 0 0,2 0 0 0 0,0 0 0 0 0,2 1 0 0 0,-2 34 0 0 0,6-46-85 0 0,-1 0-1 0 0,1 0 1 0 0,1 0-1 0 0,1-1 1 0 0,0 1 0 0 0,0-1-1 0 0,1 1 1 0 0,1-1-1 0 0,0 0 1 0 0,12 21-1 0 0,-7-19-21 0 0,-1-1-1 0 0,1-1 1 0 0,1 0 0 0 0,0 0-1 0 0,1-1 1 0 0,0 0-1 0 0,25 16 1 0 0,-7-10-9 0 0,1-1 0 0 0,0-1 0 0 0,0-1 1 0 0,2-3-1 0 0,-1 0 0 0 0,2-2 0 0 0,51 8 1 0 0,-35-10 15 0 0,0-2 1 0 0,1-2 0 0 0,-1-2 0 0 0,1-3 0 0 0,-1-2 0 0 0,82-16 0 0 0,-111 15 4 0 0,0-1 1 0 0,-1-1-1 0 0,0 0 1 0 0,0-2-1 0 0,-1 0 1 0 0,0-2 0 0 0,26-17-1 0 0,-34 19 3 0 0,0-1 0 0 0,-1 1-1 0 0,0-1 1 0 0,0-1 0 0 0,-1 0 0 0 0,0 0 0 0 0,-1-1 0 0 0,-1 0-1 0 0,0-1 1 0 0,0 1 0 0 0,-1-1 0 0 0,5-16 0 0 0,-4 1 21 0 0,0-1 1 0 0,-2 1 0 0 0,-1-1-1 0 0,-1 0 1 0 0,-2 0-1 0 0,0 0 1 0 0,-2 0 0 0 0,-2 0-1 0 0,0 0 1 0 0,-2 1 0 0 0,-15-51-1 0 0,11 51-220 0 0,-1 0 0 0 0,-1 1-1 0 0,-1 1 1 0 0,-2 0 0 0 0,0 0 0 0 0,-2 1-1 0 0,-1 1 1 0 0,-1 1 0 0 0,0 1 0 0 0,-2 0-1 0 0,-37-31 1 0 0,41 41-1542 0 0,0 1-1 0 0,0 1 0 0 0,-36-17 1 0 0,30 18-1815 0 0</inkml:trace>
</inkml:ink>
</file>

<file path=ppt/ink/ink5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39:24.63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58 54 776 0 0,'-21'-10'568'0'0,"-1"1"1"0"0,1 2-1 0 0,-1 0 0 0 0,-1 1 1 0 0,1 1-1 0 0,-1 1 0 0 0,0 1 1 0 0,0 2-1 0 0,0 0 0 0 0,0 1 0 0 0,-36 5 1 0 0,29 0-341 0 0,-1 1 0 0 0,1 1 1 0 0,1 2-1 0 0,0 1 0 0 0,0 1 0 0 0,1 2 1 0 0,0 1-1 0 0,-28 18 0 0 0,32-16-106 0 0,1 1-1 0 0,0 1 0 0 0,1 1 1 0 0,1 0-1 0 0,1 2 1 0 0,1 0-1 0 0,0 2 0 0 0,-17 28 1 0 0,28-38-64 0 0,1-1 0 0 0,0 2 0 0 0,1-1 0 0 0,1 1 0 0 0,0-1 0 0 0,0 2 0 0 0,2-1 0 0 0,-1 0 0 0 0,2 1 0 0 0,0-1 0 0 0,1 1 0 0 0,1 0 0 0 0,0 0 0 0 0,0-1-1 0 0,2 1 1 0 0,0 0 0 0 0,7 26 0 0 0,-3-22 3 0 0,2-1 1 0 0,-1 0-1 0 0,2 0 0 0 0,1-1 0 0 0,0 0 0 0 0,1-1 0 0 0,0 0 0 0 0,19 19 0 0 0,-10-15-19 0 0,0-1 0 0 0,2-1 0 0 0,0-1 0 0 0,0-1 0 0 0,34 18 0 0 0,-13-13-18 0 0,1-1 1 0 0,1-3-1 0 0,0-1 0 0 0,1-2 0 0 0,1-3 1 0 0,74 9-1 0 0,-89-15 39 0 0,2-3 0 0 0,-1 0 1 0 0,0-3-1 0 0,0 0 0 0 0,47-9 0 0 0,-67 7 28 0 0,-1 0 0 0 0,1 0 1 0 0,-1-1-1 0 0,0-1 0 0 0,0 0 0 0 0,-1-1 0 0 0,1 0 0 0 0,-1-1 0 0 0,0 0 0 0 0,-1 0 0 0 0,0-1 0 0 0,0-1 1 0 0,-1 0-1 0 0,0 0 0 0 0,0-1 0 0 0,13-19 0 0 0,-10 7 37 0 0,-1-1 0 0 0,0 1 0 0 0,-2-2 0 0 0,-1 1 0 0 0,-1-1 0 0 0,0 0 1 0 0,-2-1-1 0 0,3-44 0 0 0,-5 28-14 0 0,-3 0 1 0 0,-1 0-1 0 0,-2 0 0 0 0,-14-66 1 0 0,13 88-104 0 0,-1 0 0 0 0,-1 0 0 0 0,-1 0 0 0 0,-1 1-1 0 0,0 0 1 0 0,-1 1 0 0 0,-1 0 0 0 0,-1 0 0 0 0,-1 1 0 0 0,0 0 0 0 0,-22-22 0 0 0,21 27-439 0 0,1 0-1 0 0,-1 1 1 0 0,-1 0-1 0 0,0 1 1 0 0,0 1-1 0 0,-1 0 1 0 0,0 1 0 0 0,0 0-1 0 0,-1 1 1 0 0,0 1-1 0 0,0 1 1 0 0,0 0-1 0 0,0 1 1 0 0,-20-1 0 0 0,-5 3-2820 0 0,1 2-1216 0 0</inkml:trace>
</inkml:ink>
</file>

<file path=ppt/ink/ink5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39:22.52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185 229 836 0 0,'-5'-10'382'0'0,"0"0"-1"0"0,-1 0 1 0 0,-1 1 0 0 0,1 0 0 0 0,-2 0-1 0 0,1 0 1 0 0,-1 1 0 0 0,0 0-1 0 0,-1 1 1 0 0,0-1 0 0 0,-12-6-1 0 0,-9-5 178 0 0,-1 2-1 0 0,-44-17 1 0 0,57 27-382 0 0,-1 1 0 0 0,0 1 0 0 0,0 1 0 0 0,0 0 0 0 0,0 2 0 0 0,-1 0 0 0 0,1 1 0 0 0,-1 1 0 0 0,0 1 0 0 0,1 1 0 0 0,-1 0 0 0 0,-21 6 0 0 0,1 3 93 0 0,0 1 0 0 0,0 2 0 0 0,1 1 0 0 0,-62 35 0 0 0,68-29-108 0 0,0 1-1 0 0,2 1 1 0 0,0 1-1 0 0,2 2 1 0 0,0 2 0 0 0,2 0-1 0 0,2 2 1 0 0,0 0 0 0 0,2 2-1 0 0,1 1 1 0 0,-22 46-1 0 0,33-57-118 0 0,1 2-1 0 0,0-1 0 0 0,2 1 0 0 0,1 0 0 0 0,1 1 1 0 0,2 0-1 0 0,0-1 0 0 0,-1 51 0 0 0,5-59-26 0 0,1 0 0 0 0,1 0 0 0 0,0 0-1 0 0,1 0 1 0 0,1-1 0 0 0,0 0 0 0 0,1 1 0 0 0,1-1-1 0 0,1-1 1 0 0,0 1 0 0 0,0-1 0 0 0,1-1 0 0 0,1 1 0 0 0,1-1-1 0 0,12 14 1 0 0,-2-8 5 0 0,0-1 0 0 0,2 0-1 0 0,0-2 1 0 0,0 0-1 0 0,2-2 1 0 0,0 0 0 0 0,0-2-1 0 0,1 0 1 0 0,47 13 0 0 0,-27-12-6 0 0,1-3-1 0 0,0-1 1 0 0,1-3 0 0 0,90 2 0 0 0,-95-9 27 0 0,0-2 0 0 0,-1-2 1 0 0,1-1-1 0 0,-1-3 0 0 0,0-1 0 0 0,-1-1 0 0 0,0-3 1 0 0,54-26-1 0 0,-69 27 41 0 0,1-1 1 0 0,-2-1 0 0 0,0-1 0 0 0,-1 0-1 0 0,-1-2 1 0 0,0-1 0 0 0,-1-1 0 0 0,-2-1-1 0 0,0-1 1 0 0,-1 0 0 0 0,-1-1 0 0 0,-1-1-1 0 0,16-32 1 0 0,-23 36-52 0 0,-1 0 0 0 0,-1-1 1 0 0,0 0-1 0 0,-2 0 0 0 0,0-1 0 0 0,-2 0 0 0 0,0 0 0 0 0,-1 0 0 0 0,-3-40 1 0 0,-1 37 50 0 0,-2-1 0 0 0,0 1 1 0 0,-2 0-1 0 0,-1 1 1 0 0,-1-1-1 0 0,-1 1 1 0 0,-23-43-1 0 0,17 41-303 0 0,-1 1 0 0 0,-1 0 0 0 0,-2 1 0 0 0,0 1 0 0 0,-2 0 0 0 0,-34-29 0 0 0,32 34-680 0 0,0 1 1 0 0,-1 1-1 0 0,0 1 0 0 0,-1 1 0 0 0,-1 1 0 0 0,-53-18 0 0 0,46 21-1724 0 0,0-1-646 0 0</inkml:trace>
</inkml:ink>
</file>

<file path=ppt/ink/ink5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39:23.53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28 116 764 0 0,'-16'-11'366'0'0,"0"0"1"0"0,-1 1-1 0 0,-1 1 0 0 0,0 0 1 0 0,0 2-1 0 0,-1 0 0 0 0,0 1 0 0 0,0 1 1 0 0,0 0-1 0 0,0 2 0 0 0,-1 0 1 0 0,0 1-1 0 0,0 2 0 0 0,-22 0 1 0 0,15 2-171 0 0,0 1 1 0 0,0 2-1 0 0,1 0 1 0 0,-1 2 0 0 0,1 1-1 0 0,1 0 1 0 0,-1 2 0 0 0,1 1-1 0 0,-40 25 1 0 0,46-23-25 0 0,0 0 0 0 0,1 1 0 0 0,1 1 1 0 0,0 0-1 0 0,1 1 0 0 0,1 1 0 0 0,-25 35 1 0 0,31-38-53 0 0,0 2-1 0 0,1-1 1 0 0,1 1 0 0 0,1 1 0 0 0,0-1 0 0 0,1 1 0 0 0,0 0 0 0 0,2 0 0 0 0,0 1 0 0 0,-1 30 0 0 0,4-24-45 0 0,1-1 0 0 0,1 1 1 0 0,1 0-1 0 0,1-1 0 0 0,1 1 1 0 0,2-1-1 0 0,0-1 0 0 0,1 1 1 0 0,1-1-1 0 0,1 0 0 0 0,1-1 1 0 0,1-1-1 0 0,1 0 0 0 0,19 24 1 0 0,-12-21-39 0 0,0-1 0 0 0,2-1-1 0 0,0-1 1 0 0,1-1 0 0 0,1 0 0 0 0,1-2 0 0 0,1-1 0 0 0,0-1-1 0 0,1-2 1 0 0,53 20 0 0 0,-31-17 76 0 0,0-2 1 0 0,1-3-1 0 0,60 7 0 0 0,-78-15 40 0 0,0-2 0 0 0,0-1 0 0 0,0-1 0 0 0,0-2-1 0 0,0-1 1 0 0,38-10 0 0 0,-57 11-75 0 0,-1-2 0 0 0,0 1 1 0 0,0-1-1 0 0,0-1 0 0 0,-1 0 0 0 0,0-1 1 0 0,0 0-1 0 0,0-1 0 0 0,12-12 0 0 0,-10 7-14 0 0,-1 0-1 0 0,0-1 1 0 0,-1 0 0 0 0,-1-1-1 0 0,0 0 1 0 0,9-20-1 0 0,-7 8 17 0 0,-1 0-1 0 0,-2 0 1 0 0,0-1-1 0 0,-2-1 1 0 0,-1 1-1 0 0,-2-1 1 0 0,0 0-1 0 0,-1-37 1 0 0,-4 38-40 0 0,-1-1 0 0 0,-1 0-1 0 0,-1 1 1 0 0,-2 0 0 0 0,-1 0 0 0 0,-1 0 0 0 0,-1 1 0 0 0,-17-36 0 0 0,15 43-133 0 0,0 0 0 0 0,-1 0 0 0 0,-1 1 0 0 0,0 1 0 0 0,-2 0 0 0 0,0 1 0 0 0,-1 1 0 0 0,0 0 0 0 0,-2 1 0 0 0,-37-25 0 0 0,26 24-640 0 0,-1 0-1 0 0,0 2 1 0 0,-57-18 0 0 0,-39 2-4418 0 0,59 19 380 0 0</inkml:trace>
</inkml:ink>
</file>

<file path=ppt/ink/ink5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39:25.49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6 52 1848 0 0,'-53'-31'8652'0'0,"50"30"-7930"0"0,6-1-170 0 0,0 0-457 0 0,1 0 1 0 0,0 0-1 0 0,-1 0 0 0 0,1 0 0 0 0,0 1 0 0 0,0-1 0 0 0,0 1 0 0 0,1 0 0 0 0,-1 1 0 0 0,5-1 0 0 0,48-1 246 0 0,-32 2-217 0 0,411 13 515 0 0,-303-6-492 0 0,-113-6-125 0 0,-16 0-145 0 0,1-1 1 0 0,0 1 0 0 0,0-1-1 0 0,0-1 1 0 0,0 1 0 0 0,-1-1-1 0 0,1 1 1 0 0,0-1 0 0 0,5-2-1 0 0,-9 2-458 0 0,6-6-1357 0 0</inkml:trace>
</inkml:ink>
</file>

<file path=ppt/ink/ink5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39:26.09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2 58 1704 0 0,'34'-57'6883'0'0,"-32"61"-6715"0"0,0 0 0 0 0,-1 1 1 0 0,0 0-1 0 0,0-1 1 0 0,0 1-1 0 0,0 0 0 0 0,-1-1 1 0 0,0 1-1 0 0,0 7 0 0 0,-8 49 644 0 0,2-24-404 0 0,-41 270 1767 0 0,42-281-961 0 0,-13 42 0 0 0,17-66-684 0 0,1-5-488 0 0,1 1-59 0 0,-1-1 0 0 0,0 1 0 0 0,0-1 0 0 0,1 1 0 0 0,-1-1 1 0 0,1 1-1 0 0,0-1 0 0 0,0 1 0 0 0,0 0 0 0 0,1-4 0 0 0,5-5-125 0 0,1-1 0 0 0,0 1 1 0 0,0 1-1 0 0,1 0 0 0 0,1 0 1 0 0,0 0-1 0 0,21-15 0 0 0,84-48-395 0 0,-111 71 520 0 0,-1 0 1 0 0,1 0-1 0 0,0 0 1 0 0,0 1-1 0 0,-1-1 1 0 0,1 1-1 0 0,0 0 0 0 0,1 0 1 0 0,-1 0-1 0 0,0 1 1 0 0,0-1-1 0 0,0 1 0 0 0,0 0 1 0 0,0 1-1 0 0,1-1 1 0 0,-1 0-1 0 0,0 1 0 0 0,4 1 1 0 0,-3 0 2 0 0,0 1 1 0 0,0 0-1 0 0,0 0 0 0 0,0 0 1 0 0,0 0-1 0 0,-1 1 1 0 0,0-1-1 0 0,1 1 0 0 0,-1 0 1 0 0,-1 1-1 0 0,1-1 1 0 0,4 8-1 0 0,36 56 29 0 0,-25-37 51 0 0,39 50 0 0 0,-57-79-57 0 0,1-1 0 0 0,0 1-1 0 0,0-1 1 0 0,0 1 0 0 0,0-1 0 0 0,0 0-1 0 0,0 1 1 0 0,0-1 0 0 0,0 0-1 0 0,1-1 1 0 0,-1 1 0 0 0,0 0-1 0 0,1-1 1 0 0,-1 1 0 0 0,1-1 0 0 0,-1 1-1 0 0,0-1 1 0 0,1 0 0 0 0,-1 0-1 0 0,1-1 1 0 0,-1 1 0 0 0,1 0-1 0 0,-1-1 1 0 0,0 1 0 0 0,1-1 0 0 0,-1 0-1 0 0,0 0 1 0 0,0 0 0 0 0,1 0-1 0 0,2-2 1 0 0,4-2 1 0 0,1-1-1 0 0,-2 0 1 0 0,1-1-1 0 0,-1 0 1 0 0,13-13-1 0 0,126-150 1681 0 0,-147 170-1685 0 0,1-1 0 0 0,-1 1 1 0 0,0 0-1 0 0,0-1 0 0 0,1 1 0 0 0,-1 0 0 0 0,0-1 0 0 0,0 1 0 0 0,1 0 0 0 0,-1-1 0 0 0,0 1 1 0 0,1 0-1 0 0,-1 0 0 0 0,0-1 0 0 0,1 1 0 0 0,-1 0 0 0 0,1 0 0 0 0,-1 0 0 0 0,0 0 0 0 0,1-1 1 0 0,-1 1-1 0 0,1 0 0 0 0,-1 0 0 0 0,0 0 0 0 0,1 0 0 0 0,-1 0 0 0 0,1 0 0 0 0,-1 0 1 0 0,1 0-1 0 0,0 0 0 0 0,4 12 97 0 0,-3 18-6 0 0,-2-29-91 0 0,-5 121-671 0 0,-3-45-4760 0 0,7-60 781 0 0</inkml:trace>
</inkml:ink>
</file>

<file path=ppt/ink/ink5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39:26.70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9 154 1576 0 0,'-18'-52'4465'0'0,"10"33"-2949"0"0,2-1 0 0 0,-5-20 0 0 0,7 26-982 0 0,2 6-3812 0 0,14 8 263 0 0</inkml:trace>
</inkml:ink>
</file>

<file path=ppt/ink/ink5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39:27.05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40 0 1556 0 0,'7'1'397'0'0,"0"0"1"0"0,-1 0-1 0 0,1 0 0 0 0,-1 1 1 0 0,0 0-1 0 0,0 1 0 0 0,1-1 0 0 0,-1 1 1 0 0,-1 0-1 0 0,1 0 0 0 0,0 1 0 0 0,-1 0 1 0 0,0 0-1 0 0,1 0 0 0 0,-2 1 1 0 0,1 0-1 0 0,0-1 0 0 0,-1 2 0 0 0,0-1 1 0 0,6 10-1 0 0,-3-3-56 0 0,-1 0-1 0 0,0 0 1 0 0,0 0 0 0 0,-1 1 0 0 0,-1 0-1 0 0,0 0 1 0 0,-1 0 0 0 0,0 0 0 0 0,-1 1-1 0 0,1 25 1 0 0,-3-30-259 0 0,-1 1 1 0 0,0-1-1 0 0,0 1 1 0 0,0-1-1 0 0,-1 0 0 0 0,-1 1 1 0 0,0-1-1 0 0,0 0 0 0 0,-1-1 1 0 0,0 1-1 0 0,0-1 1 0 0,-1 1-1 0 0,0-1 0 0 0,0 0 1 0 0,-1-1-1 0 0,-8 9 0 0 0,5-7-29 0 0,0-1-1 0 0,0-1 1 0 0,-1 0-1 0 0,0 0 0 0 0,-1-1 1 0 0,1 0-1 0 0,-21 8 1 0 0,25-12-53 0 0,1 0 1 0 0,-1 0-1 0 0,0-1 1 0 0,-1 0-1 0 0,1 0 1 0 0,0 0-1 0 0,0-1 1 0 0,0 1-1 0 0,0-2 1 0 0,-1 1-1 0 0,1-1 1 0 0,0 0-1 0 0,0 0 0 0 0,0 0 1 0 0,0-1-1 0 0,0 0 1 0 0,-6-3-1 0 0,10 4-28 0 0,0 0-1 0 0,0 0 0 0 0,-1 0 0 0 0,1-1 0 0 0,0 1 0 0 0,0-1 1 0 0,1 1-1 0 0,-1-1 0 0 0,0 0 0 0 0,0 0 0 0 0,1 1 0 0 0,-1-1 1 0 0,1 0-1 0 0,0-1 0 0 0,-1 1 0 0 0,1 0 0 0 0,0 0 0 0 0,0 0 0 0 0,1-1 1 0 0,-1 1-1 0 0,0-1 0 0 0,1 1 0 0 0,-1 0 0 0 0,1-1 0 0 0,0 1 1 0 0,0-1-1 0 0,0 1 0 0 0,0-1 0 0 0,0 1 0 0 0,0-1 0 0 0,1 1 1 0 0,1-4-1 0 0,-1 1-2 0 0,1 1 1 0 0,0 0-1 0 0,0 0 1 0 0,0 0-1 0 0,1 1 1 0 0,-1-1-1 0 0,1 1 1 0 0,0-1 0 0 0,0 1-1 0 0,0 0 1 0 0,0 0-1 0 0,1 0 1 0 0,-1 0-1 0 0,1 1 1 0 0,0-1-1 0 0,0 1 1 0 0,7-3-1 0 0,-5 2 14 0 0,1 1-1 0 0,-1 0 1 0 0,1 1-1 0 0,-1-1 1 0 0,1 1-1 0 0,-1 1 1 0 0,1-1-1 0 0,0 1 1 0 0,-1 0-1 0 0,1 1 1 0 0,0-1-1 0 0,-1 1 1 0 0,1 1-1 0 0,0-1 1 0 0,-1 1-1 0 0,0 0 1 0 0,1 1-1 0 0,7 3 0 0 0,5 6 15 0 0,-1 0 0 0 0,0 1-1 0 0,-1 1 1 0 0,19 19 0 0 0,-16-16 52 0 0,-7-4 17 0 0,1-1 0 0 0,1-1-1 0 0,0 0 1 0 0,29 15 0 0 0,-37-23-45 0 0,-1 0 0 0 0,1-1 0 0 0,0 0 0 0 0,-1 0 0 0 0,1 0 0 0 0,0-1 0 0 0,0 0 0 0 0,0-1 0 0 0,0 1 0 0 0,0-1 0 0 0,0-1 0 0 0,0 0 0 0 0,0 1 0 0 0,0-2 0 0 0,13-3 0 0 0,-3-2-66 0 0,-1 0-1 0 0,1-1 1 0 0,-1-1-1 0 0,-1 0 1 0 0,0-1 0 0 0,0-1-1 0 0,-1 0 1 0 0,-1-1 0 0 0,1-1-1 0 0,-2 0 1 0 0,0-1-1 0 0,-1 0 1 0 0,15-24 0 0 0,-24 34 44 0 0,0 0 0 0 0,0 0 1 0 0,0 0-1 0 0,-1 0 0 0 0,1-1 1 0 0,-1 1-1 0 0,1-7 0 0 0,-2 9-1 0 0,0 1 0 0 0,0 0 0 0 0,0 0-1 0 0,0-1 1 0 0,0 1 0 0 0,0 0 0 0 0,0 0-1 0 0,0-1 1 0 0,0 1 0 0 0,-1 0 0 0 0,1 0 0 0 0,-1-1-1 0 0,1 1 1 0 0,-1 0 0 0 0,1 0 0 0 0,-1 0-1 0 0,1 0 1 0 0,-1 0 0 0 0,0 0 0 0 0,0 0-1 0 0,0 0 1 0 0,0 0 0 0 0,0 0 0 0 0,1 0 0 0 0,-1 1-1 0 0,-1-1 1 0 0,1 0 0 0 0,0 0 0 0 0,0 1-1 0 0,0-1 1 0 0,0 1 0 0 0,0-1 0 0 0,-1 1-1 0 0,0-1 1 0 0,-2 1 19 0 0,-1-1-1 0 0,1 0 0 0 0,0 1 1 0 0,0 0-1 0 0,0 0 0 0 0,0 0 1 0 0,-1 1-1 0 0,1-1 1 0 0,0 1-1 0 0,0 0 0 0 0,0 0 1 0 0,-5 2-1 0 0,8-2 6 0 0,-1 0 1 0 0,0 0-1 0 0,1-1 1 0 0,-1 1-1 0 0,1 1 1 0 0,-1-1 0 0 0,1 0-1 0 0,-1 0 1 0 0,1 0-1 0 0,0 1 1 0 0,0-1-1 0 0,-1 1 1 0 0,1-1-1 0 0,0 1 1 0 0,1-1-1 0 0,-1 1 1 0 0,0 0-1 0 0,0 0 1 0 0,1-1-1 0 0,-1 1 1 0 0,1 0-1 0 0,-1 0 1 0 0,1 0-1 0 0,0-1 1 0 0,-1 1-1 0 0,1 0 1 0 0,0 0-1 0 0,1 0 1 0 0,-1 0-1 0 0,0 0 1 0 0,0-1-1 0 0,1 3 1 0 0,1 3 15 0 0,1 0 1 0 0,0 0 0 0 0,0 0 0 0 0,0 0-1 0 0,1 0 1 0 0,0-1 0 0 0,0 0 0 0 0,1 0-1 0 0,-1 0 1 0 0,8 6 0 0 0,10 10-21 0 0,27 19 1 0 0,-42-34-66 0 0,14 10-846 0 0,34 20 0 0 0,-46-31-146 0 0,1-1 1 0 0,-1-1 0 0 0,1 1 0 0 0,0-2-1 0 0,0 1 1 0 0,18 3 0 0 0,-10-5-2497 0 0</inkml:trace>
</inkml:ink>
</file>

<file path=ppt/ink/ink5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39:27.41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46 1420 0 0,'14'-45'11035'0'0,"-13"45"-10885"0"0,0 1 0 0 0,0 0-1 0 0,0 0 1 0 0,0 0 0 0 0,0 0-1 0 0,0 0 1 0 0,0 0 0 0 0,-1 0 0 0 0,1 0-1 0 0,0 1 1 0 0,-1-1 0 0 0,1 0-1 0 0,-1 0 1 0 0,1 1 0 0 0,-1 1-1 0 0,8 23 657 0 0,11 46 452 0 0,10 94-1 0 0,-25-129-2285 0 0,-2 46-1 0 0,-3-53-2037 0 0,-2 0-1 0 0,-7 32 1 0 0,6-47-1445 0 0</inkml:trace>
</inkml:ink>
</file>

<file path=ppt/ink/ink5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39:27.79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0 143 788 0 0,'-23'-31'4910'0'0,"22"29"-4695"0"0,0 1-1 0 0,0-1 1 0 0,1 0-1 0 0,-1 0 0 0 0,0 0 1 0 0,1 0-1 0 0,-1 0 1 0 0,1 1-1 0 0,0-1 0 0 0,0 0 1 0 0,-1 0-1 0 0,1 0 1 0 0,1 0-1 0 0,-1 0 0 0 0,1-4 1 0 0,0 5-173 0 0,0 0 1 0 0,0-1-1 0 0,0 1 1 0 0,0 0-1 0 0,1 0 1 0 0,-1 0-1 0 0,0 0 1 0 0,1 0-1 0 0,-1 0 1 0 0,1 0-1 0 0,-1 1 1 0 0,1-1-1 0 0,0 0 1 0 0,-1 1-1 0 0,1-1 0 0 0,2 0 1 0 0,-1 1 27 0 0,30-8 116 0 0,1 2-1 0 0,0 1 1 0 0,48-1 0 0 0,54-8 446 0 0,-108 9-366 0 0,4-2 750 0 0,59-4 0 0 0,-90 11-998 0 0,1 1 1 0 0,-1-1-1 0 0,1 0 0 0 0,-1 1 1 0 0,1-1-1 0 0,-1 1 1 0 0,1-1-1 0 0,-1 1 0 0 0,0 0 1 0 0,1 0-1 0 0,-1-1 1 0 0,0 1-1 0 0,0 0 0 0 0,1 0 1 0 0,-1 0-1 0 0,0 0 0 0 0,0 1 1 0 0,0-1-1 0 0,0 0 1 0 0,0 0-1 0 0,-1 1 0 0 0,1-1 1 0 0,0 0-1 0 0,-1 1 1 0 0,1-1-1 0 0,0 1 0 0 0,-1-1 1 0 0,0 1-1 0 0,1-1 0 0 0,-1 1 1 0 0,0-1-1 0 0,0 1 1 0 0,0-1-1 0 0,0 1 0 0 0,0 1 1 0 0,0 5 89 0 0,0 0 0 0 0,0 0 0 0 0,-1 0 0 0 0,0 0 0 0 0,-2 8 0 0 0,-32 94 1179 0 0,16-64 2815 0 0,19-46-4058 0 0,-1-1 1 0 0,1 1 0 0 0,0-1-1 0 0,0 1 1 0 0,-1-1 0 0 0,1 1-1 0 0,0-1 1 0 0,0 0 0 0 0,-1 1 0 0 0,1-1-1 0 0,0 1 1 0 0,0-1 0 0 0,0 0-1 0 0,0 1 1 0 0,0-1 0 0 0,0 0 0 0 0,0 0-1 0 0,8-12-19 0 0,0 0 0 0 0,1 0 0 0 0,0 1 0 0 0,1 0 0 0 0,0 1-1 0 0,1 0 1 0 0,0 1 0 0 0,1 0 0 0 0,16-10 0 0 0,-27 18-33 0 0,1 1-1 0 0,0 0 1 0 0,0 0 0 0 0,0 0 0 0 0,0 0-1 0 0,1 0 1 0 0,-1 0 0 0 0,0 1 0 0 0,0-1-1 0 0,0 1 1 0 0,1 0 0 0 0,-1-1-1 0 0,0 1 1 0 0,1 0 0 0 0,-1 0 0 0 0,0 0-1 0 0,0 1 1 0 0,1-1 0 0 0,2 1 0 0 0,0 1 6 0 0,-1 0 0 0 0,0-1 1 0 0,0 2-1 0 0,-1-1 1 0 0,1 0-1 0 0,0 1 0 0 0,-1-1 1 0 0,0 1-1 0 0,4 4 1 0 0,35 37-27 0 0,-25-25 54 0 0,1-1 0 0 0,28 23 0 0 0,-39-36-62 0 0,1 0 1 0 0,0 0 0 0 0,0-1-1 0 0,0 0 1 0 0,0 0 0 0 0,1-1 0 0 0,-1 0-1 0 0,1-1 1 0 0,0 1 0 0 0,14 0 0 0 0,-14-2-101 0 0,0-1 0 0 0,0 0 0 0 0,-1-1 0 0 0,1 0 0 0 0,0 0 0 0 0,0-1 0 0 0,-1 0 0 0 0,1-1 0 0 0,-1 0 0 0 0,0 0 0 0 0,0-1 0 0 0,0 0 0 0 0,14-9 0 0 0,-13 6 9 0 0,0 0 1 0 0,0 0-1 0 0,0-1 1 0 0,-1 0-1 0 0,0-1 1 0 0,-1 0-1 0 0,0 0 1 0 0,-1 0-1 0 0,1-1 0 0 0,5-13 1 0 0,-11 20 98 0 0,1-1 0 0 0,0 0 0 0 0,-1 0 0 0 0,0 0 0 0 0,0 0 0 0 0,0 0 1 0 0,-1 0-1 0 0,1 0 0 0 0,-1 0 0 0 0,0 0 0 0 0,0 0 0 0 0,0 0 0 0 0,-1 0 0 0 0,1 0 0 0 0,-3-7 0 0 0,2 8 10 0 0,0 0-1 0 0,-1 0 0 0 0,0 0 1 0 0,1 0-1 0 0,-1 0 0 0 0,0 0 1 0 0,-1 1-1 0 0,1-1 0 0 0,0 1 1 0 0,-1-1-1 0 0,1 1 0 0 0,-1 0 1 0 0,0 0-1 0 0,0 0 0 0 0,0 0 1 0 0,0 1-1 0 0,0-1 0 0 0,0 1 1 0 0,-6-2-1 0 0,5 2 8 0 0,1 0 0 0 0,-1 0-1 0 0,1 1 1 0 0,0-1 0 0 0,-1 1 0 0 0,1 0 0 0 0,-1 0 0 0 0,1 0 0 0 0,-1 1 0 0 0,1-1-1 0 0,-1 1 1 0 0,-4 1 0 0 0,7-2 12 0 0,0 1-1 0 0,-1 0 1 0 0,1-1 0 0 0,0 1-1 0 0,0 0 1 0 0,0-1-1 0 0,0 1 1 0 0,0 0 0 0 0,0 0-1 0 0,0 0 1 0 0,0 0-1 0 0,0 0 1 0 0,0 0 0 0 0,1 0-1 0 0,-1 0 1 0 0,0 1-1 0 0,1-1 1 0 0,-1 0 0 0 0,1 0-1 0 0,-1 0 1 0 0,1 1-1 0 0,-1-1 1 0 0,1 0 0 0 0,0 1-1 0 0,0-1 1 0 0,0 0-1 0 0,0 1 1 0 0,0-1 0 0 0,0 0-1 0 0,0 1 1 0 0,0-1-1 0 0,0 0 1 0 0,1 1-1 0 0,-1-1 1 0 0,0 0 0 0 0,1 0-1 0 0,0 2 1 0 0,6 13-191 0 0,1 0 1 0 0,0-1 0 0 0,1 0-1 0 0,0-1 1 0 0,15 18 0 0 0,1 2-2183 0 0,-20-28 1126 0 0,0 0 0 0 0,0 0 1 0 0,0-1-1 0 0,1 1 1 0 0,10 6-1 0 0,-8-5-1957 0 0</inkml:trace>
</inkml:ink>
</file>

<file path=ppt/ink/ink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4:33.19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94 77 1468 0 0,'-1'-3'256'0'0,"0"0"-1"0"0,0 0 1 0 0,0 0-1 0 0,-1 0 1 0 0,1 0-1 0 0,-1 0 1 0 0,0 0-1 0 0,0 0 1 0 0,0 0-1 0 0,0 1 1 0 0,0-1-1 0 0,-1 1 1 0 0,1 0-1 0 0,-5-4 1 0 0,1 3 37 0 0,0-1 0 0 0,0 1 0 0 0,0 0 0 0 0,0 1 0 0 0,-1-1-1 0 0,-11-2 1 0 0,-2 1 187 0 0,-1 2 0 0 0,1 0 0 0 0,-39 1 1 0 0,44 2-347 0 0,0 0 0 0 0,0 1 1 0 0,0 0-1 0 0,0 1 1 0 0,0 1-1 0 0,-17 7 1 0 0,28-10-112 0 0,0 1 0 0 0,1-1 0 0 0,-1 1 0 0 0,0 0 0 0 0,1 0 0 0 0,0 0 0 0 0,-1 1 0 0 0,1-1 0 0 0,0 1 0 0 0,0 0 0 0 0,0 0 0 0 0,1 0 0 0 0,-1 0 0 0 0,1 0 0 0 0,-1 0 0 0 0,1 1 0 0 0,0-1 0 0 0,0 1 0 0 0,1 0 0 0 0,-1-1 0 0 0,1 1 0 0 0,0 0 0 0 0,0 0 0 0 0,0 0 0 0 0,0 0 0 0 0,1 0 0 0 0,0 0 0 0 0,0 5 0 0 0,0-4-5 0 0,1-1 0 0 0,0 1-1 0 0,0-1 1 0 0,1 1-1 0 0,-1-1 1 0 0,1 1-1 0 0,0-1 1 0 0,0 0 0 0 0,0 0-1 0 0,1 0 1 0 0,0 0-1 0 0,-1 0 1 0 0,1-1 0 0 0,1 1-1 0 0,3 3 1 0 0,-2-3 12 0 0,1 1 0 0 0,-1-1 0 0 0,1 0 0 0 0,0 0 0 0 0,0-1 0 0 0,0 0 0 0 0,1 0 0 0 0,-1 0 0 0 0,8 1 0 0 0,-10-3-21 0 0,0-1 0 0 0,0 0 0 0 0,0 1 0 0 0,0-2 1 0 0,0 1-1 0 0,0 0 0 0 0,1-1 0 0 0,-1 0 0 0 0,-1 0 1 0 0,1 0-1 0 0,0-1 0 0 0,0 1 0 0 0,0-1 0 0 0,-1 0 0 0 0,8-4 1 0 0,2-3 164 0 0,1-1-1 0 0,15-15 1 0 0,-26 22 153 0 0,2-2-27 0 0,0 0 0 0 0,1 1-1 0 0,-1-1 1 0 0,9-4-1 0 0,-13 11-289 0 0,0 0-1 0 0,0 0 0 0 0,-1 0 1 0 0,1 0-1 0 0,0 0 1 0 0,-1 0-1 0 0,0 0 0 0 0,1 0 1 0 0,-1 0-1 0 0,0 0 1 0 0,0 0-1 0 0,0 0 0 0 0,-1 0 1 0 0,1 2-1 0 0,0 8 7 0 0,4 30-411 0 0,3-1 1 0 0,1 0-1 0 0,2-1 1 0 0,1 0-1 0 0,24 53 0 0 0,-16-63-2913 0 0,-19-30 3185 0 0,1 0 0 0 0,-1 0 0 0 0,0 0 1 0 0,1 0-1 0 0,-1 0 0 0 0,1 0 0 0 0,-1 0 0 0 0,1-1 0 0 0,-1 1 0 0 0,1 0 1 0 0,-1 0-1 0 0,1 0 0 0 0,-1 0 0 0 0,0-1 0 0 0,1 1 0 0 0,-1 0 0 0 0,1-1 0 0 0,-1 1 1 0 0,0 0-1 0 0,1 0 0 0 0,-1-1 0 0 0,0 1 0 0 0,1-1 0 0 0,-1 1 0 0 0,0 0 0 0 0,1-1 1 0 0,5-11-2593 0 0</inkml:trace>
</inkml:ink>
</file>

<file path=ppt/ink/ink5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39:28.20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3 936 0 0,'0'-3'532'0'0,"5"-26"9029"0"0,3 38-8684 0 0,-5-1-376 0 0,0 0-1 0 0,0 0 1 0 0,-1 1 0 0 0,0-1 0 0 0,2 16 0 0 0,0 1 3 0 0,3 12-23 0 0,-2 1 0 0 0,-2-1 0 0 0,-1 1 0 0 0,-6 67 0 0 0,1-76-1645 0 0,-2-1 1 0 0,0 1-1 0 0,-18 49 1 0 0,17-69-1313 0 0</inkml:trace>
</inkml:ink>
</file>

<file path=ppt/ink/ink5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39:29.04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19 1 1560 0 0,'0'0'2404'0'0,"-2"2"-1474"0"0,-12 7 349 0 0,0-1 1 0 0,-27 13-1 0 0,25-14-774 0 0,0 1-1 0 0,-28 20 0 0 0,40-25-485 0 0,-5 3 173 0 0,0 1 0 0 0,1 0 0 0 0,0 0-1 0 0,1 1 1 0 0,-11 13 0 0 0,17-19-163 0 0,0 0 1 0 0,0-1 0 0 0,0 1-1 0 0,0 0 1 0 0,0 0-1 0 0,1 0 1 0 0,-1 0-1 0 0,1 0 1 0 0,-1 0 0 0 0,1 0-1 0 0,0 0 1 0 0,-1 0-1 0 0,1 0 1 0 0,0 0-1 0 0,0 0 1 0 0,1 0 0 0 0,-1 0-1 0 0,0 0 1 0 0,1 0-1 0 0,-1 0 1 0 0,1 0 0 0 0,-1 0-1 0 0,1 0 1 0 0,0 0-1 0 0,0 0 1 0 0,0-1-1 0 0,0 1 1 0 0,0 0 0 0 0,1 0-1 0 0,-1-1 1 0 0,0 1-1 0 0,1-1 1 0 0,-1 0-1 0 0,1 1 1 0 0,-1-1 0 0 0,3 1-1 0 0,4 5 3 0 0,1-2 0 0 0,0 1 0 0 0,1-1 0 0 0,-1 0 0 0 0,1-1 0 0 0,0 0 0 0 0,0-1 0 0 0,0 0 0 0 0,1 0 0 0 0,-1-1 0 0 0,1-1 0 0 0,20 1 0 0 0,-11-2-65 0 0,0-1 1 0 0,0 0-1 0 0,0-2 0 0 0,0 0 0 0 0,35-12 1 0 0,-44 11 44 0 0,-1 0 0 0 0,1-1 0 0 0,-1 0 0 0 0,0-1 0 0 0,-1 0 0 0 0,1 0 0 0 0,-1-1 0 0 0,-1 0 0 0 0,1-1 0 0 0,-1 0 0 0 0,0 0 0 0 0,-1-1 0 0 0,0 0 0 0 0,-1 0 0 0 0,7-12 0 0 0,-11 11 319 0 0,-8 12-202 0 0,4 0-98 0 0,1-1-1 0 0,-1 0 0 0 0,1 0 0 0 0,0 1 0 0 0,0-1 0 0 0,0 1 0 0 0,0-1 1 0 0,0 1-1 0 0,0-1 0 0 0,0 1 0 0 0,0-1 0 0 0,-1 4 0 0 0,0 8 96 0 0,0 0-1 0 0,1 1 0 0 0,0-1 0 0 0,1 0 1 0 0,1 0-1 0 0,0 1 0 0 0,0-1 1 0 0,2 0-1 0 0,-1 0 0 0 0,2-1 0 0 0,0 1 1 0 0,5 12-1 0 0,-8-22-111 0 0,1-1-1 0 0,-1 0 1 0 0,1 0-1 0 0,-1 1 1 0 0,1-1-1 0 0,0 0 0 0 0,-1 0 1 0 0,1 0-1 0 0,0-1 1 0 0,0 1-1 0 0,1 0 1 0 0,-1-1-1 0 0,0 1 1 0 0,1-1-1 0 0,-1 0 1 0 0,0 0-1 0 0,1 0 1 0 0,0 0-1 0 0,-1 0 1 0 0,1 0-1 0 0,-1-1 1 0 0,5 1-1 0 0,-3-1-22 0 0,0 0 0 0 0,1 0 0 0 0,-1 0 0 0 0,0-1 0 0 0,0 0 0 0 0,0 1 0 0 0,-1-1 0 0 0,1-1 0 0 0,0 1 0 0 0,0-1 0 0 0,0 1 0 0 0,-1-1 0 0 0,1 0 0 0 0,5-5 0 0 0,14-12-85 0 0,-1-1 1 0 0,-1 0 0 0 0,-2-2-1 0 0,0 0 1 0 0,23-37 0 0 0,-18 34 49 0 0,-22 23 26 0 0,0 4-54 0 0,1 2 102 0 0,0 1-1 0 0,0 0 0 0 0,0-1 0 0 0,-1 1 1 0 0,1 0-1 0 0,-1 1 0 0 0,-1-1 0 0 0,1 0 1 0 0,-1 0-1 0 0,1 10 0 0 0,7 19 222 0 0,-5-26-194 0 0,-1 1 0 0 0,1 0 0 0 0,0-1 1 0 0,9 12-1 0 0,-12-18-42 0 0,1 1 0 0 0,0-1 0 0 0,1 1-1 0 0,-1-1 1 0 0,0 0 0 0 0,1 0 0 0 0,-1 0 0 0 0,1 0 0 0 0,0 0 0 0 0,0-1 0 0 0,-1 1 0 0 0,1-1 0 0 0,0 0 0 0 0,0 0 0 0 0,0 0 0 0 0,1 0 0 0 0,-1 0 0 0 0,4 0-1 0 0,2-1 0 0 0,0 0 0 0 0,0-1 0 0 0,0 0-1 0 0,-1 0 1 0 0,1-1 0 0 0,-1 0 0 0 0,1-1-1 0 0,-1 0 1 0 0,0 0 0 0 0,0-1-1 0 0,0 0 1 0 0,0 0 0 0 0,-1-1 0 0 0,0 0-1 0 0,0 0 1 0 0,12-12 0 0 0,-4 2-27 0 0,-1-1 1 0 0,16-21-1 0 0,-13 14-5 0 0,-15 21-18 0 0,-2 1 29 0 0,0 1 0 0 0,0-1 0 0 0,0 0 0 0 0,0 1 0 0 0,0-1 0 0 0,0 1 0 0 0,0-1 0 0 0,-1 1 0 0 0,1-1 0 0 0,0 1 0 0 0,0-1 0 0 0,-1 1 0 0 0,1-1 0 0 0,0 1 0 0 0,0-1 0 0 0,-1 1 0 0 0,1-1 0 0 0,-1 1 0 0 0,1 0 0 0 0,0-1 0 0 0,-1 1 0 0 0,1 0 0 0 0,-1-1 0 0 0,0 1 7 0 0,0 1 0 0 0,0-1-1 0 0,1 0 1 0 0,-1 1 0 0 0,0-1 0 0 0,0 0 0 0 0,1 1 0 0 0,-1-1 0 0 0,0 1-1 0 0,1-1 1 0 0,-1 1 0 0 0,1 0 0 0 0,-1-1 0 0 0,1 1 0 0 0,-1 0 0 0 0,1-1-1 0 0,-1 1 1 0 0,1 0 0 0 0,-1-1 0 0 0,1 1 0 0 0,0 0 0 0 0,0 0 0 0 0,-1 0-1 0 0,1-1 1 0 0,0 2 0 0 0,0 0 3 0 0,0 0 0 0 0,0 0-1 0 0,0 0 1 0 0,1 0 0 0 0,-1-1-1 0 0,1 1 1 0 0,-1 0 0 0 0,1-1-1 0 0,0 1 1 0 0,0 0 0 0 0,1 2-1 0 0,1 1 21 0 0,1 0-1 0 0,0 0 0 0 0,0 0 1 0 0,1 0-1 0 0,-1-1 0 0 0,9 7 0 0 0,-5-6 35 0 0,0-1-1 0 0,0 0 1 0 0,1 0-1 0 0,-1-1 0 0 0,1 0 1 0 0,-1 0-1 0 0,1-1 0 0 0,0 0 1 0 0,0 0-1 0 0,0-1 0 0 0,0-1 1 0 0,15 0-1 0 0,-19 0-18 0 0,0 0 0 0 0,0-1 1 0 0,0 1-1 0 0,0-1 0 0 0,-1 0 0 0 0,1-1 0 0 0,0 1 0 0 0,-1-1 1 0 0,0 0-1 0 0,1 0 0 0 0,-1 0 0 0 0,0-1 0 0 0,0 0 0 0 0,0 1 1 0 0,0-1-1 0 0,0-1 0 0 0,-1 1 0 0 0,1 0 0 0 0,-1-1 0 0 0,0 0 1 0 0,0 0-1 0 0,-1 0 0 0 0,1 0 0 0 0,-1 0 0 0 0,3-6 0 0 0,-4 7-31 0 0,0 1 0 0 0,-1-1-1 0 0,1 0 1 0 0,-1 1-1 0 0,1-1 1 0 0,-1 0 0 0 0,0 1-1 0 0,0-1 1 0 0,-1 0 0 0 0,1 1-1 0 0,0-1 1 0 0,-1 1-1 0 0,1-1 1 0 0,-1 0 0 0 0,-1-2-1 0 0,-1 0 12 0 0,1 0 0 0 0,-1 0 0 0 0,0 1 0 0 0,0-1-1 0 0,0 1 1 0 0,0 0 0 0 0,-6-5 0 0 0,2 2-186 0 0,-1 1 1 0 0,1-1-1 0 0,-2 2 0 0 0,1-1 1 0 0,0 1-1 0 0,-1 0 0 0 0,-18-6 1 0 0,23 9-230 0 0,-1 1 0 0 0,1-1 1 0 0,-1 1-1 0 0,1 0 0 0 0,-1 0 1 0 0,1 1-1 0 0,-1-1 0 0 0,0 1 1 0 0,1 0-1 0 0,-1 1 0 0 0,-9 1 1 0 0,13-2 204 0 0,0 0-1 0 0,0 1 1 0 0,0-1 0 0 0,0 1 0 0 0,0-1-1 0 0,0 1 1 0 0,0 0 0 0 0,0-1 0 0 0,1 1 0 0 0,-1 0-1 0 0,0 0 1 0 0,0-1 0 0 0,0 1 0 0 0,1 0 0 0 0,-1 0-1 0 0,0 1 1 0 0,8 17-6192 0 0</inkml:trace>
</inkml:ink>
</file>

<file path=ppt/ink/ink5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39:29.48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07 148 0 0,'3'0'1858'0'0,"9"-5"343"0"0,-8 3-1267 0 0,1 0 0 0 0,-1 0 0 0 0,0 1 0 0 0,1 0 0 0 0,0 0 1 0 0,5-1-1 0 0,-9 2-893 0 0,0 1 0 0 0,-1-1 0 0 0,1 1 0 0 0,0 0 1 0 0,0-1-1 0 0,-1 1 0 0 0,1 0 0 0 0,-1-1 0 0 0,1 1 0 0 0,-1 0 1 0 0,1 0-1 0 0,-1 0 0 0 0,1-1 0 0 0,-1 1 0 0 0,0 0 1 0 0,1 0-1 0 0,-1 0 0 0 0,0 0 0 0 0,0 0 0 0 0,1 0 0 0 0,-1-1 1 0 0,0 1-1 0 0,0 0 0 0 0,0 0 0 0 0,0 0 0 0 0,-1 1 1 0 0,4 13 662 0 0,0-9-662 0 0,0-1 0 0 0,1 1 0 0 0,0 0 0 0 0,0-1 0 0 0,0 0 0 0 0,1 0 0 0 0,-1 0 0 0 0,1 0-1 0 0,0-1 1 0 0,1 0 0 0 0,-1 0 0 0 0,1 0 0 0 0,-1-1 0 0 0,1 0 0 0 0,0 0 0 0 0,1 0 0 0 0,-1-1 0 0 0,0 0 0 0 0,1 0 0 0 0,-1 0 0 0 0,1-1 0 0 0,0 0 0 0 0,-1 0 0 0 0,1-1 0 0 0,0 0 0 0 0,-1 0 0 0 0,1-1 0 0 0,0 0 0 0 0,-1 0 0 0 0,1 0 0 0 0,12-5 0 0 0,-17 5-110 0 0,-10 10-384 0 0,9-7 470 0 0,-1 0 0 0 0,1 0-1 0 0,0 0 1 0 0,0 0 0 0 0,0 0 0 0 0,0 0-1 0 0,0-1 1 0 0,1 1 0 0 0,-1 0-1 0 0,0-1 1 0 0,1 1 0 0 0,-1-1 0 0 0,1 1-1 0 0,0-1 1 0 0,-1 0 0 0 0,1 0 0 0 0,0 0-1 0 0,0 0 1 0 0,0 0 0 0 0,-1 0-1 0 0,1 0 1 0 0,0 0 0 0 0,0-1 0 0 0,3 1-1 0 0,54 14 753 0 0,-59-15-769 0 0,5 1 83 0 0,0 0 0 0 0,0-1 1 0 0,0 0-1 0 0,0 0 0 0 0,0-1 0 0 0,0 1 0 0 0,0-1 0 0 0,0 0 0 0 0,0 0 0 0 0,0-1 0 0 0,0 1 0 0 0,-1-1 0 0 0,1 0 0 0 0,-1-1 0 0 0,1 1 0 0 0,-1-1 0 0 0,0 0 0 0 0,0 0 0 0 0,0 0 0 0 0,6-7 1 0 0,-7 7-62 0 0,0 0 1 0 0,-1 0-1 0 0,1 0 1 0 0,-1-1-1 0 0,0 1 1 0 0,0-1-1 0 0,0 1 1 0 0,0-1-1 0 0,-1 0 1 0 0,1 0-1 0 0,-1 0 1 0 0,0 0-1 0 0,0 0 1 0 0,-1 0-1 0 0,1 0 1 0 0,-1 0-1 0 0,0 0 1 0 0,0 0-1 0 0,0 0 1 0 0,-1 0-1 0 0,1 0 1 0 0,-1 0-1 0 0,0 0 1 0 0,0 0-1 0 0,-3-7 1 0 0,-3-3-12 0 0,0 0-1 0 0,0 1 1 0 0,-14-18 0 0 0,16 25-582 0 0,1 1 0 0 0,-1 0 0 0 0,0 0 0 0 0,-1 0 0 0 0,1 0-1 0 0,-1 1 1 0 0,0 0 0 0 0,0 0 0 0 0,-7-3 0 0 0</inkml:trace>
</inkml:ink>
</file>

<file path=ppt/ink/ink5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39:29.82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4 2092 0 0,'2'-1'413'0'0,"0"0"-1"0"0,0 1 0 0 0,0 0 0 0 0,0-1 1 0 0,0 1-1 0 0,0 0 0 0 0,0 0 1 0 0,0 0-1 0 0,0 0 0 0 0,0 0 1 0 0,0 0-1 0 0,0 1 0 0 0,0-1 1 0 0,0 1-1 0 0,0-1 0 0 0,-1 1 1 0 0,1 0-1 0 0,3 1 0 0 0,-4 0-245 0 0,1-1 0 0 0,0 1 0 0 0,-1 0 0 0 0,1 0 0 0 0,-1 0 0 0 0,0 0 0 0 0,1 0 0 0 0,-1 1 0 0 0,0-1 0 0 0,0 0 0 0 0,0 1 0 0 0,-1-1 0 0 0,1 0 0 0 0,-1 1 0 0 0,1 3 0 0 0,3 29 1168 0 0,-2 53 1 0 0,-2-76-412 0 0,0-12-894 0 0,0 1-1 0 0,0-1 1 0 0,0 0-1 0 0,0 1 1 0 0,0-1-1 0 0,0 0 1 0 0,0 1-1 0 0,0-1 1 0 0,0 0-1 0 0,0 1 1 0 0,0-1-1 0 0,0 0 1 0 0,0 0-1 0 0,1 1 1 0 0,-1-1-1 0 0,0 0 1 0 0,0 1-1 0 0,0-1 1 0 0,0 0-1 0 0,1 0 1 0 0,-1 1-1 0 0,0-1 1 0 0,0 0-1 0 0,0 0 1 0 0,1 0-1 0 0,-1 1 1 0 0,0-1-1 0 0,0 0 1 0 0,1 0-1 0 0,-1 0 1 0 0,0 0-1 0 0,1 1 1 0 0,-1-1-1 0 0,0 0 1 0 0,0 0-1 0 0,1 0 1 0 0,-1 0-1 0 0,0 0 1 0 0,1 0-1 0 0,-1 0 1 0 0,0 0-1 0 0,1 0 1 0 0,-1 0-1 0 0,0 0 1 0 0,1 0-1 0 0,-1 0 1 0 0,0 0-1 0 0,1 0 1 0 0,-1-1-1 0 0,0 1 1 0 0,0 0-1 0 0,1 0 1 0 0,18-10 459 0 0,-14 7-462 0 0,28-18 229 0 0,-12 7-217 0 0,0 2-1 0 0,0 0 0 0 0,1 1 0 0 0,1 1 0 0 0,34-10 0 0 0,-52 19-69 0 0,0 0 0 0 0,0 1 0 0 0,0 0-1 0 0,0 0 1 0 0,0 0 0 0 0,0 0-1 0 0,0 1 1 0 0,0 0 0 0 0,0 0 0 0 0,0 1-1 0 0,0-1 1 0 0,0 1 0 0 0,-1 0 0 0 0,1 0-1 0 0,0 1 1 0 0,-1-1 0 0 0,0 1 0 0 0,0 0-1 0 0,0 0 1 0 0,0 0 0 0 0,0 1-1 0 0,-1 0 1 0 0,1-1 0 0 0,-1 1 0 0 0,0 0-1 0 0,0 1 1 0 0,0-1 0 0 0,-1 0 0 0 0,4 10-1 0 0,-1-3-529 0 0,-1 0 0 0 0,-1 0 0 0 0,0 1 0 0 0,-1-1 0 0 0,0 1 0 0 0,0 13 0 0 0,-1-13-1244 0 0,-1 1 0 0 0,-1-1 0 0 0,-3 14 0 0 0,2-9-2464 0 0</inkml:trace>
</inkml:ink>
</file>

<file path=ppt/ink/ink5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39:30.32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 27 168 0 0,'-2'-26'11850'0'0,"-1"33"-11518"0"0,2 4 138 0 0,0 0 0 0 0,0 0 0 0 0,1 0 0 0 0,1 0 0 0 0,0 0 0 0 0,4 19 0 0 0,-4-22-337 0 0,24 206 1350 0 0,-25-106-2808 0 0,-2-80-1498 0 0,-11 49-1 0 0,9-61-491 0 0,-2-2-1250 0 0</inkml:trace>
</inkml:ink>
</file>

<file path=ppt/ink/ink5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39:30.97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4 146 68 0 0,'0'0'384'0'0,"-11"-6"1257"0"0,0-1 0 0 0,1 0 0 0 0,0-1 1 0 0,-17-15-1 0 0,27 23-1600 0 0,-1-1-1 0 0,1 1 1 0 0,0-1-1 0 0,-1 1 1 0 0,1-1-1 0 0,0 1 1 0 0,-1 0 0 0 0,1-1-1 0 0,0 1 1 0 0,0-1-1 0 0,-1 1 1 0 0,1-1-1 0 0,0 0 1 0 0,0 1-1 0 0,0-1 1 0 0,0 1-1 0 0,0-1 1 0 0,0 1 0 0 0,0-1-1 0 0,0 1 1 0 0,0-1-1 0 0,0 1 1 0 0,0-1-1 0 0,0 0 1 0 0,0 1-1 0 0,0-1 1 0 0,0 1-1 0 0,1-1 1 0 0,-1 1 0 0 0,0-1-1 0 0,0 1 1 0 0,1-1-1 0 0,-1 1 1 0 0,0 0-1 0 0,1-1 1 0 0,-1 1-1 0 0,0-1 1 0 0,1 1 0 0 0,-1 0-1 0 0,1-1 1 0 0,-1 1-1 0 0,1 0 1 0 0,-1-1-1 0 0,0 1 1 0 0,1 0-1 0 0,-1 0 1 0 0,1-1-1 0 0,0 1 1 0 0,-1 0 0 0 0,1 0-1 0 0,29-8 269 0 0,-28 8-224 0 0,36-3 163 0 0,0 1 1 0 0,55 4-1 0 0,7 1-88 0 0,-22-5-57 0 0,0-3 1 0 0,92-19-1 0 0,-7-7 1525 0 0,-160 30-1601 0 0,0 0-1 0 0,1 1 0 0 0,-1 0 1 0 0,0 0-1 0 0,0 0 1 0 0,0 0-1 0 0,1 0 0 0 0,-1 1 1 0 0,0-1-1 0 0,0 1 1 0 0,6 2-1 0 0,-8-2-4 0 0,0-1 0 0 0,0 1 0 0 0,0 0-1 0 0,0 0 1 0 0,-1 0 0 0 0,1-1 0 0 0,0 1 0 0 0,0 0 0 0 0,-1 0-1 0 0,1 0 1 0 0,0 0 0 0 0,-1 0 0 0 0,1 0 0 0 0,-1 0 0 0 0,0 0 0 0 0,1 0-1 0 0,-1 1 1 0 0,0-1 0 0 0,0 0 0 0 0,1 0 0 0 0,-1 0 0 0 0,0 0 0 0 0,0 2-1 0 0,-2 28 349 0 0,1-28-318 0 0,-5 28 362 0 0,-1 0 1 0 0,-2-1-1 0 0,-1 0 0 0 0,-22 44 0 0 0,13-29-172 0 0,16-38-203 0 0,-19 39 2035 0 0,21-45-1477 0 0,1-2-579 0 0,-1 1 1 0 0,1-1 0 0 0,0 0 0 0 0,-1 0 0 0 0,1 1-1 0 0,0-1 1 0 0,0 0 0 0 0,0 0 0 0 0,0 1 0 0 0,0-1-1 0 0,0 0 1 0 0,0 0 0 0 0,0 0 0 0 0,0 1 0 0 0,0-1 0 0 0,0 0-1 0 0,0 0 1 0 0,1 0 0 0 0,-1 1 0 0 0,0-1 0 0 0,0 0-1 0 0,1 0 1 0 0,6-13-31 0 0,1 2 0 0 0,0-1 0 0 0,0 1-1 0 0,2 1 1 0 0,-1 0 0 0 0,12-11 0 0 0,1 2-69 0 0,0 1-1 0 0,28-18 1 0 0,-47 35 71 0 0,0 0 1 0 0,0 1-1 0 0,0-1 0 0 0,1 0 0 0 0,-1 1 1 0 0,1 0-1 0 0,-1 0 0 0 0,1 0 1 0 0,-1 0-1 0 0,1 1 0 0 0,-1-1 1 0 0,1 1-1 0 0,0 0 0 0 0,-1 0 1 0 0,1 0-1 0 0,0 0 0 0 0,-1 1 1 0 0,1-1-1 0 0,0 1 0 0 0,-1 0 1 0 0,7 3-1 0 0,1 1 4 0 0,0 1 1 0 0,0 1 0 0 0,-1 0-1 0 0,0 0 1 0 0,11 11 0 0 0,3 2-65 0 0,29 18 1 0 0,-45-33-79 0 0,0 0-1 0 0,0 0 1 0 0,1-1-1 0 0,-1-1 1 0 0,1 1-1 0 0,0-1 1 0 0,19 3-1 0 0,-23-6 36 0 0,0 0 0 0 0,0 0-1 0 0,0 0 1 0 0,0-1 0 0 0,0 0 0 0 0,0 0-1 0 0,0 0 1 0 0,0-1 0 0 0,0 1-1 0 0,0-1 1 0 0,0 0 0 0 0,-1-1-1 0 0,1 1 1 0 0,-1-1 0 0 0,0 0 0 0 0,0 0-1 0 0,0 0 1 0 0,7-7 0 0 0,3-5-186 0 0,-1 0 0 0 0,0-1 0 0 0,12-22 1 0 0,-22 34 280 0 0,29-52-101 0 0,-23 38 547 0 0,0 1 1 0 0,20-26 0 0 0,-22 34-83 0 0,-13 30-88 0 0,2 43-61 0 0,-5 47-1983 0 0,5-90-2615 0 0,-8 31 0 0 0</inkml:trace>
</inkml:ink>
</file>

<file path=ppt/ink/ink5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39:31.87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0 190 36 0 0,'-16'-133'10326'0'0,"14"108"-9392"0"0,1 24-952 0 0,1 0 0 0 0,0 0 0 0 0,0 0 1 0 0,-1 0-1 0 0,1 0 0 0 0,0 0 0 0 0,0 0 1 0 0,0 0-1 0 0,0 0 0 0 0,0 0 0 0 0,1 0 0 0 0,-1 0 1 0 0,0 0-1 0 0,0 0 0 0 0,1 0 0 0 0,-1 0 1 0 0,0 0-1 0 0,1 0 0 0 0,-1 0 0 0 0,1 0 1 0 0,-1 1-1 0 0,1-1 0 0 0,0 0 0 0 0,-1 0 0 0 0,1 0 1 0 0,0 1-1 0 0,0-1 0 0 0,-1 0 0 0 0,1 1 1 0 0,0-1-1 0 0,0 1 0 0 0,0-1 0 0 0,0 1 0 0 0,0-1 1 0 0,0 1-1 0 0,0 0 0 0 0,0-1 0 0 0,0 1 1 0 0,0 0-1 0 0,0 0 0 0 0,0 0 0 0 0,0 0 1 0 0,0 0-1 0 0,0 0 0 0 0,0 0 0 0 0,0 0 0 0 0,0 0 1 0 0,0 0-1 0 0,0 0 0 0 0,1 1 0 0 0,7 1-467 0 0,0 1-1 0 0,0 0 1 0 0,0 1-1 0 0,12 6 0 0 0,-10-4 455 0 0,1 1-1 0 0,-1 0 0 0 0,-1 1 0 0 0,1 0 0 0 0,-1 0 0 0 0,-1 1 0 0 0,1 1 0 0 0,-2-1 0 0 0,1 2 0 0 0,-1-1 1 0 0,-1 1-1 0 0,0 0 0 0 0,0 0 0 0 0,-1 1 0 0 0,-1 0 0 0 0,0 0 0 0 0,4 15 0 0 0,-2 12 1502 0 0,4 58-1 0 0,-7-49-672 0 0,-2-24 575 0 0,-2-16-345 0 0,-2-13 892 0 0,2 3-1895 0 0,0-1 0 0 0,0 1 0 0 0,1-1 0 0 0,-1 1 0 0 0,0 0 0 0 0,1-1 0 0 0,0 1 0 0 0,-1 0 0 0 0,1-1 0 0 0,0 1 0 0 0,0 0 0 0 0,0 0 0 0 0,1 0 1 0 0,0-2-1 0 0,21-25 37 0 0,-16 20-80 0 0,1 1 1 0 0,0 0-1 0 0,1 0 1 0 0,-1 1 0 0 0,2 0-1 0 0,-1 1 1 0 0,1 0-1 0 0,-1 0 1 0 0,2 1-1 0 0,-1 0 1 0 0,0 1 0 0 0,1 0-1 0 0,13-2 1 0 0,-20 6 13 0 0,1 0 0 0 0,-1 0 1 0 0,0 0-1 0 0,1 1 0 0 0,-1 0 0 0 0,0-1 1 0 0,0 2-1 0 0,1-1 0 0 0,-1 0 1 0 0,0 1-1 0 0,0 0 0 0 0,-1 0 1 0 0,1 0-1 0 0,6 5 0 0 0,46 45-25 0 0,-43-38 45 0 0,1 0 0 0 0,0-1 0 0 0,1-1 0 0 0,29 18 0 0 0,-39-27-9 0 0,0-1 0 0 0,1 1 0 0 0,-1-1 0 0 0,1 0 0 0 0,-1-1 0 0 0,1 0 0 0 0,0 0 0 0 0,0 0 0 0 0,-1 0 0 0 0,1-1 1 0 0,0 0-1 0 0,0 0 0 0 0,0-1 0 0 0,0 1 0 0 0,-1-1 0 0 0,1 0 0 0 0,0-1 0 0 0,-1 0 0 0 0,1 0 0 0 0,6-3 0 0 0,-2 0-75 0 0,-1-1 0 0 0,1 0 1 0 0,-1 0-1 0 0,0-1 0 0 0,-1-1 0 0 0,1 0 0 0 0,-1 0 1 0 0,-1 0-1 0 0,0-1 0 0 0,0 0 0 0 0,0 0 0 0 0,-2-1 0 0 0,1 0 1 0 0,-1 0-1 0 0,0 0 0 0 0,-1 0 0 0 0,0-1 0 0 0,-1 0 0 0 0,0 0 1 0 0,-1 0-1 0 0,2-18 0 0 0,-4 27 56 0 0,0-1 0 0 0,1 1 0 0 0,-2-1-1 0 0,1 1 1 0 0,0-1 0 0 0,0 1 0 0 0,-1-1 0 0 0,1 1 0 0 0,-1-1-1 0 0,0 1 1 0 0,0-1 0 0 0,0 1 0 0 0,0 0 0 0 0,0-1 0 0 0,0 1 0 0 0,-1 0-1 0 0,1 0 1 0 0,-1 0 0 0 0,0 0 0 0 0,1 0 0 0 0,-1 1 0 0 0,0-1 0 0 0,0 0-1 0 0,-3-1 1 0 0,2 2 8 0 0,1 0 0 0 0,-1 0 0 0 0,1 0 0 0 0,-1 1-1 0 0,1 0 1 0 0,-1-1 0 0 0,1 1 0 0 0,-1 0 0 0 0,1 0 0 0 0,-1 0-1 0 0,1 0 1 0 0,-1 1 0 0 0,1-1 0 0 0,-1 1 0 0 0,1 0 0 0 0,-1-1-1 0 0,1 1 1 0 0,-1 0 0 0 0,1 0 0 0 0,0 1 0 0 0,0-1 0 0 0,0 0-1 0 0,-3 3 1 0 0,-1 1 12 0 0,0 1-1 0 0,1 0 1 0 0,-1 0-1 0 0,1 0 1 0 0,1 1-1 0 0,-1 0 1 0 0,1 0-1 0 0,0 0 1 0 0,1 0-1 0 0,-4 8 1 0 0,-4 17-13 0 0,-7 33-1 0 0,14-53 4 0 0,-7 40 93 0 0,-7 100 1 0 0,13-97 55 0 0,-18 83 1 0 0,23-135-140 0 0,-1-1 0 0 0,1 1 1 0 0,-1-1-1 0 0,0 0 0 0 0,0 1 1 0 0,0-1-1 0 0,0 0 1 0 0,-1 0-1 0 0,1 0 0 0 0,0 0 1 0 0,-1 0-1 0 0,1 0 0 0 0,-1 0 1 0 0,0 0-1 0 0,0-1 0 0 0,-3 3 1 0 0,3-3-1 0 0,1 0 0 0 0,-1 0 0 0 0,0-1 0 0 0,0 1 0 0 0,1-1 0 0 0,-1 1 0 0 0,0-1 0 0 0,0 0 1 0 0,0 1-1 0 0,0-1 0 0 0,0 0 0 0 0,1 0 0 0 0,-1-1 0 0 0,0 1 0 0 0,0 0 0 0 0,0-1 0 0 0,-3 0 0 0 0,2-1 0 0 0,0 1-1 0 0,-1-1 0 0 0,1 0 1 0 0,0 0-1 0 0,0 0 0 0 0,0 0 0 0 0,0 0 1 0 0,0-1-1 0 0,1 1 0 0 0,-1-1 1 0 0,1 0-1 0 0,0 0 0 0 0,-1 0 1 0 0,1 0-1 0 0,1 0 0 0 0,-1 0 0 0 0,0-1 1 0 0,1 1-1 0 0,0-1 0 0 0,-1 1 1 0 0,0-6-1 0 0,2 1-1 0 0,-1 1 1 0 0,1-1-1 0 0,0 0 0 0 0,1 0 0 0 0,0 0 1 0 0,0 0-1 0 0,1 0 0 0 0,-1 0 1 0 0,2 1-1 0 0,-1-1 0 0 0,1 1 0 0 0,1 0 1 0 0,-1 0-1 0 0,1 0 0 0 0,0 0 0 0 0,7-8 1 0 0,8-10 9 0 0,2 2 1 0 0,40-37 0 0 0,-59 58-16 0 0,89-78-42 0 0,-41 38 9 0 0,68-75 0 0 0,-111 109 23 0 0,-1 0 0 0 0,0 0 0 0 0,0-1-1 0 0,-1 0 1 0 0,0 0 0 0 0,-1 0 0 0 0,1 0-1 0 0,2-14 1 0 0,-6 20 5 0 0,0 0 0 0 0,0 0 1 0 0,-1-1-1 0 0,0 1 0 0 0,1 0 0 0 0,-1-1 0 0 0,0 1 0 0 0,-1 0 0 0 0,1-1 1 0 0,-1 1-1 0 0,1 0 0 0 0,-1 0 0 0 0,0-1 0 0 0,0 1 0 0 0,0 0 0 0 0,-1 0 1 0 0,1 0-1 0 0,-1 0 0 0 0,0 0 0 0 0,1 0 0 0 0,-1 1 0 0 0,-1-1 0 0 0,1 1 0 0 0,0-1 1 0 0,0 1-1 0 0,-1 0 0 0 0,0 0 0 0 0,1 0 0 0 0,-4-2 0 0 0,-1 1-26 0 0,1-1 0 0 0,-1 1 0 0 0,0 1 0 0 0,0-1-1 0 0,-1 1 1 0 0,1 0 0 0 0,0 1 0 0 0,-1 0 0 0 0,1 0-1 0 0,-1 0 1 0 0,1 1 0 0 0,-1 0 0 0 0,1 1 0 0 0,-1 0-1 0 0,1 0 1 0 0,-15 4 0 0 0,18-4-81 0 0,0 1-1 0 0,0-1 1 0 0,0 1 0 0 0,0 0 0 0 0,0 0 0 0 0,0 0-1 0 0,0 0 1 0 0,1 0 0 0 0,-1 1 0 0 0,1 0-1 0 0,0 0 1 0 0,-1 0 0 0 0,2 0 0 0 0,-1 0-1 0 0,0 1 1 0 0,0-1 0 0 0,1 1 0 0 0,0 0-1 0 0,0 0 1 0 0,0 0 0 0 0,0 0 0 0 0,1 0 0 0 0,-1 0-1 0 0,1 0 1 0 0,0 0 0 0 0,0 1 0 0 0,1-1-1 0 0,-1 0 1 0 0,1 1 0 0 0,0 4 0 0 0,1-1-504 0 0,0 1 1 0 0,1-1 0 0 0,0 0 0 0 0,0 0 0 0 0,0 0 0 0 0,1 0-1 0 0,0 0 1 0 0,6 8 0 0 0,2 4-1886 0 0</inkml:trace>
</inkml:ink>
</file>

<file path=ppt/ink/ink5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39:32.52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17 63 1192 0 0,'-3'-4'308'0'0,"1"-1"-1"0"0,-1 1 1 0 0,0-1 0 0 0,0 1 0 0 0,-1 0-1 0 0,1 0 1 0 0,-1 1 0 0 0,0-1-1 0 0,0 1 1 0 0,0-1 0 0 0,-1 1-1 0 0,1 1 1 0 0,-1-1 0 0 0,1 1 0 0 0,-1-1-1 0 0,0 1 1 0 0,-5-1 0 0 0,8 3-275 0 0,0-1 1 0 0,1 1 0 0 0,-1 0 0 0 0,0 0 0 0 0,0 0 0 0 0,0 0 0 0 0,0 1-1 0 0,1-1 1 0 0,-1 0 0 0 0,0 1 0 0 0,0-1 0 0 0,1 1 0 0 0,-1 0 0 0 0,0-1 0 0 0,1 1-1 0 0,-1 0 1 0 0,1 0 0 0 0,-1 0 0 0 0,1 0 0 0 0,-1 0 0 0 0,1 0 0 0 0,0 1-1 0 0,-1-1 1 0 0,1 0 0 0 0,0 1 0 0 0,0-1 0 0 0,0 1 0 0 0,0-1 0 0 0,-1 4-1 0 0,0 0 32 0 0,-1 0 0 0 0,1 0 0 0 0,1 1-1 0 0,-1-1 1 0 0,1 1 0 0 0,0-1-1 0 0,-1 10 1 0 0,3 7 232 0 0,0 1 0 0 0,2 0 0 0 0,0-1 0 0 0,11 39 0 0 0,-2-12 121 0 0,-9-32-288 0 0,-1-6 23 0 0,1 0 0 0 0,6 20 0 0 0,-8-30-138 0 0,-1-1 0 0 0,0 1 0 0 0,1-1 0 0 0,-1 1 0 0 0,0-1 0 0 0,0 1 0 0 0,0-1 0 0 0,1 1 0 0 0,-1 0 0 0 0,0-1 0 0 0,0 1 0 0 0,0-1 0 0 0,0 1-1 0 0,0 0 1 0 0,0-1 0 0 0,0 1 0 0 0,0-1 0 0 0,0 1 0 0 0,-1 1 0 0 0,-7-2 296 0 0,-10-12-120 0 0,1-16-131 0 0,15 22-83 0 0,-1 0-1 0 0,-1 1 1 0 0,1-1-1 0 0,-7-6 1 0 0,9 10 13 0 0,-1 0 0 0 0,0 0 1 0 0,0 1-1 0 0,-1-1 0 0 0,1 0 0 0 0,0 1 1 0 0,0 0-1 0 0,-1 0 0 0 0,1 0 1 0 0,-1 0-1 0 0,1 0 0 0 0,-1 0 1 0 0,1 0-1 0 0,-6 0 0 0 0,-3 0 10 0 0,0 1 0 0 0,1 0 0 0 0,-1 1 0 0 0,0 0 0 0 0,1 0 1 0 0,-1 1-1 0 0,1 0 0 0 0,-1 1 0 0 0,1 1 0 0 0,0-1 0 0 0,0 1 0 0 0,0 1 0 0 0,1 0 0 0 0,-12 8 0 0 0,14-8-317 0 0,1 0 0 0 0,0 1 0 0 0,0 0-1 0 0,0 0 1 0 0,0 0 0 0 0,1 0 0 0 0,-6 10 0 0 0,9-13-102 0 0,-3 6-2832 0 0,2 5 507 0 0</inkml:trace>
</inkml:ink>
</file>

<file path=ppt/ink/ink5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39:33.13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1 43 644 0 0,'-3'-1'2234'0'0,"0"1"-1604"0"0,-1 0 1 0 0,1-1 0 0 0,-1 0 0 0 0,1 0 0 0 0,0 0 0 0 0,-1 0-1 0 0,1-1 1 0 0,0 1 0 0 0,0-1 0 0 0,0 1 0 0 0,0-1 0 0 0,0 0-1 0 0,0-1 1 0 0,1 1 0 0 0,-1 0 0 0 0,1-1 0 0 0,-4-4 0 0 0,9 6-468 0 0,-1 0 1 0 0,1 0-1 0 0,0 0 0 0 0,-1 0 1 0 0,1 0-1 0 0,0 0 1 0 0,4 0-1 0 0,47 0-276 0 0,1 2-1 0 0,-1 2 1 0 0,83 17-1 0 0,-66-9-1014 0 0,1 1-968 0 0,-3-1-3245 0 0,-44-7 1224 0 0</inkml:trace>
</inkml:ink>
</file>

<file path=ppt/ink/ink5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39:33.51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14 1 2024 0 0,'-111'28'12077'0'0,"108"-28"-10987"0"0,27 10 1153 0 0,169 10 136 0 0,-42-5-3543 0 0,-137-14 557 0 0,26 4-2525 0 0,-21 3-3659 0 0</inkml:trace>
</inkml:ink>
</file>

<file path=ppt/ink/ink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4:33.57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59 200 0 0,'10'-17'1437'0'0,"3"-6"822"0"0,25-31 0 0 0,-34 48-2000 0 0,1 1 1 0 0,0 0-1 0 0,1-1 0 0 0,-1 2 0 0 0,1-1 1 0 0,0 0-1 0 0,0 1 0 0 0,0 1 0 0 0,14-7 0 0 0,-18 9-229 0 0,0 0 0 0 0,0 1 0 0 0,-1-1 0 0 0,1 0 0 0 0,0 1 0 0 0,0 0 0 0 0,0-1 0 0 0,0 1 0 0 0,0 0 0 0 0,0 0 0 0 0,0 0 0 0 0,0 1 0 0 0,0-1 0 0 0,0 0 0 0 0,0 1 0 0 0,0-1 0 0 0,0 1 0 0 0,0-1 0 0 0,0 1 0 0 0,0 0 0 0 0,0 0 0 0 0,-1 0 0 0 0,1 0 0 0 0,0 0 0 0 0,-1 1 0 0 0,1-1 0 0 0,-1 0 0 0 0,1 1 0 0 0,-1-1 0 0 0,0 1 0 0 0,1-1 0 0 0,-1 1 0 0 0,0 0 0 0 0,1 2 0 0 0,1 1 0 0 0,-1 0 0 0 0,0 0-1 0 0,0 1 1 0 0,-1-1-1 0 0,1 0 1 0 0,-1 1 0 0 0,0-1-1 0 0,-1 1 1 0 0,1 0-1 0 0,-1 8 1 0 0,-3 5 272 0 0,0-1 1 0 0,-8 23-1 0 0,10-36-44 0 0,0-3 718 0 0,3-3-949 0 0,0 1 0 0 0,0-1 1 0 0,0-1-1 0 0,0 1 0 0 0,0 0 1 0 0,0 0-1 0 0,-1-1 0 0 0,1 1 0 0 0,0-1 1 0 0,-1 1-1 0 0,1-1 0 0 0,-1 0 1 0 0,2-3-1 0 0,2-1 31 0 0,27-29 6 0 0,1 1-1 0 0,51-39 1 0 0,-82 71-59 0 0,1 0 1 0 0,-1 1-1 0 0,0-1 0 0 0,1 1 0 0 0,-1 0 0 0 0,1-1 0 0 0,-1 1 1 0 0,1 0-1 0 0,-1 0 0 0 0,1 1 0 0 0,0-1 0 0 0,-1 1 0 0 0,1-1 1 0 0,0 1-1 0 0,0 0 0 0 0,-1 0 0 0 0,4 0 0 0 0,-3 1 29 0 0,-1 0-1 0 0,0 0 1 0 0,1 0-1 0 0,-1 0 1 0 0,0 0-1 0 0,0 0 1 0 0,0 1-1 0 0,0-1 1 0 0,0 1-1 0 0,0-1 1 0 0,0 1-1 0 0,-1 0 1 0 0,1 0-1 0 0,-1 0 1 0 0,1 0 0 0 0,-1 0-1 0 0,0 0 1 0 0,1 0-1 0 0,1 5 1 0 0,2 5 14 0 0,0 0 0 0 0,-1 0 1 0 0,0 1-1 0 0,-1 0 0 0 0,0 0 0 0 0,-1 0 1 0 0,-1 0-1 0 0,1 14 0 0 0,-4 17-2226 0 0,-5 1-3313 0 0,5-34 1471 0 0</inkml:trace>
</inkml:ink>
</file>

<file path=ppt/ink/ink5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39:46.18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47 323 1644 0 0,'-4'-10'4717'0'0,"3"9"-4493"0"0,-3 5 22 0 0,0 1 0 0 0,1-1 0 0 0,0 1 0 0 0,0 0-1 0 0,0 0 1 0 0,1 0 0 0 0,-1 0 0 0 0,1 1 0 0 0,0-1-1 0 0,-1 10 1 0 0,-11 62 1142 0 0,13-67-1209 0 0,-7 115 1438 0 0,1-13 369 0 0,6-109-1648 0 0,-6-1 136 0 0,7-1-465 0 0,0-1 1 0 0,-1 0-1 0 0,1 0 1 0 0,0 0-1 0 0,-1 1 1 0 0,1-1-1 0 0,0 0 1 0 0,-1 0-1 0 0,1 0 1 0 0,0 0 0 0 0,-1 0-1 0 0,1 0 1 0 0,-1 0-1 0 0,1 0 1 0 0,0 0-1 0 0,-1 0 1 0 0,1 0-1 0 0,0 0 1 0 0,-1 0-1 0 0,1 0 1 0 0,-1 0 0 0 0,1 0-1 0 0,0 0 1 0 0,-1 0-1 0 0,1 0 1 0 0,0 0-1 0 0,-1-1 1 0 0,1 1-1 0 0,0 0 1 0 0,-1 0-1 0 0,1 0 1 0 0,0-1-1 0 0,-1 1 1 0 0,1 0 0 0 0,0-1-1 0 0,-4-2 12 0 0,0-1 0 0 0,0 1 0 0 0,1-1 0 0 0,0 0 1 0 0,0 0-1 0 0,0 0 0 0 0,0-1 0 0 0,1 1 0 0 0,-1-1 0 0 0,1 0 0 0 0,0 1 0 0 0,-2-10 0 0 0,-1-5-147 0 0,-5-36-1 0 0,7 25 39 0 0,2 1 1 0 0,1-1-1 0 0,1 0 1 0 0,1 0-1 0 0,2 1 1 0 0,1 0 0 0 0,1-1-1 0 0,2 2 1 0 0,1-1-1 0 0,1 1 1 0 0,1 1-1 0 0,2 0 1 0 0,0 0-1 0 0,2 1 1 0 0,1 1-1 0 0,21-26 1 0 0,-32 45 72 0 0,0 1 1 0 0,0 0-1 0 0,1 0 0 0 0,0 0 0 0 0,-1 0 1 0 0,2 1-1 0 0,-1 0 0 0 0,0 0 1 0 0,1 1-1 0 0,0 0 0 0 0,-1 0 1 0 0,1 0-1 0 0,12-2 0 0 0,-15 4 11 0 0,0 1 0 0 0,0 0 0 0 0,0-1 0 0 0,0 1 0 0 0,0 0 0 0 0,0 1 1 0 0,0-1-1 0 0,0 1 0 0 0,0 0 0 0 0,0 0 0 0 0,0 0 0 0 0,0 0 0 0 0,0 1 0 0 0,-1 0 0 0 0,1-1 0 0 0,-1 1 0 0 0,1 1 0 0 0,-1-1 0 0 0,0 0 0 0 0,0 1 0 0 0,0-1 0 0 0,0 1 0 0 0,0 0 0 0 0,0 0 0 0 0,-1 1 0 0 0,4 4 0 0 0,-3-2 1 0 0,1 0-1 0 0,-1 1 0 0 0,0-1 0 0 0,0 1 0 0 0,-1 0 1 0 0,0-1-1 0 0,0 1 0 0 0,0 0 0 0 0,-1 0 1 0 0,0 1-1 0 0,-1-1 0 0 0,1 0 0 0 0,-1 0 1 0 0,-1 0-1 0 0,0 0 0 0 0,0 1 0 0 0,0-1 1 0 0,0 0-1 0 0,-1-1 0 0 0,-1 1 0 0 0,1 0 0 0 0,-1 0 1 0 0,0-1-1 0 0,0 0 0 0 0,-1 1 0 0 0,0-1 1 0 0,0 0-1 0 0,0-1 0 0 0,-1 1 0 0 0,-7 6 1 0 0,0-2-63 0 0,-1-1 1 0 0,0-1 0 0 0,0 0 0 0 0,-1-1 0 0 0,0 0-1 0 0,0-1 1 0 0,0 0 0 0 0,-1-1 0 0 0,0-1 0 0 0,0-1 0 0 0,0 0-1 0 0,-25 2 1 0 0,37-5-282 0 0,0 0 0 0 0,0 0 0 0 0,0-1 0 0 0,0 1 1 0 0,0 0-1 0 0,0-1 0 0 0,0 0 0 0 0,0 0 0 0 0,0 0 0 0 0,1 0 0 0 0,-5-3 0 0 0,6 4 223 0 0,1 0 1 0 0,0 0-1 0 0,-1 0 0 0 0,1 0 1 0 0,0-1-1 0 0,-1 1 0 0 0,1 0 0 0 0,0 0 1 0 0,-1-1-248 0 0,1 0 247 0 0,0 1 0 0 0,-1 0 0 0 0,1-1 1 0 0,0 1-1 0 0,0 0 0 0 0,0-1 1 0 0,0 1-1 0 0,-1 0 0 0 0,1-1 0 0 0,0 1 1 0 0,0-1-1 0 0,0 1 0 0 0,0-1 1 0 0</inkml:trace>
</inkml:ink>
</file>

<file path=ppt/ink/ink5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39:47.32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87 764 0 0,'14'8'707'0'0,"-1"2"0"0"0,0-1-1 0 0,0 1 1 0 0,-1 1 0 0 0,0 0-1 0 0,-1 1 1 0 0,-1 0 0 0 0,13 19 0 0 0,-18-24-545 0 0,0 0 0 0 0,-1 0 0 0 0,0 1 0 0 0,0 0 1 0 0,-1-1-1 0 0,0 1 0 0 0,-1 1 0 0 0,1-1 0 0 0,-2 0 1 0 0,1 0-1 0 0,-1 1 0 0 0,0-1 0 0 0,-1 1 0 0 0,0-1 1 0 0,0 1-1 0 0,-1-1 0 0 0,-2 14 0 0 0,-9 0 159 0 0,11-21-307 0 0,1 0 1 0 0,0 0 0 0 0,-1-1 0 0 0,1 1-1 0 0,-1 0 1 0 0,0 0 0 0 0,1-1 0 0 0,-1 1-1 0 0,1 0 1 0 0,-1-1 0 0 0,0 1 0 0 0,1-1-1 0 0,-1 1 1 0 0,0-1 0 0 0,0 1 0 0 0,1-1-1 0 0,-1 0 1 0 0,0 1 0 0 0,0-1 0 0 0,0 0-1 0 0,0 0 1 0 0,1 0 0 0 0,-1 1 0 0 0,0-1-1 0 0,0 0 1 0 0,0 0 0 0 0,-1 0 0 0 0,0-1-9 0 0,1 0 1 0 0,0 1-1 0 0,-1-1 1 0 0,1 0-1 0 0,0 0 1 0 0,-1 0-1 0 0,1 0 1 0 0,0 0-1 0 0,0 0 1 0 0,0 0-1 0 0,0 0 1 0 0,0 0-1 0 0,0-1 1 0 0,1 1-1 0 0,-1 0 1 0 0,0-1-1 0 0,1 1 1 0 0,-1-1-1 0 0,0 1 1 0 0,1 0-1 0 0,0-1 1 0 0,-1 1-1 0 0,1-1 1 0 0,0 1-1 0 0,0-1 1 0 0,0 1-1 0 0,0-3 1 0 0,0-1-1 0 0,1 1 0 0 0,0-1 1 0 0,0 1-1 0 0,1-1 0 0 0,-1 1 0 0 0,1 0 1 0 0,0-1-1 0 0,4-6 0 0 0,1 0-3 0 0,0 1 0 0 0,1 0-1 0 0,0 1 1 0 0,1 0 0 0 0,18-15 0 0 0,54-34-9 0 0,-66 48 1 0 0,157-90 350 0 0,-170 99-338 0 0,-5-2-11 0 0,3 3 3 0 0,0 0 1 0 0,0-1 0 0 0,0 1-1 0 0,0 0 1 0 0,0 0 0 0 0,-1 0-1 0 0,1-1 1 0 0,0 1 0 0 0,0 0-1 0 0,0 0 1 0 0,0 0-1 0 0,-1-1 1 0 0,1 1 0 0 0,0 0-1 0 0,0 0 1 0 0,0 0 0 0 0,-1 0-1 0 0,1 0 1 0 0,0-1 0 0 0,0 1-1 0 0,0 0 1 0 0,-1 0 0 0 0,1 0-1 0 0,0 0 1 0 0,0 0-1 0 0,-1 0 1 0 0,1 0 0 0 0,0 0-1 0 0,0 0 1 0 0,-1 0 0 0 0,1 0-1 0 0,0 0 1 0 0,0 0 0 0 0,-1 0-1 0 0,1 0 1 0 0,0 0 0 0 0,0 0-1 0 0,0 0 1 0 0,-1 0-1 0 0,1 1 1 0 0,0-1 0 0 0,-1 0-1 0 0,-3 1 9 0 0,-15 5-39 0 0,-1 0 0 0 0,0 2 1 0 0,-19 10-1 0 0,34-15 83 0 0,1-1 1 0 0,-1 1-1 0 0,0 0 0 0 0,1 1 1 0 0,0-1-1 0 0,-1 1 0 0 0,1 0 1 0 0,1 0-1 0 0,-1 0 0 0 0,1 1 0 0 0,-1-1 1 0 0,1 1-1 0 0,1 0 0 0 0,-1 0 1 0 0,1 0-1 0 0,-1 0 0 0 0,-1 7 0 0 0,4-10-9 0 0,-1 0-1 0 0,1 0 1 0 0,0 0 0 0 0,0 0-1 0 0,0 0 1 0 0,0 1-1 0 0,0-1 1 0 0,0 0-1 0 0,1 0 1 0 0,-1 0-1 0 0,1 0 1 0 0,-1 0-1 0 0,1 0 1 0 0,0 0-1 0 0,0 0 1 0 0,2 3-1 0 0,-1-1-2 0 0,1-1-1 0 0,0 0 0 0 0,0 0 0 0 0,0 0 1 0 0,0 0-1 0 0,0 0 0 0 0,1-1 0 0 0,3 3 1 0 0,4 2 18 0 0,1-1 0 0 0,0-1 1 0 0,1 0-1 0 0,17 4 1 0 0,-11-4-16 0 0,0-1 0 0 0,1 0 0 0 0,-1-2 0 0 0,1 0 0 0 0,0-2 0 0 0,0 0 0 0 0,-1-1 0 0 0,34-6 0 0 0,-40 5-35 0 0,-1-1 0 0 0,-1-1 0 0 0,1 0 0 0 0,0 0 0 0 0,-1-1 0 0 0,0-1 0 0 0,0 0 0 0 0,0 0 0 0 0,-1-1 0 0 0,0-1 0 0 0,-1 0 0 0 0,1 0 1 0 0,-1 0-1 0 0,-1-1 0 0 0,9-11 0 0 0,-1-4-50 0 0,-2 0 1 0 0,0-1-1 0 0,-1 0 1 0 0,13-38-1 0 0,26-113-60 0 0,-27 88 288 0 0,-10 33-144 0 0,-15 53-32 0 0,0 47 171 0 0,-9 241 920 0 0,4-249-823 0 0,0 0 0 0 0,-3 0-1 0 0,-1-1 1 0 0,-1-1-1 0 0,-26 58 1 0 0,31-84-186 0 0,1 0 0 0 0,-2-1 1 0 0,1 0-1 0 0,-9 10 0 0 0,11-14-51 0 0,0-1-1 0 0,-1 1 1 0 0,1-1 0 0 0,-1 0-1 0 0,0 0 1 0 0,0 0-1 0 0,0-1 1 0 0,0 1 0 0 0,0-1-1 0 0,-7 2 1 0 0,10-3-41 0 0,0-1 0 0 0,0 1 0 0 0,0-1 0 0 0,0 0-1 0 0,0 0 1 0 0,0 0 0 0 0,0 0 0 0 0,0 1 0 0 0,0-1 0 0 0,0 0 0 0 0,0-1 0 0 0,0 1 0 0 0,0 0-1 0 0,0 0 1 0 0,0 0 0 0 0,0-1 0 0 0,0 1 0 0 0,0 0 0 0 0,0-1 0 0 0,0 1 0 0 0,0-1 0 0 0,0 1-1 0 0,0-1 1 0 0,-1-1 0 0 0,1 1-18 0 0,0 0 0 0 0,0-1 0 0 0,0 1-1 0 0,1-1 1 0 0,-1 1 0 0 0,0-1 0 0 0,1 0-1 0 0,-1 1 1 0 0,1-1 0 0 0,0 0 0 0 0,-1 1 0 0 0,1-1-1 0 0,0-2 1 0 0,0-3-56 0 0,0 1 0 0 0,1-1 0 0 0,-1 1 0 0 0,1 0 0 0 0,1 0-1 0 0,3-11 1 0 0,2 2-38 0 0,0 0-1 0 0,1 1 0 0 0,10-14 1 0 0,-15 23 79 0 0,1 1 0 0 0,-1-1 0 0 0,1 1 0 0 0,0 0 0 0 0,0 0 0 0 0,0 0 0 0 0,0 1 0 0 0,1-1 0 0 0,0 1 0 0 0,-1 0 0 0 0,11-4-1 0 0,-11 6 27 0 0,0 0 0 0 0,-1 1-1 0 0,1 0 1 0 0,0 0 0 0 0,0 0-1 0 0,0 0 1 0 0,-1 0 0 0 0,1 1-1 0 0,0 0 1 0 0,-1 0 0 0 0,1 0-1 0 0,0 0 1 0 0,-1 0 0 0 0,1 1-1 0 0,-1 0 1 0 0,6 3 0 0 0,6 5-38 0 0,-1 0 1 0 0,17 16-1 0 0,-17-14 35 0 0,-2-2 37 0 0,1 0 0 0 0,0 0-1 0 0,1-2 1 0 0,0 0 0 0 0,1 0-1 0 0,-1-1 1 0 0,1-1 0 0 0,1-1-1 0 0,16 5 1 0 0,-29-10-22 0 0,0 0-1 0 0,0 0 1 0 0,-1 0-1 0 0,1 0 1 0 0,0 0-1 0 0,0 0 1 0 0,0-1-1 0 0,-1 0 1 0 0,1 1-1 0 0,0-1 1 0 0,-1 0-1 0 0,1 0 1 0 0,-1-1-1 0 0,1 1 1 0 0,-1 0-1 0 0,1-1 1 0 0,1-1-1 0 0,2-2 5 0 0,0 0-1 0 0,0 0 1 0 0,0-1 0 0 0,7-9-1 0 0,8-14 533 0 0,-2-1 0 0 0,32-64-1 0 0,-44 84-390 0 0,-4 15 6 0 0,-2 15-60 0 0,-18 76 49 0 0,-2 15-5037 0 0,16-86 2391 0 0,3-18 705 0 0,1-18-1587 0 0,1-59 3814 0 0,-11-109 0 0 0,-16-19 1787 0 0,24 193-2577 0 0,0 0-1 0 0,1-1 1 0 0,0 1-1 0 0,-1 0 1 0 0,2 0-1 0 0,0-6 1 0 0,17 5-3746 0 0</inkml:trace>
</inkml:ink>
</file>

<file path=ppt/ink/ink5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39:47.73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5 210 1288 0 0,'6'9'4273'0'0,"-7"-4"-3775"0"0,-1 0 0 0 0,0 0 0 0 0,0 0 0 0 0,0-1 0 0 0,0 1 0 0 0,-1-1 0 0 0,0 1 0 0 0,0-1 0 0 0,0 0 0 0 0,-4 4 0 0 0,-14 21 891 0 0,17-20-1148 0 0,-1 0 1 0 0,1 0 0 0 0,1 1-1 0 0,0-1 1 0 0,0 1-1 0 0,1-1 1 0 0,0 1 0 0 0,0 0-1 0 0,1 0 1 0 0,1 0-1 0 0,0 0 1 0 0,0 0 0 0 0,1-1-1 0 0,2 13 1 0 0,-1-13-169 0 0,0-1 0 0 0,1 0 0 0 0,0 1 0 0 0,0-1 0 0 0,1-1 1 0 0,0 1-1 0 0,0 0 0 0 0,1-1 0 0 0,0 0 0 0 0,0 0 0 0 0,1-1 0 0 0,-1 1 0 0 0,2-1 1 0 0,-1 0-1 0 0,1-1 0 0 0,12 9 0 0 0,-12-10-45 0 0,-1 0 0 0 0,1-1 0 0 0,0 1 0 0 0,0-1 1 0 0,0-1-1 0 0,0 1 0 0 0,1-1 0 0 0,-1-1 0 0 0,1 1 0 0 0,-1-1 0 0 0,1-1 1 0 0,0 1-1 0 0,13-2 0 0 0,-15 0-52 0 0,-1 0-1 0 0,1-1 1 0 0,-1 1 0 0 0,1-1 0 0 0,-1 0 0 0 0,0-1-1 0 0,1 1 1 0 0,-1-1 0 0 0,-1 0 0 0 0,1 0 0 0 0,0-1-1 0 0,-1 1 1 0 0,1-1 0 0 0,-1 0 0 0 0,0 0 0 0 0,-1-1-1 0 0,1 1 1 0 0,-1-1 0 0 0,4-5 0 0 0,4-10-189 0 0,0-1 0 0 0,-2-1 0 0 0,0 0 0 0 0,6-26 0 0 0,18-96-198 0 0,-15 59 493 0 0,22-92 3096 0 0,-40 177-3167 0 0,0-1 0 0 0,0 1 0 0 0,0 0 0 0 0,-1-1-1 0 0,1 1 1 0 0,0-1 0 0 0,0 1 0 0 0,0 0 0 0 0,0-1 0 0 0,1 1 0 0 0,-1-1 0 0 0,0 1-1 0 0,0 0 1 0 0,0-1 0 0 0,0 1 0 0 0,0 0 0 0 0,0-1 0 0 0,1 1 0 0 0,-1-1-1 0 0,0 1 1 0 0,0 0 0 0 0,0 0 0 0 0,1-1 0 0 0,-1 1 0 0 0,0 0 0 0 0,1-1 0 0 0,-1 1-1 0 0,0 0 1 0 0,0 0 0 0 0,1-1 0 0 0,-1 1 0 0 0,0 0 0 0 0,1 0 0 0 0,-1 0 0 0 0,1 0-1 0 0,-1 0 1 0 0,1-1 0 0 0,7 15 138 0 0,3 26-47 0 0,7 55 79 0 0,8 131 0 0 0,-21-87-2658 0 0,-4-106 872 0 0,0 20-1643 0 0,-6-21-2204 0 0,-1-20 623 0 0</inkml:trace>
</inkml:ink>
</file>

<file path=ppt/ink/ink5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39:48.11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 201 1832 0 0,'-1'-2'343'0'0,"1"-1"-1"0"0,-1 0 0 0 0,0 0 1 0 0,1 0-1 0 0,0 0 1 0 0,-1 0-1 0 0,1 0 1 0 0,0 0-1 0 0,1 0 0 0 0,-1 0 1 0 0,1 0-1 0 0,-1 0 1 0 0,1 1-1 0 0,0-1 0 0 0,0 0 1 0 0,0 0-1 0 0,3-5 1 0 0,-1 4-119 0 0,0-1 1 0 0,1 1-1 0 0,-1 0 0 0 0,1 0 1 0 0,0 0-1 0 0,0 1 0 0 0,1-1 1 0 0,-1 1-1 0 0,6-3 1 0 0,10-5 87 0 0,0 2 1 0 0,1 0-1 0 0,36-10 1 0 0,-52 18-158 0 0,192-49 3291 0 0,-194 49-3330 0 0,0 0 1 0 0,0 1-1 0 0,0-1 1 0 0,1 1 0 0 0,-1 0-1 0 0,0-1 1 0 0,1 2-1 0 0,-1-1 1 0 0,0 0 0 0 0,1 1-1 0 0,-1-1 1 0 0,0 1-1 0 0,0 0 1 0 0,0 0-1 0 0,0 0 1 0 0,0 1 0 0 0,0-1-1 0 0,0 1 1 0 0,0-1-1 0 0,0 1 1 0 0,0 0 0 0 0,-1 0-1 0 0,1 0 1 0 0,-1 1-1 0 0,0-1 1 0 0,3 4 0 0 0,-2-1-35 0 0,0 0 0 0 0,0 0-1 0 0,-1 0 1 0 0,0 0 0 0 0,0 1 0 0 0,0-1 0 0 0,-1 1 0 0 0,1-1 0 0 0,-1 1 0 0 0,-1 0 0 0 0,1-1 0 0 0,-1 1 0 0 0,0 10 0 0 0,-2-5-534 0 0,1 0 0 0 0,-1 0 0 0 0,-1 0 0 0 0,0 0-1 0 0,-5 13 1 0 0,-14 22-9375 0 0</inkml:trace>
</inkml:ink>
</file>

<file path=ppt/ink/ink5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39:48.49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0 242 548 0 0,'-25'-151'11337'0'0,"11"83"-9247"0"0,13 51-2603 0 0,1 17 428 0 0,0 0 1 0 0,0-1-1 0 0,1 1 1 0 0,-1 0 0 0 0,0 0-1 0 0,0-1 1 0 0,0 1 0 0 0,0 0-1 0 0,0 0 1 0 0,0-1 0 0 0,1 1-1 0 0,-1 0 1 0 0,0 0 0 0 0,0 0-1 0 0,0-1 1 0 0,1 1 0 0 0,-1 0-1 0 0,0 0 1 0 0,0 0-1 0 0,1 0 1 0 0,-1-1 0 0 0,0 1-1 0 0,0 0 1 0 0,1 0 0 0 0,-1 0-1 0 0,0 0 1 0 0,1 0 0 0 0,1 0-517 0 0,1 0 0 0 0,-1 1 1 0 0,0 0-1 0 0,1-1 0 0 0,-1 1 0 0 0,0 0 1 0 0,0 0-1 0 0,4 2 0 0 0,2 1-21 0 0,4 2-2045 0 0</inkml:trace>
  <inkml:trace contextRef="#ctx0" brushRef="#br0" timeOffset="1">268 199 84 0 0,'4'5'604'0'0,"0"1"-1"0"0,0 0 1 0 0,-1-1-1 0 0,0 1 1 0 0,0 0-1 0 0,0 1 1 0 0,-1-1-1 0 0,0 0 1 0 0,2 8-1 0 0,-1 7 1251 0 0,2 33 1 0 0,-5-42-1406 0 0,0-1 0 0 0,1 0 0 0 0,1 0 0 0 0,-1 1 1 0 0,2-1-1 0 0,0 0 0 0 0,0 0 0 0 0,1-1 0 0 0,0 1 1 0 0,8 13-1 0 0,-5-15-277 0 0,0 0 1 0 0,1 0-1 0 0,0-1 1 0 0,0 0-1 0 0,1-1 1 0 0,0 1-1 0 0,0-2 1 0 0,1 0-1 0 0,0 0 1 0 0,0 0-1 0 0,1-1 1 0 0,-1-1-1 0 0,12 4 1 0 0,-16-6-151 0 0,0 0 0 0 0,0 0 0 0 0,0-1 0 0 0,0 0 1 0 0,1 0-1 0 0,-1-1 0 0 0,0 1 0 0 0,1-1 0 0 0,-1-1 0 0 0,0 1 0 0 0,0-1 0 0 0,0 0 0 0 0,1-1 1 0 0,-1 1-1 0 0,0-1 0 0 0,0 0 0 0 0,-1-1 0 0 0,1 1 0 0 0,0-1 0 0 0,-1-1 0 0 0,0 1 1 0 0,0-1-1 0 0,0 1 0 0 0,0-1 0 0 0,5-6 0 0 0,-8 8-20 0 0,0-1 0 0 0,0 0 0 0 0,0 1 0 0 0,0-1 0 0 0,0 0 0 0 0,-1 0 0 0 0,0 0 0 0 0,1 0 0 0 0,-1 0 0 0 0,0-1 0 0 0,0 1 0 0 0,-1 0 0 0 0,1-1 0 0 0,-1 1 0 0 0,1 0 0 0 0,-1-1 0 0 0,-1-5 0 0 0,0 4 2 0 0,0-1 0 0 0,-1 0 1 0 0,1 1-1 0 0,-1-1 0 0 0,-1 1 0 0 0,1 0 1 0 0,-1 0-1 0 0,0 0 0 0 0,-5-8 0 0 0,-4-2-35 0 0,-1 1 0 0 0,-1 0 0 0 0,0 0 0 0 0,-1 1 0 0 0,-17-11 0 0 0,9 8-1309 0 0,-1 2-1 0 0,-1 0 1 0 0,-42-16 0 0 0,65 29 843 0 0,-10-3-869 0 0,-11 2-6657 0 0</inkml:trace>
</inkml:ink>
</file>

<file path=ppt/ink/ink5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39:48.86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1512 0 0,'5'4'881'0'0,"0"2"-1"0"0,-1-1 0 0 0,0 0 1 0 0,0 1-1 0 0,0 0 1 0 0,0 0-1 0 0,-1 0 1 0 0,0 0-1 0 0,2 7 0 0 0,2 9 1308 0 0,5 30 0 0 0,-8-36-1384 0 0,2 5 1489 0 0,-6-20-2146 0 0,0 0 0 0 0,1 0 0 0 0,-1-1 0 0 0,0 1 0 0 0,0 0 0 0 0,0-1 0 0 0,1 1 0 0 0,-1 0 0 0 0,0-1 0 0 0,1 1 0 0 0,-1-1 0 0 0,0 1 0 0 0,1 0-1 0 0,-1-1 1 0 0,1 1 0 0 0,-1-1 0 0 0,1 1 0 0 0,-1-1 0 0 0,1 1 0 0 0,0-1 0 0 0,-1 0 0 0 0,1 1 0 0 0,-1-1 0 0 0,1 0 0 0 0,1 1 0 0 0,14-10 166 0 0,-1 0 0 0 0,1-1-1 0 0,16-15 1 0 0,-15 11-241 0 0,1 1 0 0 0,28-15 0 0 0,-30 20-71 0 0,0 1 0 0 0,0 0-1 0 0,1 1 1 0 0,0 1-1 0 0,23-3 1 0 0,-35 7-69 0 0,0 1 0 0 0,0-1 0 0 0,0 2 0 0 0,0-1 1 0 0,0 0-1 0 0,-1 1 0 0 0,1 0 0 0 0,0 0 0 0 0,0 1 0 0 0,0-1 1 0 0,-1 1-1 0 0,1 0 0 0 0,-1 0 0 0 0,1 1 0 0 0,-1-1 0 0 0,0 1 1 0 0,0 0-1 0 0,0 0 0 0 0,0 0 0 0 0,-1 1 0 0 0,1-1 0 0 0,2 5 1 0 0,-2-3-366 0 0,0 1 0 0 0,-1-1 1 0 0,0 0-1 0 0,0 1 1 0 0,0 0-1 0 0,0 0 0 0 0,-1 0 1 0 0,0 0-1 0 0,-1 0 0 0 0,1 0 1 0 0,-1 1-1 0 0,-1-1 0 0 0,1 0 1 0 0,-1 1-1 0 0,0-1 1 0 0,-1 8-1 0 0,-9 40-7639 0 0,6-43 4382 0 0</inkml:trace>
</inkml:ink>
</file>

<file path=ppt/ink/ink5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39:49.54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00 100 464 0 0,'2'-3'303'0'0,"-1"0"1"0"0,1-1-1 0 0,-1 1 0 0 0,0 0 1 0 0,0-1-1 0 0,-1 1 0 0 0,1 0 1 0 0,-1-1-1 0 0,1 1 0 0 0,-1-1 0 0 0,0 1 1 0 0,0-1-1 0 0,-1 1 0 0 0,1-1 1 0 0,-1 1-1 0 0,1-1 0 0 0,-1 1 1 0 0,0-1-1 0 0,-1 1 0 0 0,1 0 1 0 0,0 0-1 0 0,-1 0 0 0 0,0 0 1 0 0,0 0-1 0 0,0 0 0 0 0,-4-5 0 0 0,5 8-275 0 0,1-1-1 0 0,-1 1 0 0 0,0-1 1 0 0,1 1-1 0 0,-1-1 0 0 0,0 1 1 0 0,0-1-1 0 0,1 1 0 0 0,-1 0 0 0 0,0 0 1 0 0,0-1-1 0 0,1 1 0 0 0,-1 0 1 0 0,0 0-1 0 0,0 0 0 0 0,0 0 0 0 0,1 0 1 0 0,-1 0-1 0 0,0 0 0 0 0,0 0 1 0 0,0 0-1 0 0,1 0 0 0 0,-1 0 1 0 0,0 0-1 0 0,0 1 0 0 0,0-1 0 0 0,1 0 1 0 0,-1 1-1 0 0,0-1 0 0 0,1 1 1 0 0,-1-1-1 0 0,0 0 0 0 0,1 1 0 0 0,-1 0 1 0 0,0-1-1 0 0,0 1 0 0 0,0 1 26 0 0,0-1 0 0 0,0 0 0 0 0,0 0 0 0 0,0 1 0 0 0,0-1 0 0 0,0 1 0 0 0,0-1 0 0 0,1 1 0 0 0,-1-1 0 0 0,0 1-1 0 0,1-1 1 0 0,0 1 0 0 0,-1 0 0 0 0,1-1 0 0 0,0 1 0 0 0,-1 2 0 0 0,3 3 61 0 0,-1 1 0 0 0,1-1 0 0 0,0 0 0 0 0,0 0-1 0 0,1 0 1 0 0,-1-1 0 0 0,2 1 0 0 0,5 9 0 0 0,39 50 477 0 0,-27-38-408 0 0,-1-3-47 0 0,-10-13-79 0 0,-1 0 1 0 0,0 1-1 0 0,0 0 1 0 0,-1 0-1 0 0,-1 0 0 0 0,10 29 1 0 0,-16-40-48 0 0,0 0 0 0 0,-1 1 0 0 0,0-1 0 0 0,1 0 0 0 0,-1 0 0 0 0,0 1 0 0 0,0-1 0 0 0,0 0 1 0 0,-1 0-1 0 0,1 1 0 0 0,-1-1 0 0 0,1 0 0 0 0,-1 0 0 0 0,1 0 0 0 0,-1 1 0 0 0,0-1 0 0 0,0 0 0 0 0,0 0 0 0 0,-2 2 0 0 0,0-1 3 0 0,0 0 0 0 0,1 0 0 0 0,-1 0 0 0 0,-1-1 0 0 0,1 1 0 0 0,0-1 0 0 0,0 0 0 0 0,-1 0 0 0 0,1 0 0 0 0,-6 1 0 0 0,0 1 9 0 0,0-2-1 0 0,0 1 1 0 0,0-1-1 0 0,0-1 1 0 0,0 0 0 0 0,0 0-1 0 0,0-1 1 0 0,0 0-1 0 0,-10-1 1 0 0,14 0-41 0 0,0 0 0 0 0,0 0-1 0 0,1 0 1 0 0,-1 0 0 0 0,0-1 0 0 0,1 0 0 0 0,-1 0-1 0 0,1 0 1 0 0,0-1 0 0 0,0 1 0 0 0,0-1 0 0 0,0 0-1 0 0,0 0 1 0 0,-6-7 0 0 0,8 7-23 0 0,0 0-1 0 0,0-1 1 0 0,0 1 0 0 0,0 0-1 0 0,1-1 1 0 0,-1 0 0 0 0,1 1-1 0 0,0-1 1 0 0,0 0 0 0 0,1 0-1 0 0,-1 0 1 0 0,1 1 0 0 0,-1-1-1 0 0,1 0 1 0 0,0 0 0 0 0,1 0-1 0 0,-1 0 1 0 0,1 0-1 0 0,1-4 1 0 0,-1 4 2 0 0,1-9-119 0 0,1 1 0 0 0,1 0 0 0 0,6-15-1 0 0,-27 46 286 0 0,1 7-45 0 0,1 0-1 0 0,1 1 1 0 0,-20 53 0 0 0,23-52-312 0 0,-1 8-2604 0 0,11-34 1924 0 0</inkml:trace>
</inkml:ink>
</file>

<file path=ppt/ink/ink5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39:50.19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320 0 0,'3'0'1724'0'0,"0"0"-1460"0"0,-1 0 1 0 0,0 0-1 0 0,0 1 1 0 0,0-1-1 0 0,0 0 1 0 0,0 1-1 0 0,0 0 1 0 0,0-1-1 0 0,0 1 1 0 0,0 0-1 0 0,0 0 1 0 0,-1 0-1 0 0,1 0 1 0 0,0 0-1 0 0,-1 1 1 0 0,1-1-1 0 0,2 3 1 0 0,-1-1 81 0 0,-1 0-1 0 0,1 1 1 0 0,-1-1 0 0 0,0 1-1 0 0,0 0 1 0 0,-1 0 0 0 0,1 0-1 0 0,1 6 1 0 0,1 8 472 0 0,-1 0 0 0 0,-1 1 1 0 0,0 24-1 0 0,-1-27-348 0 0,3 100 1111 0 0,-4-66 2951 0 0,15-56-4221 0 0,-7 0-362 0 0,-1 0 0 0 0,0 0 1 0 0,0 0-1 0 0,11-14 0 0 0,8-7-228 0 0,-18 19 213 0 0,1 0-1 0 0,1 1 0 0 0,-1 1 1 0 0,1-1-1 0 0,0 2 0 0 0,1-1 0 0 0,-1 1 1 0 0,1 1-1 0 0,0 0 0 0 0,20-4 0 0 0,-28 7 59 0 0,0 1 0 0 0,-1 0 0 0 0,1 0 0 0 0,0 1 0 0 0,0-1-1 0 0,-1 1 1 0 0,1-1 0 0 0,0 1 0 0 0,0 0 0 0 0,-1 0 0 0 0,1 0-1 0 0,-1 0 1 0 0,1 0 0 0 0,-1 1 0 0 0,0-1 0 0 0,1 1 0 0 0,-1 0 0 0 0,4 3-1 0 0,1 3-6 0 0,0-1-1 0 0,0 2 1 0 0,7 11-1 0 0,-10-14 13 0 0,1 1-1 0 0,4 7 35 0 0,0-1 1 0 0,1-1 0 0 0,16 17 0 0 0,-22-26-21 0 0,0 1 0 0 0,0-1 1 0 0,0 0-1 0 0,1 0 0 0 0,-1-1 1 0 0,1 1-1 0 0,-1-1 1 0 0,1 0-1 0 0,0 0 0 0 0,0-1 1 0 0,0 1-1 0 0,0-1 0 0 0,0 0 1 0 0,0-1-1 0 0,7 1 0 0 0,-6-1-14 0 0,0 0 0 0 0,0-1 0 0 0,0 0 0 0 0,0 0 0 0 0,-1 0 0 0 0,1-1 0 0 0,-1 1-1 0 0,1-1 1 0 0,-1-1 0 0 0,1 1 0 0 0,-1-1 0 0 0,6-4 0 0 0,-5 2-65 0 0,1 0 1 0 0,-1-1-1 0 0,0 0 1 0 0,-1 0-1 0 0,1 0 1 0 0,-1-1-1 0 0,0 0 1 0 0,5-11-1 0 0,-8 15 52 0 0,-1-1 0 0 0,1 1 0 0 0,-1-1 0 0 0,0 0 0 0 0,0 1 0 0 0,-1-1 0 0 0,1 0-1 0 0,-1 0 1 0 0,0 1 0 0 0,0-1 0 0 0,0 0 0 0 0,0 0 0 0 0,-1 0 0 0 0,1 1 0 0 0,-1-1 0 0 0,0 0-1 0 0,0 1 1 0 0,-1-1 0 0 0,1 1 0 0 0,-1-1 0 0 0,1 1 0 0 0,-1 0 0 0 0,0-1 0 0 0,0 1 0 0 0,-1 0-1 0 0,1 0 1 0 0,-1 1 0 0 0,1-1 0 0 0,-1 0 0 0 0,0 1 0 0 0,0 0 0 0 0,0-1 0 0 0,-1 1-1 0 0,1 0 1 0 0,-6-2 0 0 0,7 3 13 0 0,-1 0 0 0 0,0 0-1 0 0,1 0 1 0 0,-1 1 0 0 0,0-1-1 0 0,0 1 1 0 0,1 0 0 0 0,-1 0-1 0 0,0-1 1 0 0,0 2 0 0 0,1-1-1 0 0,-1 0 1 0 0,0 1 0 0 0,0-1-1 0 0,1 1 1 0 0,-1 0 0 0 0,0 0 0 0 0,1 0-1 0 0,-1 0 1 0 0,1 0 0 0 0,-1 0-1 0 0,1 1 1 0 0,0-1 0 0 0,-1 1-1 0 0,1 0 1 0 0,0 0 0 0 0,0 0-1 0 0,0 0 1 0 0,1 0 0 0 0,-1 0-1 0 0,-2 4 1 0 0,2-3 27 0 0,1 0 0 0 0,0 0 0 0 0,0 0 0 0 0,-1 0 0 0 0,2 0-1 0 0,-1 0 1 0 0,0 0 0 0 0,1 0 0 0 0,-1 0 0 0 0,1 1 0 0 0,0-1 0 0 0,0 0 0 0 0,0 0 0 0 0,1 1-1 0 0,-1-1 1 0 0,1 0 0 0 0,-1 0 0 0 0,1 0 0 0 0,0 0 0 0 0,1 0 0 0 0,-1 0 0 0 0,0 0 0 0 0,1 0-1 0 0,0 0 1 0 0,-1 0 0 0 0,1-1 0 0 0,2 3 0 0 0,3 2 15 0 0,0-1 0 0 0,-1 0 0 0 0,2 0-1 0 0,-1-1 1 0 0,1 0 0 0 0,0 0 0 0 0,0-1 0 0 0,0 0 0 0 0,0-1-1 0 0,1 1 1 0 0,15 2 0 0 0,-21-5-30 0 0,0 0 1 0 0,1 0-1 0 0,-1 0 0 0 0,0-1 1 0 0,1 0-1 0 0,-1 0 1 0 0,0 0-1 0 0,1 0 0 0 0,-1 0 1 0 0,1 0-1 0 0,-1-1 0 0 0,0 0 1 0 0,0 0-1 0 0,1 0 0 0 0,-1 0 1 0 0,0 0-1 0 0,0 0 0 0 0,0-1 1 0 0,0 0-1 0 0,0 0 1 0 0,0 0-1 0 0,-1 0 0 0 0,1 0 1 0 0,-1 0-1 0 0,1 0 0 0 0,3-5 1 0 0,-3 2-8 0 0,0 0 1 0 0,-1 0 0 0 0,1 0-1 0 0,-1 0 1 0 0,0 0-1 0 0,0 0 1 0 0,-1-1 0 0 0,0 1-1 0 0,0 0 1 0 0,0-1 0 0 0,0 0-1 0 0,-1 1 1 0 0,0-1-1 0 0,-1-10 1 0 0,-1 6-191 0 0,0 1 1 0 0,0-1-1 0 0,-1 1 0 0 0,0 0 0 0 0,-1 0 1 0 0,0 0-1 0 0,0 0 0 0 0,-1 1 0 0 0,0 0 1 0 0,-1 0-1 0 0,1 0 0 0 0,-13-11 0 0 0,11 11-823 0 0,-1 1-1 0 0,0 0 1 0 0,-1 0-1 0 0,1 1 1 0 0,-1 1-1 0 0,-16-9 1 0 0</inkml:trace>
</inkml:ink>
</file>

<file path=ppt/ink/ink5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39:53.34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3 174 700 0 0,'0'0'5615'0'0,"-2"2"-4870"0"0,-4 6-293 0 0,1 0 0 0 0,-1 0 0 0 0,1 0 1 0 0,0 1-1 0 0,1 0 0 0 0,0 0 0 0 0,1 0 0 0 0,-1 0 0 0 0,2 1 0 0 0,-4 18 0 0 0,6-22-373 0 0,-1 0 0 0 0,1 0 0 0 0,1 0-1 0 0,-1-1 1 0 0,1 1 0 0 0,0 0 0 0 0,0 0-1 0 0,1-1 1 0 0,0 1 0 0 0,0 0-1 0 0,0-1 1 0 0,0 0 0 0 0,1 0 0 0 0,0 1-1 0 0,0-2 1 0 0,1 1 0 0 0,-1 0-1 0 0,1-1 1 0 0,0 1 0 0 0,6 4 0 0 0,-6-6-58 0 0,0 0 1 0 0,0 1-1 0 0,0-2 1 0 0,1 1 0 0 0,-1 0-1 0 0,1-1 1 0 0,0 0 0 0 0,-1 0-1 0 0,1-1 1 0 0,0 1 0 0 0,0-1-1 0 0,1 0 1 0 0,-1 0-1 0 0,0-1 1 0 0,0 1 0 0 0,0-1-1 0 0,0 0 1 0 0,1-1 0 0 0,-1 1-1 0 0,0-1 1 0 0,0 0 0 0 0,0 0-1 0 0,0-1 1 0 0,7-2-1 0 0,8-5-27 0 0,0-1-1 0 0,-1-1 0 0 0,-1 0 0 0 0,25-21 0 0 0,-24 18-59 0 0,-17 13 36 0 0,4 4-165 0 0,-6-3 193 0 0,1 0 0 0 0,0 0 1 0 0,-1 0-1 0 0,1 0 0 0 0,-1 0 0 0 0,1 0 1 0 0,0 0-1 0 0,-1 0 0 0 0,1 1 0 0 0,-1-1 1 0 0,1 0-1 0 0,-1 0 0 0 0,1 1 1 0 0,-1-1-1 0 0,1 0 0 0 0,-1 1 0 0 0,1-1 1 0 0,-1 0-1 0 0,1 1 0 0 0,2 4 17 0 0,1-1-1 0 0,-1 0 1 0 0,1 0-1 0 0,0 0 1 0 0,0 0-1 0 0,0-1 1 0 0,0 1-1 0 0,1-1 1 0 0,-1 0-1 0 0,1-1 1 0 0,0 1-1 0 0,0-1 1 0 0,0 0-1 0 0,0 0 1 0 0,0 0-1 0 0,1-1 1 0 0,-1 0-1 0 0,1 0 1 0 0,-1 0-1 0 0,7 0 1 0 0,-1-1 19 0 0,1 1 1 0 0,-1-2-1 0 0,1 1 1 0 0,0-1-1 0 0,-1-1 1 0 0,0 0 0 0 0,1-1-1 0 0,18-7 1 0 0,-17 4-50 0 0,-1 0-1 0 0,-1-1 1 0 0,1-1 0 0 0,-1 1 0 0 0,0-2 0 0 0,-1 0 0 0 0,0 0 0 0 0,0-1 0 0 0,-1 0-1 0 0,-1 0 1 0 0,10-14 0 0 0,-5 1-85 0 0,0 1-1 0 0,-1-2 1 0 0,-1 0 0 0 0,14-46-1 0 0,-22 60 87 0 0,0 0 0 0 0,-1-1-1 0 0,2-17 1 0 0,-4 26 15 0 0,0 1 1 0 0,1-1 0 0 0,-1 0-1 0 0,0 0 1 0 0,0 0-1 0 0,-1 1 1 0 0,1-1-1 0 0,0 0 1 0 0,0 0 0 0 0,-1 0-1 0 0,1 1 1 0 0,-1-1-1 0 0,0 0 1 0 0,1 0-1 0 0,-1 1 1 0 0,0-1 0 0 0,0 1-1 0 0,0-1 1 0 0,0 1-1 0 0,0-1 1 0 0,0 1-1 0 0,-1 0 1 0 0,1-1 0 0 0,0 1-1 0 0,-1 0 1 0 0,1 0-1 0 0,-3-2 1 0 0,1 3 7 0 0,0-1-1 0 0,-1 0 1 0 0,1 1 0 0 0,0 0-1 0 0,0-1 1 0 0,0 1 0 0 0,0 0-1 0 0,-1 1 1 0 0,1-1 0 0 0,0 1-1 0 0,0-1 1 0 0,0 1 0 0 0,0 0-1 0 0,0 0 1 0 0,0 0 0 0 0,0 0-1 0 0,0 1 1 0 0,0-1 0 0 0,1 1-1 0 0,-1 0 1 0 0,0 0 0 0 0,1 0-1 0 0,0 0 1 0 0,-1 0 0 0 0,1 1-1 0 0,0-1 1 0 0,0 0 0 0 0,-3 6-1 0 0,0 0 87 0 0,0 0 0 0 0,0 0 0 0 0,0 1 0 0 0,1-1 0 0 0,1 1 0 0 0,-1 0 0 0 0,2 0 0 0 0,-3 11 0 0 0,3-8-1 0 0,1 0 0 0 0,1 1 0 0 0,0-1 0 0 0,0 0 0 0 0,1 0 0 0 0,1 0 0 0 0,0 0 0 0 0,1 0 0 0 0,0 0 0 0 0,1-1 0 0 0,0 1 0 0 0,1-1 0 0 0,7 13 0 0 0,-3-9-40 0 0,-1-1-1 0 0,2 0 1 0 0,0-1-1 0 0,1 0 1 0 0,0-1-1 0 0,1 0 1 0 0,0-1-1 0 0,1 0 1 0 0,15 10 0 0 0,-23-18-57 0 0,1 1 1 0 0,0-1 0 0 0,1 0-1 0 0,-1 0 1 0 0,0 0 0 0 0,1-1-1 0 0,-1 0 1 0 0,1-1 0 0 0,0 1-1 0 0,0-1 1 0 0,-1-1 0 0 0,1 1-1 0 0,0-1 1 0 0,0 0-1 0 0,0-1 1 0 0,0 1 0 0 0,0-1-1 0 0,-1-1 1 0 0,13-3 0 0 0,-9 1-140 0 0,0-1 1 0 0,0 0-1 0 0,0 0 0 0 0,-1-1 1 0 0,0 0-1 0 0,0-1 0 0 0,0 0 1 0 0,-1-1-1 0 0,0 1 1 0 0,0-1-1 0 0,9-14 0 0 0,65-110-933 0 0,-22 32 489 0 0,-60 99 584 0 0,1 0 0 0 0,-1 0-1 0 0,0 1 1 0 0,1-1 0 0 0,-1 0 0 0 0,1 1 0 0 0,-1-1 0 0 0,1 1-1 0 0,-1-1 1 0 0,1 1 0 0 0,-1-1 0 0 0,1 1 0 0 0,-1-1 0 0 0,1 1 0 0 0,0-1-1 0 0,-1 1 1 0 0,1 0 0 0 0,0-1 0 0 0,0 1 0 0 0,-1 0 0 0 0,2-1-1 0 0,-1 1 13 0 0,-1 1 0 0 0,0-1 0 0 0,1 1-1 0 0,-1-1 1 0 0,1 0 0 0 0,-1 1-1 0 0,0-1 1 0 0,0 1 0 0 0,1-1 0 0 0,-1 1-1 0 0,0-1 1 0 0,0 1 0 0 0,1-1-1 0 0,-1 1 1 0 0,0-1 0 0 0,0 1 0 0 0,0-1-1 0 0,0 1 1 0 0,0-1 0 0 0,0 1-1 0 0,0-1 1 0 0,0 1 0 0 0,-2 38 463 0 0,-4-14-237 0 0,0 1-1 0 0,-2-1 1 0 0,-1 0 0 0 0,-1-1-1 0 0,-24 44 1 0 0,29-59-186 0 0,-1 0 1 0 0,0-1-1 0 0,-1 1 1 0 0,0-1-1 0 0,0 0 0 0 0,-1-1 1 0 0,0 0-1 0 0,0 0 1 0 0,0 0-1 0 0,-1-1 1 0 0,0-1-1 0 0,-1 1 1 0 0,1-2-1 0 0,-1 1 0 0 0,0-1 1 0 0,0-1-1 0 0,-11 3 1 0 0,19-5-43 0 0,0 0 0 0 0,0-1 1 0 0,-1 0-1 0 0,1 0 0 0 0,0 1 0 0 0,0-1 1 0 0,0 0-1 0 0,-1-1 0 0 0,1 1 0 0 0,0 0 0 0 0,0-1 1 0 0,0 1-1 0 0,-1-1 0 0 0,1 0 0 0 0,0 1 1 0 0,0-1-1 0 0,0 0 0 0 0,0 0 0 0 0,1-1 1 0 0,-1 1-1 0 0,0 0 0 0 0,0-1 0 0 0,1 1 1 0 0,-4-4-1 0 0,2-6-1 0 0,3 9-10 0 0,0-1 0 0 0,0 1 0 0 0,0-1 1 0 0,1 1-1 0 0,-1-1 0 0 0,1 1 1 0 0,-1 0-1 0 0,1-1 0 0 0,0 1 0 0 0,0 0 1 0 0,0-1-1 0 0,0 1 0 0 0,0 0 1 0 0,0 0-1 0 0,1 0 0 0 0,-1 0 0 0 0,3-3 1 0 0,0 2-6 0 0,-1 0 0 0 0,1-1 1 0 0,0 2-1 0 0,0-1 0 0 0,0 0 1 0 0,1 1-1 0 0,-1 0 0 0 0,7-3 1 0 0,-1 2-6 0 0,-1 0 0 0 0,1 1-1 0 0,-1 0 1 0 0,1 0 0 0 0,0 1 0 0 0,0 1 0 0 0,-1-1 0 0 0,17 3 0 0 0,-13 0-72 0 0,-1 1 0 0 0,1 0 0 0 0,-1 1-1 0 0,1 1 1 0 0,-1 0 0 0 0,-1 1 0 0 0,1 0 0 0 0,16 11-1 0 0,-14-6-1409 0 0,24 22 0 0 0,8 17-5590 0 0,-38-41 4047 0 0</inkml:trace>
</inkml:ink>
</file>

<file path=ppt/ink/ink5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39:54.27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98 0 432 0 0,'-8'29'8528'0'0,"-18"65"-5524"0"0,-15 122 1201 0 0,39-203-3667 0 0,2-11-356 0 0,0 0-1 0 0,-1 1 1 0 0,1-1-1 0 0,0 0 1 0 0,-1 0-1 0 0,0 1 1 0 0,1-1-1 0 0,-1 0 1 0 0,0 0-1 0 0,0 0 0 0 0,0 0 1 0 0,-3 4 833 0 0,2-8-850 0 0,1 2-159 0 0,1-1 1 0 0,-1 0 0 0 0,0 1 0 0 0,1-1 0 0 0,-1 0 0 0 0,1 0 0 0 0,-1 1 0 0 0,1-1 0 0 0,-1 0 0 0 0,1 0 0 0 0,0 0 0 0 0,-1 0 0 0 0,1 1 0 0 0,0-1 0 0 0,0 0 0 0 0,-1 0 0 0 0,1 0 0 0 0,0 0 0 0 0,0 0 0 0 0,0 0 0 0 0,0 0 0 0 0,0 0 0 0 0,1 0 0 0 0,-1-1 0 0 0,1-2-39 0 0,1 0 0 0 0,-1 0 0 0 0,1 0 1 0 0,-1 0-1 0 0,1 0 0 0 0,3-3 0 0 0,1-3-106 0 0,2 0 0 0 0,-1 1 0 0 0,15-15 0 0 0,-10 14 68 0 0,-1 1-1 0 0,1 1 0 0 0,1-1 0 0 0,0 2 0 0 0,0 0 0 0 0,0 0 0 0 0,15-4 0 0 0,-22 9 39 0 0,0 0 0 0 0,0 0-1 0 0,1 0 1 0 0,-1 1 0 0 0,1 0 0 0 0,-1 0-1 0 0,1 1 1 0 0,-1 0 0 0 0,1 0-1 0 0,-1 1 1 0 0,1-1 0 0 0,-1 1-1 0 0,1 1 1 0 0,-1-1 0 0 0,0 1 0 0 0,0 0-1 0 0,0 1 1 0 0,9 4 0 0 0,-13-6 21 0 0,0 0 1 0 0,0 0-1 0 0,0 1 1 0 0,0-1 0 0 0,0 1-1 0 0,-1-1 1 0 0,1 1-1 0 0,0 0 1 0 0,-1-1-1 0 0,1 1 1 0 0,-1 0 0 0 0,0 0-1 0 0,0 0 1 0 0,1 1-1 0 0,-1-1 1 0 0,-1 0 0 0 0,1 0-1 0 0,0 0 1 0 0,0 1-1 0 0,-1-1 1 0 0,0 1-1 0 0,1-1 1 0 0,-1 0 0 0 0,0 1-1 0 0,0-1 1 0 0,0 0-1 0 0,0 1 1 0 0,-1-1 0 0 0,1 1-1 0 0,-1-1 1 0 0,1 0-1 0 0,-1 1 1 0 0,0-1-1 0 0,0 0 1 0 0,-2 4 0 0 0,-1 1 7 0 0,1-1 0 0 0,-2 0 1 0 0,1-1-1 0 0,-1 1 1 0 0,1-1-1 0 0,-2 1 1 0 0,1-1-1 0 0,0-1 0 0 0,-1 1 1 0 0,-11 6-1 0 0,-15 7 97 0 0,-52 20-1 0 0,82-37-83 0 0,2-1-86 0 0,0 1 72 0 0,0-1-1 0 0,0 0 0 0 0,0 1 1 0 0,0-1-1 0 0,0 0 1 0 0,0 1-1 0 0,0-1 1 0 0,0 0-1 0 0,0 1 0 0 0,0-1 1 0 0,0 0-1 0 0,0 0 1 0 0,1 1-1 0 0,-1-1 1 0 0,0 0-1 0 0,0 0 0 0 0,0 1 1 0 0,0-1-1 0 0,1 0 1 0 0,-1 0-1 0 0,0 1 1 0 0,0-1-1 0 0,1 0 0 0 0,-1 0 1 0 0,0 0-1 0 0,0 1 1 0 0,1-1-1 0 0,-1 0 1 0 0,0 0-1 0 0,0 0 0 0 0,1 0 1 0 0,-1 0-1 0 0,0 0 1 0 0,1 0-1 0 0,-1 1 1 0 0,18-1-83 0 0,-10 0 33 0 0,42 0-282 0 0,1-3-1 0 0,-1-2 1 0 0,66-15-1 0 0,-94 15 158 0 0,0-1 0 0 0,0-1 0 0 0,-1-1 0 0 0,1-1 0 0 0,-2-1 0 0 0,0 0 0 0 0,0-2 0 0 0,-1 0-1 0 0,34-30 1 0 0,-49 39 155 0 0,0-1-1 0 0,0 0 0 0 0,-1 0 1 0 0,0 0-1 0 0,0 0 0 0 0,0-1 0 0 0,0 0 1 0 0,-1 1-1 0 0,4-10 0 0 0,-5 12 26 0 0,-1 0-1 0 0,1 0 0 0 0,-1 1 1 0 0,0-1-1 0 0,0 0 0 0 0,0 0 1 0 0,0 0-1 0 0,0 1 0 0 0,0-1 1 0 0,-1 0-1 0 0,1 0 0 0 0,0 1 0 0 0,-1-1 1 0 0,0 0-1 0 0,1 1 0 0 0,-1-1 1 0 0,0 0-1 0 0,0 1 0 0 0,0-1 1 0 0,0 1-1 0 0,0 0 0 0 0,0-1 1 0 0,0 1-1 0 0,0 0 0 0 0,-1-1 1 0 0,1 1-1 0 0,0 0 0 0 0,-1 0 1 0 0,1 0-1 0 0,-1 0 0 0 0,-2-1 1 0 0,-1 0 6 0 0,1 0 1 0 0,-1 0-1 0 0,1 0 1 0 0,-1 1 0 0 0,0-1-1 0 0,1 1 1 0 0,-1 0-1 0 0,0 1 1 0 0,0-1 0 0 0,0 1-1 0 0,-7 1 1 0 0,10-1 8 0 0,1 0 1 0 0,-1 0 0 0 0,0 0-1 0 0,1 1 1 0 0,-1-1 0 0 0,0 1-1 0 0,1-1 1 0 0,-1 1 0 0 0,1 0-1 0 0,-1 0 1 0 0,1 0 0 0 0,-1-1-1 0 0,1 1 1 0 0,0 1 0 0 0,-1-1-1 0 0,1 0 1 0 0,0 0 0 0 0,0 0-1 0 0,0 1 1 0 0,0-1 0 0 0,0 0-1 0 0,0 1 1 0 0,0-1-1 0 0,0 1 1 0 0,1-1 0 0 0,-1 1-1 0 0,0 0 1 0 0,1-1 0 0 0,-1 1-1 0 0,1 0 1 0 0,0-1 0 0 0,0 1-1 0 0,0 0 1 0 0,0-1 0 0 0,0 3-1 0 0,1 3 14 0 0,0 0 0 0 0,1-1 1 0 0,0 1-1 0 0,1 0 0 0 0,0-1 0 0 0,0 0 0 0 0,0 0 0 0 0,0 1 0 0 0,1-2 0 0 0,0 1 0 0 0,8 8 0 0 0,3 7 7 0 0,1 0-843 0 0,27 29 1 0 0,8 10-6322 0 0,-40-44 2858 0 0</inkml:trace>
</inkml:ink>
</file>

<file path=ppt/ink/ink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4:33.91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3 243 2432 0 0,'-69'-153'9883'0'0,"37"77"-6838"0"0,32 75-3063 0 0,0 1 0 0 0,-1 0 0 0 0,1-1 0 0 0,0 1 0 0 0,0 0 0 0 0,0-1 0 0 0,0 1 0 0 0,0 0 0 0 0,0-1 0 0 0,-1 1 0 0 0,1 0-1 0 0,0-1 1 0 0,0 1 0 0 0,0-1 0 0 0,0 1 0 0 0,0 0 0 0 0,0-1 0 0 0,1 1 0 0 0,-1 0 0 0 0,0-1 0 0 0,0 1 0 0 0,0 0 0 0 0,0-1 0 0 0,0 1 0 0 0,0 0 0 0 0,1-1 0 0 0,-1 1 0 0 0,0 0 0 0 0,0-1 0 0 0,1 1 0 0 0,-1 0 0 0 0,0 0-1 0 0,0-1 1 0 0,1 1 0 0 0,-1 0 0 0 0,0 0 0 0 0,1 0 0 0 0,-1-1 0 0 0,0 1 0 0 0,1 0 0 0 0,-1 0 0 0 0,0 0 0 0 0,1 0 0 0 0,-1 0 0 0 0,0 0 0 0 0,1-1 0 0 0,-1 1 0 0 0,0 0 0 0 0,1 0 0 0 0,-1 0 0 0 0,0 0 0 0 0,1 0-1 0 0,-1 1 1 0 0,1-1 0 0 0,-1 0 0 0 0,0 0 0 0 0,1 0 0 0 0,-1 0 0 0 0,0 0 0 0 0,1 1 0 0 0,25 5-1610 0 0,-25-6 1561 0 0,74 28-6680 0 0,-53-21 3334 0 0</inkml:trace>
  <inkml:trace contextRef="#ctx0" brushRef="#br0" timeOffset="1">547 90 1524 0 0,'5'0'1630'0'0,"1"1"-1208"0"0,0 0 1 0 0,1 1-1 0 0,-1 0 1 0 0,0 0-1 0 0,0 0 1 0 0,0 1-1 0 0,0 0 1 0 0,0 0-1 0 0,-1 0 1 0 0,1 1-1 0 0,-1 0 1 0 0,0 0 0 0 0,0 0-1 0 0,-1 1 1 0 0,1 0-1 0 0,-1 0 1 0 0,0 0-1 0 0,5 7 1 0 0,19 28 519 0 0,-3 1 1 0 0,35 72 0 0 0,-48-87-1184 0 0,-2 1 1 0 0,-1 0-1 0 0,-1 0 0 0 0,-1 0 1 0 0,6 55-1 0 0,-13-66-1772 0 0,0 0 1 0 0,-5 29-1 0 0,0-25-2111 0 0</inkml:trace>
</inkml:ink>
</file>

<file path=ppt/ink/ink5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0:00.59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54 34 1404 0 0,'-5'-5'351'0'0,"-1"2"-1"0"0,0-1 0 0 0,0 1 1 0 0,0 0-1 0 0,0 0 1 0 0,0 0-1 0 0,-1 1 0 0 0,1 0 1 0 0,-1 0-1 0 0,0 1 1 0 0,1 0-1 0 0,-1 0 1 0 0,0 1-1 0 0,0-1 0 0 0,0 1 1 0 0,1 1-1 0 0,-1-1 1 0 0,0 1-1 0 0,-10 3 0 0 0,0 0 43 0 0,1 1-1 0 0,1 0 0 0 0,-1 1 1 0 0,1 1-1 0 0,0 0 0 0 0,-27 19 0 0 0,35-21-230 0 0,0 0-1 0 0,1 0 1 0 0,-1 1 0 0 0,1 0-1 0 0,1 1 1 0 0,-1-1-1 0 0,1 1 1 0 0,0 0-1 0 0,1 0 1 0 0,0 0 0 0 0,-4 10-1 0 0,6-13-112 0 0,0 0-1 0 0,1 1 1 0 0,0-1 0 0 0,0 1-1 0 0,0-1 1 0 0,1 1 0 0 0,0 0-1 0 0,0-1 1 0 0,0 1 0 0 0,0-1-1 0 0,0 1 1 0 0,1 0 0 0 0,0-1-1 0 0,0 1 1 0 0,0-1-1 0 0,1 0 1 0 0,0 1 0 0 0,-1-1-1 0 0,1 0 1 0 0,1 0 0 0 0,4 7-1 0 0,-3-5-22 0 0,0-1-1 0 0,1 0 1 0 0,-1 0-1 0 0,1 0 1 0 0,0-1-1 0 0,0 0 0 0 0,1 0 1 0 0,-1 0-1 0 0,1-1 1 0 0,0 1-1 0 0,0-1 1 0 0,0-1-1 0 0,0 1 1 0 0,1-1-1 0 0,7 2 0 0 0,-9-3-39 0 0,0-1-1 0 0,0 1 0 0 0,1-1 0 0 0,-1 0 0 0 0,0 0 0 0 0,1-1 0 0 0,-1 1 0 0 0,0-1 0 0 0,0 0 1 0 0,0-1-1 0 0,0 1 0 0 0,0-1 0 0 0,0 0 0 0 0,0 0 0 0 0,0-1 0 0 0,-1 0 0 0 0,1 1 0 0 0,-1-2 1 0 0,8-5-1 0 0,4-8-82 0 0,-1 0-1 0 0,26-37 1 0 0,-9 11 227 0 0,-31 41 236 0 0,0 6-339 0 0,-1-1-1 0 0,0 1 0 0 0,0 0 0 0 0,0-1 0 0 0,0 1 0 0 0,-2 6 1 0 0,-1 10-53 0 0,1 1 1 0 0,2 0 0 0 0,0 0-1 0 0,1 0 1 0 0,0 0 0 0 0,2-1-1 0 0,1 1 1 0 0,10 32 0 0 0,-13-50-175 0 0,0 1-1 0 0,1-1 1 0 0,0 1 0 0 0,0-1 0 0 0,0 1 0 0 0,0-1 0 0 0,0 0 0 0 0,1 0 0 0 0,-1 0 0 0 0,1-1 0 0 0,0 1 0 0 0,0 0-1 0 0,0-1 1 0 0,0 0 0 0 0,0 0 0 0 0,0 0 0 0 0,1 0 0 0 0,-1 0 0 0 0,7 2 0 0 0,-6-3-306 0 0,1 0 1 0 0,-1 0 0 0 0,0-1-1 0 0,1 0 1 0 0,-1 1 0 0 0,1-2-1 0 0,-1 1 1 0 0,0 0 0 0 0,1-1-1 0 0,7-2 1 0 0,10-5-1967 0 0</inkml:trace>
</inkml:ink>
</file>

<file path=ppt/ink/ink5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0:01.47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14 51 572 0 0,'1'-4'619'0'0,"-1"-1"1"0"0,0 1-1 0 0,0 0 0 0 0,0 0 0 0 0,-1-7 1 0 0,1 10-528 0 0,0 0-1 0 0,0 0 1 0 0,-1 0 0 0 0,1 1 0 0 0,0-1-1 0 0,-1 0 1 0 0,1 0 0 0 0,0 0 0 0 0,-1 1 0 0 0,1-1-1 0 0,-1 0 1 0 0,1 0 0 0 0,-1 1 0 0 0,1-1 0 0 0,-1 0-1 0 0,0 1 1 0 0,1-1 0 0 0,-1 1 0 0 0,0-1 0 0 0,0 1-1 0 0,1-1 1 0 0,-1 1 0 0 0,0-1 0 0 0,0 1 0 0 0,0 0-1 0 0,1-1 1 0 0,-1 1 0 0 0,0 0 0 0 0,0 0-1 0 0,0 0 1 0 0,0-1 0 0 0,0 1 0 0 0,0 0 0 0 0,1 0-1 0 0,-1 0 1 0 0,-1 1 0 0 0,-10 1 245 0 0,0 0-1 0 0,0 1 1 0 0,1 1-1 0 0,-1 0 1 0 0,1 1-1 0 0,0 0 1 0 0,1 0-1 0 0,-1 1 1 0 0,-16 13-1 0 0,22-16-290 0 0,0 1 0 0 0,0 0 0 0 0,1 0 0 0 0,0 1 0 0 0,0-1 0 0 0,0 1 0 0 0,0 0 0 0 0,1 0 0 0 0,0 0 0 0 0,0 0 0 0 0,0 0 0 0 0,1 1-1 0 0,-1 0 1 0 0,1-1 0 0 0,1 1 0 0 0,-1 0 0 0 0,1 0 0 0 0,0 0 0 0 0,0 0 0 0 0,1 0 0 0 0,-1 0 0 0 0,2 7 0 0 0,0-7-27 0 0,1-1 0 0 0,0 1 1 0 0,0 0-1 0 0,0-1 0 0 0,1 0 0 0 0,-1 1 1 0 0,1-1-1 0 0,1 0 0 0 0,-1-1 0 0 0,1 1 1 0 0,0 0-1 0 0,0-1 0 0 0,0 0 1 0 0,0 0-1 0 0,1 0 0 0 0,0-1 0 0 0,-1 1 1 0 0,1-1-1 0 0,1 0 0 0 0,5 2 0 0 0,4 2-64 0 0,-1-1-1 0 0,1 0 0 0 0,0-1 0 0 0,0-1 0 0 0,1 0 0 0 0,21 2 0 0 0,-18-5-199 0 0,0-1 0 0 0,0-1 0 0 0,0 0 0 0 0,-1-1 1 0 0,1-1-1 0 0,0-1 0 0 0,-1-1 0 0 0,0 0 0 0 0,25-12 0 0 0,-27 11 182 0 0,-1-2-1 0 0,-1 0 1 0 0,1 0-1 0 0,-1-2 1 0 0,-1 1 0 0 0,0-2-1 0 0,0 0 1 0 0,-1 0 0 0 0,-1-1-1 0 0,20-26 1 0 0,-29 35 108 0 0,-1 1 0 0 0,1-1 0 0 0,-1 0 0 0 0,0 0 0 0 0,0 1 0 0 0,0-1 1 0 0,0 0-1 0 0,0 0 0 0 0,-1 0 0 0 0,1 0 0 0 0,-1 0 0 0 0,0-1 0 0 0,0 1 0 0 0,0 0 1 0 0,0 0-1 0 0,0 0 0 0 0,-1 0 0 0 0,0 0 0 0 0,1 0 0 0 0,-2-3 0 0 0,1 4 11 0 0,0 0-1 0 0,-1 0 1 0 0,1 0 0 0 0,0 0-1 0 0,-1 0 1 0 0,1 0 0 0 0,-1 1-1 0 0,0-1 1 0 0,1 0-1 0 0,-1 1 1 0 0,0 0 0 0 0,0-1-1 0 0,0 1 1 0 0,0 0 0 0 0,0 0-1 0 0,-1 0 1 0 0,1 0 0 0 0,0 0-1 0 0,0 1 1 0 0,-1-1-1 0 0,1 0 1 0 0,0 1 0 0 0,-1 0-1 0 0,1 0 1 0 0,0 0 0 0 0,-1 0-1 0 0,1 0 1 0 0,0 0-1 0 0,-3 1 1 0 0,-6 1 55 0 0,1 0-1 0 0,0 0 1 0 0,1 1-1 0 0,-1 1 0 0 0,0 0 1 0 0,1 0-1 0 0,0 1 1 0 0,0 0-1 0 0,0 0 1 0 0,1 1-1 0 0,-13 11 1 0 0,13-10-59 0 0,1-1 1 0 0,0 1 0 0 0,1 1-1 0 0,0-1 1 0 0,0 1-1 0 0,1 0 1 0 0,0 0-1 0 0,0 1 1 0 0,1 0-1 0 0,0 0 1 0 0,0 0-1 0 0,1 0 1 0 0,-2 10 0 0 0,4-15-41 0 0,1 0 1 0 0,-1 0 0 0 0,1-1 0 0 0,0 1 0 0 0,1 0-1 0 0,-1 0 1 0 0,1-1 0 0 0,0 1 0 0 0,-1 0 0 0 0,1-1-1 0 0,1 1 1 0 0,-1-1 0 0 0,1 1 0 0 0,-1-1 0 0 0,1 1-1 0 0,0-1 1 0 0,0 0 0 0 0,0 0 0 0 0,1 0 0 0 0,-1 0-1 0 0,1-1 1 0 0,0 1 0 0 0,0-1 0 0 0,0 1 0 0 0,0-1-1 0 0,0 0 1 0 0,0 0 0 0 0,0 0 0 0 0,1 0 0 0 0,3 0-1 0 0,3 3 8 0 0,0-1 0 0 0,1-1-1 0 0,0 0 1 0 0,0 0 0 0 0,0-1-1 0 0,0 0 1 0 0,0-1 0 0 0,0-1-1 0 0,14 0 1 0 0,-5-2-2 0 0,0 0 0 0 0,0-1-1 0 0,0-2 1 0 0,-1 0 0 0 0,0-1 0 0 0,35-15 0 0 0,-40 13-19 0 0,0 0 1 0 0,-1 0-1 0 0,0-1 1 0 0,0-1 0 0 0,-1 0-1 0 0,0-1 1 0 0,-1 0-1 0 0,0-1 1 0 0,12-16 0 0 0,-10 9 380 0 0,0-1 1 0 0,17-38-1 0 0,-19 39-340 0 0,-8 19-42 0 0,-4 11-2 0 0,-1 1 3 0 0,2 1 0 0 0,-1-1 0 0 0,1 0 0 0 0,3 20 0 0 0,-2-25 17 0 0,0 0 0 0 0,1 0-1 0 0,0 0 1 0 0,0-1 0 0 0,0 1 0 0 0,1-1 0 0 0,0 1 0 0 0,0-1 0 0 0,0 0 0 0 0,5 6-1 0 0,-4-9 0 0 0,0 1-1 0 0,0-1 0 0 0,0 1 0 0 0,0-1 1 0 0,1 0-1 0 0,-1 0 0 0 0,1-1 1 0 0,0 0-1 0 0,0 0 0 0 0,0 0 0 0 0,0 0 1 0 0,0-1-1 0 0,8 2 0 0 0,-2-1 7 0 0,0-1 1 0 0,-1 0-1 0 0,1-1 1 0 0,0 0-1 0 0,16-2 0 0 0,-21 1 0 0 0,1-1 0 0 0,0 1 0 0 0,0-1 0 0 0,-1 0-1 0 0,1-1 1 0 0,-1 0 0 0 0,1 0 0 0 0,-1 0-1 0 0,0-1 1 0 0,-1 0 0 0 0,1 0 0 0 0,0 0-1 0 0,-1-1 1 0 0,0 1 0 0 0,7-11 0 0 0,-6 8 143 0 0,0-1-1 0 0,-1-1 1 0 0,-1 1 0 0 0,1-1 0 0 0,-1 0 0 0 0,-1 0-1 0 0,0 0 1 0 0,0-1 0 0 0,-1 1 0 0 0,2-12 0 0 0,0-1 146 0 0,-3 20-279 0 0,-2 13-26 0 0,-1 5-5 0 0,2 1 0 0 0,-1-1 1 0 0,2 0-1 0 0,0 0 0 0 0,1 0 0 0 0,1 0 0 0 0,1 0 0 0 0,0 0 0 0 0,0-1 0 0 0,2 1 0 0 0,11 21 0 0 0,1-14-1828 0 0,-17-22 1566 0 0,0 0-1 0 0,0 0 0 0 0,0 0 1 0 0,0-1-1 0 0,0 1 0 0 0,0 0 1 0 0,1 0-1 0 0,-1-1 1 0 0,0 1-1 0 0,0-1 0 0 0,1 0 1 0 0,-1 1-1 0 0,0-1 0 0 0,1 0 1 0 0,-1 0-1 0 0,0 1 0 0 0,1-1 1 0 0,-1 0-1 0 0,3-1 0 0 0,-1 1-283 0 0,4 0-48 0 0,13-10-7370 0 0</inkml:trace>
</inkml:ink>
</file>

<file path=ppt/ink/ink5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0:02.25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02 1096 0 0,'2'-2'395'0'0,"0"0"-1"0"0,0 1 1 0 0,1-1 0 0 0,-1 1-1 0 0,0-1 1 0 0,1 1-1 0 0,-1 0 1 0 0,1 0 0 0 0,-1 0-1 0 0,1 0 1 0 0,-1 0 0 0 0,1 0-1 0 0,0 1 1 0 0,2-1-1 0 0,-2 1-215 0 0,-1 0-1 0 0,1 0 1 0 0,-1 1-1 0 0,0-1 0 0 0,1 1 1 0 0,-1-1-1 0 0,1 1 0 0 0,-1 0 1 0 0,0 0-1 0 0,0 0 0 0 0,1 0 1 0 0,-1 0-1 0 0,2 2 0 0 0,0 1-70 0 0,0-1 0 0 0,-1 0-1 0 0,1 1 1 0 0,-1 0-1 0 0,0 0 1 0 0,0 0-1 0 0,0 0 1 0 0,-1 0-1 0 0,1 0 1 0 0,-1 1-1 0 0,0 0 1 0 0,0-1 0 0 0,-1 1-1 0 0,3 9 1 0 0,-3-4-35 0 0,-1 1 1 0 0,0 0-1 0 0,0 0 1 0 0,-1 0-1 0 0,0 0 0 0 0,-1 0 1 0 0,0 0-1 0 0,-1-1 1 0 0,0 1-1 0 0,-6 11 1 0 0,-7 34 795 0 0,3-37 486 0 0,12-18-1061 0 0,5-4-159 0 0,0 0-147 0 0,14-10 14 0 0,0 1 0 0 0,1 0 1 0 0,0 2-1 0 0,26-11 1 0 0,90-27-75 0 0,12-6-8 0 0,-133 48 67 0 0,0 0 1 0 0,-1-1-1 0 0,0 0 1 0 0,0-1 0 0 0,0 0-1 0 0,-1-1 1 0 0,15-15-1 0 0,-26 23 10 0 0,-1 1-1 0 0,0-1 1 0 0,0 0-1 0 0,0 0 0 0 0,1 1 1 0 0,-1-1-1 0 0,0 0 1 0 0,0 0-1 0 0,0 1 1 0 0,0-1-1 0 0,0 0 0 0 0,0 0 1 0 0,-1 1-1 0 0,1-1 1 0 0,0 0-1 0 0,0 0 1 0 0,0 1-1 0 0,-1-1 0 0 0,1 0 1 0 0,0 0-1 0 0,-1 1 1 0 0,1-1-1 0 0,-1 1 1 0 0,1-1-1 0 0,-1 0 0 0 0,1 1 1 0 0,-1-1-1 0 0,1 1 1 0 0,-1-1-1 0 0,0 1 1 0 0,1-1-1 0 0,-1 1 0 0 0,1-1 1 0 0,-1 1-1 0 0,0 0 1 0 0,0-1-1 0 0,1 1 1 0 0,-1 0-1 0 0,0 0 0 0 0,0 0 1 0 0,1-1-1 0 0,-1 1 1 0 0,0 0-1 0 0,0 0 1 0 0,-8-1-8 0 0,1 0 1 0 0,0 1-1 0 0,0 0 0 0 0,0 0 1 0 0,0 1-1 0 0,0 0 1 0 0,0 0-1 0 0,0 1 1 0 0,0 0-1 0 0,0 0 0 0 0,0 1 1 0 0,1 0-1 0 0,0 0 1 0 0,-1 1-1 0 0,1 0 1 0 0,0 0-1 0 0,1 1 1 0 0,-12 10-1 0 0,16-14 16 0 0,1 0 0 0 0,0 0 1 0 0,0 0-1 0 0,0 0 0 0 0,1 0 1 0 0,-1 0-1 0 0,0 0 0 0 0,0 0 0 0 0,1 0 1 0 0,-1 1-1 0 0,0-1 0 0 0,1 0 1 0 0,-1 1-1 0 0,1-1 0 0 0,0 0 0 0 0,-1 1 1 0 0,1-1-1 0 0,0 0 0 0 0,0 1 0 0 0,0-1 1 0 0,0 0-1 0 0,0 3 0 0 0,1-3 5 0 0,0 1-1 0 0,0-1 1 0 0,0 0-1 0 0,0 1 1 0 0,0-1-1 0 0,1 0 1 0 0,-1 0-1 0 0,0 0 1 0 0,0 0-1 0 0,1 0 1 0 0,-1 0-1 0 0,1 0 1 0 0,-1 0-1 0 0,1-1 0 0 0,-1 1 1 0 0,1-1-1 0 0,0 1 1 0 0,-1-1-1 0 0,1 1 1 0 0,2-1-1 0 0,31-1-476 0 0,-33 0 403 0 0,14-2-321 0 0,0-2 1 0 0,0 0-1 0 0,30-14 0 0 0,-45 18 249 0 0,-17 21 477 0 0,14-15-216 0 0,0-1-1 0 0,1 1 1 0 0,-1-1 0 0 0,1 1 0 0 0,0 0-1 0 0,1-1 1 0 0,-1 1 0 0 0,1 0-1 0 0,0 0 1 0 0,0 0 0 0 0,0-1-1 0 0,1 1 1 0 0,0 0 0 0 0,0 0-1 0 0,0-1 1 0 0,0 1 0 0 0,1-1-1 0 0,0 1 1 0 0,0-1 0 0 0,0 0-1 0 0,0 1 1 0 0,1-1 0 0 0,0 0-1 0 0,0 0 1 0 0,0-1 0 0 0,0 1-1 0 0,4 3 1 0 0,-1-2-52 0 0,0 1 0 0 0,0-1 1 0 0,0 0-1 0 0,1 0 0 0 0,0-1 0 0 0,0 0 0 0 0,0 0 0 0 0,0-1 0 0 0,1 0 0 0 0,-1 0 1 0 0,1-1-1 0 0,0 0 0 0 0,-1 0 0 0 0,1-1 0 0 0,11 1 0 0 0,-13-2-88 0 0,0 0 1 0 0,0-1-1 0 0,0 0 0 0 0,-1 0 0 0 0,1 0 0 0 0,0-1 0 0 0,0 0 1 0 0,-1 0-1 0 0,1 0 0 0 0,-1-1 0 0 0,0 0 0 0 0,0 0 0 0 0,0 0 0 0 0,0-1 1 0 0,0 1-1 0 0,-1-1 0 0 0,0 0 0 0 0,0-1 0 0 0,0 1 0 0 0,0-1 1 0 0,0 0-1 0 0,-1 0 0 0 0,0 0 0 0 0,3-6 0 0 0,5-12-291 0 0,-2-1 1 0 0,0 0-1 0 0,-2 0 0 0 0,6-34 1 0 0,-9 44 259 0 0,54-302 1215 0 0,-54 441 464 0 0,2-25-1293 0 0,-5-61-284 0 0,3 112-2065 0 0,-7-50-5194 0 0,1-86 4249 0 0,0-1-819 0 0</inkml:trace>
</inkml:ink>
</file>

<file path=ppt/ink/ink5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0:02.60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29 1576 0 0,'2'-4'328'0'0,"1"0"0"0"0,-1 1 0 0 0,1-1 0 0 0,-1 1 0 0 0,1 0 0 0 0,0 0 0 0 0,1 0 0 0 0,-1 0 0 0 0,0 0 0 0 0,1 1 0 0 0,0-1 0 0 0,5-2 0 0 0,51-21 1359 0 0,-51 23-1431 0 0,112-37 1059 0 0,40-16-659 0 0,-148 50-635 0 0,0 0 1 0 0,-1-1-1 0 0,0-1 1 0 0,14-10 0 0 0,-22 15-7 0 0,0 0 1 0 0,-1 0-1 0 0,1-1 1 0 0,-1 1 0 0 0,1-1-1 0 0,-1 0 1 0 0,0 0-1 0 0,-1 0 1 0 0,1 0-1 0 0,-1 0 1 0 0,0-1 0 0 0,0 1-1 0 0,0-1 1 0 0,0 1-1 0 0,1-9 1 0 0,-3 11 0 0 0,0 0 1 0 0,0 1-1 0 0,1-1 1 0 0,-1 1-1 0 0,0-1 0 0 0,-1 1 1 0 0,1-1-1 0 0,0 1 1 0 0,0-1-1 0 0,-1 0 0 0 0,1 1 1 0 0,-1-1-1 0 0,1 1 1 0 0,-1 0-1 0 0,0-1 1 0 0,0 1-1 0 0,1 0 0 0 0,-1-1 1 0 0,0 1-1 0 0,0 0 1 0 0,0 0-1 0 0,0 0 0 0 0,0-1 1 0 0,-2 0-1 0 0,0 1 42 0 0,1 0-1 0 0,-1 0 1 0 0,0 0 0 0 0,1 0-1 0 0,-1 0 1 0 0,0 0-1 0 0,0 1 1 0 0,0-1-1 0 0,0 1 1 0 0,1 0-1 0 0,-1 0 1 0 0,-4 0 0 0 0,-3 2 165 0 0,-1-1 0 0 0,1 1 0 0 0,0 1 0 0 0,0 0 0 0 0,0 0 0 0 0,-12 7 0 0 0,16-7-52 0 0,0 0 0 0 0,0 0 0 0 0,1 1 0 0 0,-1 0 1 0 0,1 0-1 0 0,0 1 0 0 0,0-1 0 0 0,1 1 0 0 0,0 0 0 0 0,-1 0 0 0 0,-4 9 0 0 0,7-11-71 0 0,1 0 0 0 0,0 0 0 0 0,0 0-1 0 0,0 1 1 0 0,0-1 0 0 0,0 0 0 0 0,1 0 0 0 0,-1 0-1 0 0,1 1 1 0 0,0-1 0 0 0,0 0 0 0 0,0 1 0 0 0,0-1-1 0 0,1 0 1 0 0,-1 0 0 0 0,1 0 0 0 0,0 1 0 0 0,0-1-1 0 0,0 0 1 0 0,0 0 0 0 0,0 0 0 0 0,1 0 0 0 0,0 0-1 0 0,-1-1 1 0 0,4 4 0 0 0,2 4 76 0 0,1-1-1 0 0,1 0 1 0 0,0 0 0 0 0,0-1-1 0 0,1 0 1 0 0,0 0-1 0 0,0-1 1 0 0,20 9 0 0 0,6 1-609 0 0,51 16 0 0 0,-33-13-2372 0 0,-35-16-3829 0 0</inkml:trace>
</inkml:ink>
</file>

<file path=ppt/ink/ink5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1T13:17:35.568"/>
    </inkml:context>
    <inkml:brush xml:id="br0">
      <inkml:brushProperty name="width" value="0.1" units="cm"/>
      <inkml:brushProperty name="height" value="0.1" units="cm"/>
    </inkml:brush>
  </inkml:definitions>
  <inkml:trace contextRef="#ctx0" brushRef="#br0">0 49 1412 0 0,'0'0'1173'0'0,"15"-21"2752"0"0,-13 19-3713 0 0,0 0 1 0 0,1-1-1 0 0,-1 1 1 0 0,0 0-1 0 0,1 0 1 0 0,-1 0-1 0 0,1 1 1 0 0,0-1-1 0 0,-1 0 1 0 0,1 1 0 0 0,0 0-1 0 0,0 0 1 0 0,0 0-1 0 0,0 0 1 0 0,0 0-1 0 0,4 0 1 0 0,2 1-217 0 0,0 0 1 0 0,0 0 0 0 0,0 1 0 0 0,11 2 0 0 0,-8-2 164 0 0,584 118 379 0 0,-270-47-474 0 0,607 105 0 0 0,-689-139-24 0 0,-71-13-517 0 0,-169-24-12 0 0,-30 4-7129 0 0</inkml:trace>
</inkml:ink>
</file>

<file path=ppt/ink/ink5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1T13:17:40.29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 224 0 0,'0'0'228'0'0</inkml:trace>
</inkml:ink>
</file>

<file path=ppt/ink/ink5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1T13:17:40.66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 140 0 0,'0'0'208'0'0</inkml:trace>
</inkml:ink>
</file>

<file path=ppt/ink/ink5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1T13:17:41.79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9 1 488 0 0,'-4'13'1868'0'0,"2"-3"-108"0"0,0-1-1452 0 0</inkml:trace>
</inkml:ink>
</file>

<file path=ppt/ink/ink5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1T13:18:07.54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9 12 4 0 0,'-14'-8'4257'0'0,"10"4"-2427"0"0,24 6-365 0 0,466 96-491 0 0,-415-81-1368 0 0,172 36-1845 0 0,-241-53 2215 0 0,0 1 0 0 0,1-1 1 0 0,-1 0-1 0 0,0 0 0 0 0,0 0 1 0 0,0 0-1 0 0,1 0 0 0 0,-1 0 1 0 0,0-1-1 0 0,0 1 1 0 0,0-1-1 0 0,0 1 0 0 0,0-1 1 0 0,0 0-1 0 0,0 0 0 0 0,0 0 1 0 0,0 0-1 0 0,0 0 1 0 0,0 0-1 0 0,0-1 0 0 0,-1 1 1 0 0,1-1-1 0 0,0 1 0 0 0,2-4 1 0 0,-3 3-2 0 0,1 0 1 0 0,-1 1-1 0 0,1-1 1 0 0,0 0-1 0 0,0 1 1 0 0,0-1-1 0 0,0 1 1 0 0,0 0-1 0 0,0 0 1 0 0,0 0-1 0 0,0 0 1 0 0,1 0-1 0 0,-1 0 1 0 0,0 0-1 0 0,1 1 1 0 0,-1-1-1 0 0,0 1 1 0 0,1 0-1 0 0,-1-1 1 0 0,4 2-1 0 0,8-1 23 0 0,-1 0-1 0 0,1-1 1 0 0,0-1-1 0 0,-1 0 0 0 0,1 0 1 0 0,-1-2-1 0 0,0 1 1 0 0,0-2-1 0 0,0 0 1 0 0,0 0-1 0 0,-1-1 1 0 0,0-1-1 0 0,20-14 1 0 0,-23 14 484 0 0,-7 5-432 0 0,0 0-1 0 0,0 1 1 0 0,0-1-1 0 0,0 1 1 0 0,0 0-1 0 0,0-1 1 0 0,0 1-1 0 0,4-1 1 0 0,-4 1 5 0 0,-1 2-28 0 0,-1-1 0 0 0,0 0 0 0 0,1 0 0 0 0,-1 1 0 0 0,0-1 0 0 0,0 1 1 0 0,1-1-1 0 0,-1 0 0 0 0,0 1 0 0 0,0-1 0 0 0,0 1 0 0 0,0-1 0 0 0,0 0 1 0 0,1 1-1 0 0,-1-1 0 0 0,0 1 0 0 0,0-1 0 0 0,0 1 0 0 0,0-1 0 0 0,0 0 0 0 0,0 1 1 0 0,0-1-1 0 0,-1 1 0 0 0,-5 16 343 0 0,1-5-189 0 0,0 1-1 0 0,1 1 1 0 0,1-1 0 0 0,-4 27-1 0 0,1 71 338 0 0,6-94-269 0 0,2 0 0 0 0,-1 0 0 0 0,2 0 0 0 0,9 32-1 0 0,-10-41-198 0 0,1-1 0 0 0,-1 0 0 0 0,1 0 0 0 0,1 0 0 0 0,-1 0-1 0 0,1-1 1 0 0,1 1 0 0 0,-1-1 0 0 0,1 0 0 0 0,0-1-1 0 0,0 1 1 0 0,1-1 0 0 0,8 7 0 0 0,-11-10-38 0 0,0 0 0 0 0,0-1 0 0 0,0 0 0 0 0,0 1 1 0 0,0-1-1 0 0,0 0 0 0 0,0 0 0 0 0,1-1 0 0 0,-1 1 0 0 0,0-1 0 0 0,0 1 0 0 0,1-1 0 0 0,-1 0 1 0 0,0 0-1 0 0,6-1 0 0 0,-3-1 0 0 0,-1 1 0 0 0,1-1 0 0 0,-1 0 0 0 0,0-1 0 0 0,0 1 0 0 0,0-1 0 0 0,0 0 0 0 0,7-5 0 0 0,1-3-2 0 0,0-1 0 0 0,0-1 0 0 0,-1 0 1 0 0,19-28-1 0 0,36-72 174 0 0,-52 87-104 0 0,-15 26-79 0 0,0-1-1 0 0,1 1 0 0 0,-1-1 1 0 0,0 1-1 0 0,1 0 0 0 0,-1-1 1 0 0,0 1-1 0 0,0-1 0 0 0,0 1 1 0 0,1-1-1 0 0,-1 1 1 0 0,0-1-1 0 0,0 1 0 0 0,0-1 1 0 0,0 1-1 0 0,0-1 0 0 0,0 0 1 0 0,0 1-1 0 0,0-1 0 0 0,0 1 1 0 0,0-1-1 0 0,0 1 0 0 0,-1-2 1 0 0,-9 2 9 0 0,-16 14 7 0 0,20-7-4 0 0,0 0-1 0 0,0 0 1 0 0,1 0-1 0 0,0 1 1 0 0,1-1-1 0 0,0 1 1 0 0,0 0-1 0 0,0 0 1 0 0,1 1 0 0 0,-4 16-1 0 0,1 5 68 0 0,-6 57 0 0 0,10 76-99 0 0,2-96-2959 0 0,2-47-400 0 0</inkml:trace>
</inkml:ink>
</file>

<file path=ppt/ink/ink5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1T13:18:07.95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78 29 584 0 0,'-11'-6'477'0'0,"-1"1"0"0"0,0 1 0 0 0,0 0-1 0 0,-17-3 1 0 0,25 6-378 0 0,1 0-1 0 0,-1 1 0 0 0,0-1 1 0 0,1 1-1 0 0,-1 0 0 0 0,0 0 1 0 0,1 0-1 0 0,-1 1 1 0 0,0-1-1 0 0,1 1 0 0 0,-1 0 1 0 0,1 0-1 0 0,-1 0 1 0 0,1 0-1 0 0,-1 1 0 0 0,1-1 1 0 0,0 1-1 0 0,-1 0 0 0 0,-3 3 1 0 0,5-2-43 0 0,-1 0 1 0 0,1 0-1 0 0,0 0 1 0 0,0 0-1 0 0,0 1 0 0 0,1-1 1 0 0,-1 0-1 0 0,1 1 1 0 0,0-1-1 0 0,0 1 1 0 0,0 0-1 0 0,0-1 1 0 0,1 1-1 0 0,0 0 0 0 0,-1-1 1 0 0,1 1-1 0 0,0 0 1 0 0,1 0-1 0 0,-1-1 1 0 0,2 5-1 0 0,2 10 40 0 0,0 0 0 0 0,14 32-1 0 0,-6-19 10 0 0,-5-9-53 0 0,0-4 3 0 0,-1 1-1 0 0,-1 0 1 0 0,0 0-1 0 0,-2 0 1 0 0,2 24 0 0 0,-5-42-47 0 0,0 1 1 0 0,0-1 0 0 0,0 0 0 0 0,-1 0-1 0 0,1 0 1 0 0,0 1 0 0 0,-1-1-1 0 0,1 0 1 0 0,-1 0 0 0 0,0 0 0 0 0,1 0-1 0 0,-1 0 1 0 0,0 0 0 0 0,1 0 0 0 0,-1 0-1 0 0,0 0 1 0 0,0 0 0 0 0,0 0-1 0 0,0 0 1 0 0,0-1 0 0 0,0 1 0 0 0,0 0-1 0 0,0-1 1 0 0,0 1 0 0 0,-1-1 0 0 0,1 1-1 0 0,0-1 1 0 0,0 0 0 0 0,0 1-1 0 0,-1-1 1 0 0,1 0 0 0 0,0 0 0 0 0,0 0-1 0 0,-1 0 1 0 0,-1 0 0 0 0,-5 0 28 0 0,-1 0 0 0 0,0 0 0 0 0,-14-3 0 0 0,22 2-35 0 0,-12-1-265 0 0,0-1 0 0 0,0-1 0 0 0,0-1 0 0 0,0 0 0 0 0,-14-7 0 0 0,18 2-1747 0 0,8 8 1630 0 0</inkml:trace>
</inkml:ink>
</file>

<file path=ppt/ink/ink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4:34.27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 134 1928 0 0,'0'-4'385'0'0,"-1"1"1"0"0,1 0-1 0 0,-1-1 0 0 0,1 1 0 0 0,0 0 0 0 0,1-1 1 0 0,-1 1-1 0 0,0-1 0 0 0,1 1 0 0 0,0 0 0 0 0,0 0 1 0 0,0-1-1 0 0,0 1 0 0 0,0 0 0 0 0,3-4 1 0 0,-1 4-240 0 0,0 0 0 0 0,0 0 0 0 0,-1 0 1 0 0,2 1-1 0 0,-1-1 0 0 0,0 1 0 0 0,0 0 1 0 0,1 0-1 0 0,0 0 0 0 0,-1 0 0 0 0,1 1 1 0 0,7-2-1 0 0,27-7 275 0 0,1 2 0 0 0,0 2 1 0 0,0 1-1 0 0,46 1 0 0 0,8-1 62 0 0,36-2 1710 0 0,-126 7-2110 0 0,-2 0-77 0 0,0 0 0 0 0,-1 0 0 0 0,1 0-1 0 0,-1 0 1 0 0,1 0 0 0 0,0 0 0 0 0,-1 0 0 0 0,1 1 0 0 0,0-1-1 0 0,-1 0 1 0 0,1 0 0 0 0,-1 1 0 0 0,1-1 0 0 0,-1 1 0 0 0,1-1-1 0 0,-1 0 1 0 0,1 1 0 0 0,-1-1 0 0 0,1 1 0 0 0,-1-1 0 0 0,1 1-1 0 0,0 0 1 0 0,-8 19 69 0 0,6-15-64 0 0,-1 0 1 0 0,1 0 0 0 0,0 1 0 0 0,0-1 0 0 0,1 0-1 0 0,-1 1 1 0 0,1-1 0 0 0,0 1 0 0 0,1-1 0 0 0,-1 0-1 0 0,1 1 1 0 0,0-1 0 0 0,1 0 0 0 0,-1 1 0 0 0,1-1-1 0 0,0 0 1 0 0,0 0 0 0 0,1-1 0 0 0,-1 1-1 0 0,5 5 1 0 0,-4-4 13 0 0,1 0 1 0 0,0 0-1 0 0,1 0 0 0 0,0-1 0 0 0,-1 1 1 0 0,2-1-1 0 0,-1-1 0 0 0,1 1 0 0 0,-1 0 1 0 0,1-1-1 0 0,1 0 0 0 0,-1-1 0 0 0,0 0 1 0 0,12 5-1 0 0,-15-8-13 0 0,1 1 0 0 0,-1-1 1 0 0,1 0-1 0 0,0 0 0 0 0,-1 0 0 0 0,1-1 1 0 0,-1 1-1 0 0,1-1 0 0 0,-1 0 0 0 0,0 0 1 0 0,5-2-1 0 0,36-18-15 0 0,18-19-198 0 0,-60 39 150 0 0,1 2 3 0 0,-2 1 39 0 0,1 0 0 0 0,0 0 0 0 0,0 0-1 0 0,-1 0 1 0 0,1 1 0 0 0,-1-1 0 0 0,1 0-1 0 0,-1 1 1 0 0,0-1 0 0 0,0 1 0 0 0,0-1-1 0 0,0 1 1 0 0,-1-1 0 0 0,1 1-1 0 0,-1 0 1 0 0,1 4 0 0 0,0 54-59 0 0,-1-44 33 0 0,0 6 44 0 0,-2 0 0 0 0,-1 0 0 0 0,0-1 0 0 0,-2 1-1 0 0,0-1 1 0 0,-2 0 0 0 0,0 0 0 0 0,-16 32-1 0 0,15-39 39 0 0,-1 1 0 0 0,0-1 0 0 0,-1-1-1 0 0,-1 0 1 0 0,0 0 0 0 0,-1-1 0 0 0,0-1-1 0 0,-1 0 1 0 0,0-1 0 0 0,-1 0 0 0 0,-26 16-1 0 0,32-23-15 0 0,1-1-1 0 0,0 0 0 0 0,-1 0 0 0 0,1-1 1 0 0,-1 1-1 0 0,0-2 0 0 0,1 1 0 0 0,-1-1 1 0 0,0-1-1 0 0,-11 1 0 0 0,16-1-24 0 0,1 0 0 0 0,-1-1 0 0 0,0 1-1 0 0,1-1 1 0 0,-1 1 0 0 0,0-1 0 0 0,1 0 0 0 0,-1 0 0 0 0,1 0-1 0 0,-1 0 1 0 0,1 0 0 0 0,-1-1 0 0 0,1 1 0 0 0,0-1 0 0 0,0 1 0 0 0,-1-1-1 0 0,1 0 1 0 0,0 0 0 0 0,1 0 0 0 0,-1 0 0 0 0,0 0 0 0 0,1-1-1 0 0,-1 1 1 0 0,1-1 0 0 0,0 1 0 0 0,-1 0 0 0 0,1-1 0 0 0,1 0-1 0 0,-1 1 1 0 0,0-1 0 0 0,0 0 0 0 0,1-4 0 0 0,-1-5-214 0 0,1 0 0 0 0,0 0 0 0 0,1-1 0 0 0,0 1 0 0 0,1 0 0 0 0,0 0 0 0 0,1 0 0 0 0,1 0 0 0 0,7-17 0 0 0,2-1-920 0 0,1 1 0 0 0,26-38 1 0 0,-17 34-1957 0 0,50-56 0 0 0,-52 69 676 0 0</inkml:trace>
</inkml:ink>
</file>

<file path=ppt/ink/ink5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1T13:18:08.51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6 145 140 0 0,'3'-2'1099'0'0,"5"-3"-155"0"0,0 0-1 0 0,0 0 0 0 0,0-1 0 0 0,-1-1 1 0 0,1 1-1 0 0,7-11 0 0 0,-3 3-624 0 0,-9 11-297 0 0,1 0 0 0 0,-2 0 0 0 0,1-1-1 0 0,0 0 1 0 0,0 1 0 0 0,-1-1 0 0 0,0 0 0 0 0,0 0 0 0 0,0 0 0 0 0,0 0 0 0 0,1-8-1 0 0,-3 11-27 0 0,0 0-1 0 0,0 0 1 0 0,0 0-1 0 0,0 0 1 0 0,0 0-1 0 0,0 0 0 0 0,0 1 1 0 0,0-1-1 0 0,0 0 1 0 0,-1 0-1 0 0,1 0 1 0 0,0 0-1 0 0,-1 0 0 0 0,1 0 1 0 0,-1 0-1 0 0,1 0 1 0 0,-1 1-1 0 0,1-1 1 0 0,-1 0-1 0 0,1 0 0 0 0,-1 1 1 0 0,0-1-1 0 0,0 0 1 0 0,1 1-1 0 0,-1-1 1 0 0,0 1-1 0 0,0-1 0 0 0,0 1 1 0 0,1-1-1 0 0,-1 1 1 0 0,0 0-1 0 0,0-1 1 0 0,0 1-1 0 0,0 0 0 0 0,0 0 1 0 0,0-1-1 0 0,0 1 1 0 0,0 0-1 0 0,0 0 1 0 0,-1 0-1 0 0,-4 0-16 0 0,0 0-1 0 0,0 0 1 0 0,0 1-1 0 0,-8 1 1 0 0,5 0 23 0 0,0 0 0 0 0,0 1 0 0 0,0 0 0 0 0,0 0 0 0 0,0 1 0 0 0,1 0 0 0 0,0 1 0 0 0,0 0 0 0 0,0 0 0 0 0,0 0 0 0 0,1 1 0 0 0,0 1 0 0 0,-10 10 0 0 0,14-14 22 0 0,0 1 1 0 0,1 0 0 0 0,-1 0-1 0 0,1 0 1 0 0,0 0 0 0 0,0 0-1 0 0,0 0 1 0 0,0 1 0 0 0,1-1-1 0 0,0 0 1 0 0,0 1 0 0 0,0 0-1 0 0,0-1 1 0 0,1 1 0 0 0,-1-1-1 0 0,1 1 1 0 0,1 0 0 0 0,-1-1-1 0 0,1 1 1 0 0,-1-1 0 0 0,1 1-1 0 0,1 0 1 0 0,-1-1 0 0 0,1 0-1 0 0,-1 1 1 0 0,1-1 0 0 0,0 0-1 0 0,4 5 1 0 0,-2-3 3 0 0,1 0 1 0 0,-1 0-1 0 0,1 0 0 0 0,1-1 0 0 0,-1 0 1 0 0,1 0-1 0 0,0 0 0 0 0,0-1 0 0 0,0 1 1 0 0,1-2-1 0 0,-1 1 0 0 0,1-1 0 0 0,0 0 0 0 0,0 0 1 0 0,0-1-1 0 0,0 0 0 0 0,1 0 0 0 0,10 1 1 0 0,-7-2-78 0 0,0 0 1 0 0,1-1-1 0 0,-1 0 1 0 0,0-1-1 0 0,0 0 1 0 0,0-1-1 0 0,0 0 1 0 0,0 0-1 0 0,0-2 1 0 0,-1 1-1 0 0,20-10 1 0 0,5-7-232 0 0,0-2 0 0 0,42-35 0 0 0,-52 44 15 0 0,-22 12 182 0 0,0 2 18 0 0,-2-1 59 0 0,1 1 1 0 0,-1-1-1 0 0,0 1 0 0 0,0 0 1 0 0,1 0-1 0 0,-1 0 0 0 0,0 0 1 0 0,0 0-1 0 0,0 0 0 0 0,0 0 1 0 0,0 0-1 0 0,0 0 0 0 0,0 1 1 0 0,-1-1-1 0 0,1 0 0 0 0,0 1 1 0 0,-1-1-1 0 0,1 0 0 0 0,-1 1 1 0 0,1-1-1 0 0,-1 1 0 0 0,0-1 1 0 0,1 0-1 0 0,-1 1 0 0 0,0 2 1 0 0,25 133 902 0 0,-25-136-851 0 0,0 0-1 0 0,1 0 1 0 0,-1 0 0 0 0,0 0 0 0 0,1 0-1 0 0,-1 0 1 0 0,0 0 0 0 0,1-1-1 0 0,-1 1 1 0 0,1 0 0 0 0,0 0 0 0 0,-1 0-1 0 0,1 0 1 0 0,0-1 0 0 0,-1 1-1 0 0,1 0 1 0 0,0-1 0 0 0,0 1 0 0 0,0-1-1 0 0,-1 1 1 0 0,1-1 0 0 0,0 1-1 0 0,1 0 1 0 0,0-1-16 0 0,0 0 0 0 0,0 0 0 0 0,0 1 1 0 0,0-1-1 0 0,0-1 0 0 0,-1 1 0 0 0,1 0 0 0 0,0 0 0 0 0,0-1 0 0 0,0 1 0 0 0,-1-1 0 0 0,3 0 1 0 0,7-4-15 0 0,-1 0 1 0 0,0-1-1 0 0,14-10 1 0 0,-17 11 72 0 0,36-24-82 0 0,-18 10 13 0 0,2 1 1 0 0,0 1 0 0 0,1 1 0 0 0,58-22 0 0 0,-80 36-195 0 0,1 0 1 0 0,-1 0 0 0 0,1 1-1 0 0,-1 0 1 0 0,1 1-1 0 0,0 0 1 0 0,8 0 0 0 0,-10 1-312 0 0,-1-1 0 0 0,1 1 1 0 0,-1 0-1 0 0,0 1 1 0 0,0-1-1 0 0,1 1 1 0 0,4 2-1 0 0,4 3-1490 0 0</inkml:trace>
</inkml:ink>
</file>

<file path=ppt/ink/ink5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1T13:18:13.15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7 0 460 0 0,'0'0'5058'0'0,"-2"11"-4840"0"0,1-5-235 0 0,-16 81 1681 0 0,12-71-1436 0 0,2 1 0 0 0,0 0-1 0 0,0-1 1 0 0,1 33-1 0 0,3-31-71 0 0,-1-18-155 0 0,0 0 1 0 0,0 0-1 0 0,0 0 1 0 0,0 0 0 0 0,0-1-1 0 0,0 1 1 0 0,0 0-1 0 0,0 0 1 0 0,0 0-1 0 0,0 0 1 0 0,1 0 0 0 0,-1 0-1 0 0,0 0 1 0 0,0 0-1 0 0,0 0 1 0 0,0 0 0 0 0,0 0-1 0 0,0 0 1 0 0,0 0-1 0 0,0 0 1 0 0,0 0 0 0 0,0 0-1 0 0,0 0 1 0 0,0-1-1 0 0,0 1 1 0 0,0 0 0 0 0,0 0-1 0 0,0 0 1 0 0,0 0-1 0 0,1 0 1 0 0,-1 0-1 0 0,0 0 1 0 0,0 0 0 0 0,0 0-1 0 0,0 0 1 0 0,0 0-1 0 0,0 0 1 0 0,0 0 0 0 0,0 0-1 0 0,0 0 1 0 0,0 0-1 0 0,0 0 1 0 0,0 0 0 0 0,0 0-1 0 0,1 0 1 0 0,-1 0-1 0 0,0 1 1 0 0,0-1 0 0 0,0 0-1 0 0,0 0 1 0 0,0 0-1 0 0,0 0 1 0 0,0 0-1 0 0,0 0 1 0 0,0 0 0 0 0,0 0-1 0 0,0 0 1 0 0,0 0-1 0 0,0 0 1 0 0,0 0 0 0 0,0 0-1 0 0,0 0 1 0 0,0 0-1 0 0,0 1 1 0 0,7-22-30 0 0,-6 24-358 0 0,1 0-1 0 0,0-1 0 0 0,0 1 1 0 0,1 0-1 0 0,-1-1 1 0 0,1 1-1 0 0,-1-1 1 0 0,1 0-1 0 0,4 4 0 0 0,-5-6-154 0 0,-1 0 414 0 0,0 0 0 0 0,0 0 0 0 0,1-1 0 0 0,-1 1 0 0 0,0 0 0 0 0,0-1 1 0 0,0 1-1 0 0,0-1 0 0 0,0 1 0 0 0,0-1 0 0 0,0 0 0 0 0,0 1 0 0 0,0-1 0 0 0,0 0 0 0 0,1-1 0 0 0,6-5-639 0 0</inkml:trace>
</inkml:ink>
</file>

<file path=ppt/ink/ink5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1T13:18:13.72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1 641 188 0 0,'1'-3'281'0'0,"6"-61"1562"0"0,-6 48-1496 0 0,0 0 0 0 0,2 0 1 0 0,3-16-1 0 0,-5 30-86 0 0,-1-15 580 0 0,-1 24-282 0 0,-4 30 263 0 0,-33 142 926 0 0,35-159-1688 0 0,1-1 0 0 0,1 0 0 0 0,1 0 0 0 0,1 0 0 0 0,0 1 0 0 0,2-1 0 0 0,6 27-1 0 0,-8-43-116 0 0,8 22-543 0 0,-8-24 470 0 0,-1 0-1 0 0,0 0 1 0 0,1 0 0 0 0,-1-1-1 0 0,1 1 1 0 0,-1 0-1 0 0,1 0 1 0 0,-1-1 0 0 0,1 1-1 0 0,0 0 1 0 0,-1-1-1 0 0,1 1 1 0 0,0-1 0 0 0,-1 1-1 0 0,1-1 1 0 0,0 1-1 0 0,0-1 1 0 0,0 0 0 0 0,-1 1-1 0 0,1-1 1 0 0,0 0-1 0 0,0 1 1 0 0,0-1 0 0 0,0 0-1 0 0,0 0 1 0 0,-1 0-1 0 0,3 0 1 0 0,12-3-1569 0 0</inkml:trace>
  <inkml:trace contextRef="#ctx0" brushRef="#br0" timeOffset="1">229 106 1244 0 0,'-2'-16'1032'0'0,"-2"0"-176"0"0,0 5-120 0 0,2-1-248 0 0,-2 3 0 0 0,0 0-136 0 0,2 0 133 0 0,-2-6-177 0 0,-4 6-316 0 0,-8 9-3569 0 0</inkml:trace>
</inkml:ink>
</file>

<file path=ppt/ink/ink5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1T13:18:14.10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95 0 616 0 0,'-5'124'4769'0'0,"-15"62"-2239"0"0,13-123-2181 0 0,5-44-370 0 0,-11 69 553 0 0,11-78-893 0 0,-1 1 0 0 0,0-1-1 0 0,0 0 1 0 0,-1 0 0 0 0,-1-1 0 0 0,-6 12 0 0 0,4-12-1472 0 0,-2-1-177 0 0</inkml:trace>
</inkml:ink>
</file>

<file path=ppt/ink/ink5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1T13:18:14.65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71 268 0 0,'9'-6'364'0'0,"-1"1"0"0"0,1 0 0 0 0,1 1 0 0 0,-1 0 0 0 0,1 0-1 0 0,-1 1 1 0 0,21-4 0 0 0,73-6 212 0 0,-88 12-462 0 0,331-24 207 0 0,-341 24-338 0 0,1 1-1 0 0,-1-1 0 0 0,1 0 1 0 0,-1 0-1 0 0,0-1 0 0 0,0 1 1 0 0,0-1-1 0 0,0 0 0 0 0,0-1 0 0 0,0 1 1 0 0,0-1-1 0 0,8-6 0 0 0,-4 2 181 0 0,-9 6-160 0 0,0 1 0 0 0,1 0 0 0 0,-1-1-1 0 0,1 1 1 0 0,-1-1 0 0 0,1 1-1 0 0,-1 0 1 0 0,1-1 0 0 0,-1 1 0 0 0,1 0-1 0 0,-1 0 1 0 0,1-1 0 0 0,-1 1 0 0 0,1 0-1 0 0,0 0 1 0 0,-1 0 0 0 0,1 0-1 0 0,-1-1 1 0 0,2 1 0 0 0,-2 1 16 0 0,1 1 1 0 0,-1-1-1 0 0,1 0 0 0 0,-1 0 1 0 0,1 0-1 0 0,-1 0 0 0 0,0 1 1 0 0,0-1-1 0 0,0 0 1 0 0,0 0-1 0 0,0 0 0 0 0,0 1 1 0 0,0-1-1 0 0,0 2 0 0 0,0 4 48 0 0,0-1 35 0 0,-1 0 1 0 0,2 0-1 0 0,-1 0 0 0 0,1 0 0 0 0,0 0 0 0 0,2 7 0 0 0,-2-11-51 0 0,-1 1 0 0 0,1-1 0 0 0,0 1 1 0 0,0-1-1 0 0,0 0 0 0 0,1 0 0 0 0,-1 1 0 0 0,1-1 0 0 0,-1 0 1 0 0,1 0-1 0 0,-1 0 0 0 0,1-1 0 0 0,0 1 0 0 0,0 0 1 0 0,0-1-1 0 0,0 1 0 0 0,0-1 0 0 0,1 0 0 0 0,-1 1 0 0 0,4 0 1 0 0,-5-2-45 0 0,0 1 1 0 0,0-1-1 0 0,0 0 0 0 0,0 0 1 0 0,1 0-1 0 0,-1-1 1 0 0,0 1-1 0 0,0 0 1 0 0,0 0-1 0 0,0-1 1 0 0,0 1-1 0 0,0 0 1 0 0,0-1-1 0 0,0 1 1 0 0,0-1-1 0 0,0 1 1 0 0,0-1-1 0 0,0 0 1 0 0,0 1-1 0 0,0-1 1 0 0,-1 0-1 0 0,3-1 1 0 0,12-21-20 0 0,-14 19 14 0 0,1-1 1 0 0,0 1 0 0 0,-1-1 0 0 0,0 0-1 0 0,0 1 1 0 0,0-1 0 0 0,-1 0 0 0 0,0 0 0 0 0,0 1-1 0 0,0-1 1 0 0,0 0 0 0 0,-1 0 0 0 0,0 1-1 0 0,0-1 1 0 0,0 0 0 0 0,0 1 0 0 0,-1-1-1 0 0,-2-4 1 0 0,2 6 33 0 0,0-1 0 0 0,0 1 0 0 0,-1 0 0 0 0,0 0 0 0 0,1 0 0 0 0,-1 0 0 0 0,0 1 0 0 0,-1-1-1 0 0,1 1 1 0 0,0 0 0 0 0,-1 0 0 0 0,1 0 0 0 0,-1 0 0 0 0,1 1 0 0 0,-1-1 0 0 0,0 1 0 0 0,0 0 0 0 0,0 0 0 0 0,0 0 0 0 0,0 1-1 0 0,0-1 1 0 0,-5 1 0 0 0,0 0 56 0 0,0 0 0 0 0,0 1 0 0 0,0 0 0 0 0,0 0-1 0 0,0 1 1 0 0,0 0 0 0 0,0 1 0 0 0,1 0 0 0 0,-1 0-1 0 0,1 1 1 0 0,0 0 0 0 0,0 0 0 0 0,0 1 0 0 0,-10 8-1 0 0,14-10-27 0 0,0 1 0 0 0,0 0-1 0 0,0-1 1 0 0,1 2-1 0 0,0-1 1 0 0,-1 0-1 0 0,2 1 1 0 0,-1-1-1 0 0,0 1 1 0 0,1 0 0 0 0,0 0-1 0 0,0 0 1 0 0,0 0-1 0 0,1 0 1 0 0,0 0-1 0 0,0 0 1 0 0,0 1-1 0 0,0-1 1 0 0,1 0 0 0 0,0 1-1 0 0,0-1 1 0 0,1 0-1 0 0,-1 1 1 0 0,1-1-1 0 0,3 10 1 0 0,0-2-12 0 0,2 0 1 0 0,-1 0-1 0 0,1 0 0 0 0,1 0 0 0 0,1-1 1 0 0,-1 0-1 0 0,2-1 0 0 0,0 1 1 0 0,0-2-1 0 0,1 1 0 0 0,0-1 1 0 0,1-1-1 0 0,0 0 0 0 0,0-1 0 0 0,24 14 1 0 0,-26-17-135 0 0,1 0 0 0 0,0-1-1 0 0,0 0 1 0 0,0 0 0 0 0,1-1 0 0 0,-1 0 0 0 0,1-1 0 0 0,0 0 0 0 0,0-1 0 0 0,0 0 0 0 0,0-1 0 0 0,0 0-1 0 0,-1-1 1 0 0,1 0 0 0 0,0 0 0 0 0,0-1 0 0 0,-1-1 0 0 0,1 0 0 0 0,-1 0 0 0 0,1-1 0 0 0,9-6 0 0 0,2-3-236 0 0,-1 0 0 0 0,-1-2 0 0 0,31-27 0 0 0,48-59 284 0 0,-85 86 237 0 0,-12 13-215 0 0,16-19 231 0 0,-16 15-40 0 0,-11 6-67 0 0,8 0-76 0 0,0 1-1 0 0,0 0 1 0 0,0-1-1 0 0,0 1 1 0 0,0 0-1 0 0,0 0 1 0 0,0 0-1 0 0,0 0 1 0 0,1 0-1 0 0,-1 0 1 0 0,0 0-1 0 0,0 0 1 0 0,1 0-1 0 0,-1 0 1 0 0,1 0-1 0 0,-1 0 0 0 0,1 1 1 0 0,0-1-1 0 0,-1 2 1 0 0,-3 23 572 0 0,3-23-565 0 0,1 0 0 0 0,1 0 0 0 0,-1 1 0 0 0,0-1-1 0 0,1 0 1 0 0,-1 0 0 0 0,1 0 0 0 0,0 0 0 0 0,0 0 0 0 0,1 0 0 0 0,-1 0 0 0 0,0 0 0 0 0,1 0 0 0 0,0-1 0 0 0,-1 1-1 0 0,1-1 1 0 0,0 1 0 0 0,4 3 0 0 0,-2-4-11 0 0,0 1-1 0 0,-1-1 0 0 0,1 0 1 0 0,0 0-1 0 0,0 0 0 0 0,0 0 1 0 0,1-1-1 0 0,-1 0 0 0 0,0 0 1 0 0,1 0-1 0 0,7 1 0 0 0,6-2 13 0 0,1 0 0 0 0,-1-2 0 0 0,0 0 0 0 0,0 0 0 0 0,22-8 0 0 0,0-2 16 0 0,43-19-1 0 0,-48 17-209 0 0,58-16-1 0 0,-90 30 127 0 0,0 1 1 0 0,1 1 23 0 0,0 0 0 0 0,0 0 1 0 0,0 1-1 0 0,0 0 0 0 0,0 0 0 0 0,-1 0 0 0 0,1 0 0 0 0,-1 0 1 0 0,0 1-1 0 0,4 6 0 0 0,1 0-49 0 0,0 0 0 0 0,0 0 0 0 0,1-1 1 0 0,0 0-1 0 0,0-1 0 0 0,1 1 0 0 0,0-2 0 0 0,1 0 0 0 0,0 0 0 0 0,0-1 1 0 0,0 0-1 0 0,1-1 0 0 0,0 0 0 0 0,0-1 0 0 0,0 0 0 0 0,0-1 0 0 0,17 2 1 0 0,-23-4-435 0 0,0-1 1 0 0,0 0-1 0 0,-1 0 1 0 0,1 0-1 0 0,0-1 1 0 0,0 0-1 0 0,-1 0 1 0 0,1-1-1 0 0,0 1 1 0 0,-1-1-1 0 0,6-3 1 0 0,0-1-1810 0 0</inkml:trace>
</inkml:ink>
</file>

<file path=ppt/ink/ink5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1T13:18:15.30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91 46 1024 0 0,'12'-36'4155'0'0,"-12"34"-3900"0"0,0 2-233 0 0,0 0 0 0 0,0-1 0 0 0,1 1 0 0 0,-1 0 0 0 0,0 0 0 0 0,0-1 0 0 0,0 1 0 0 0,0 0-1 0 0,0 0 1 0 0,0-1 0 0 0,0 1 0 0 0,0 0 0 0 0,0-1 0 0 0,0 1 0 0 0,0 0 0 0 0,0 0 0 0 0,0-1-1 0 0,0 1 1 0 0,0 0 0 0 0,0-1 0 0 0,0 1 0 0 0,0 0 0 0 0,0 0 0 0 0,0-1 0 0 0,0 1-1 0 0,0 0 1 0 0,-1-1 0 0 0,-2 4-20 0 0,0 0 0 0 0,0 0 0 0 0,0 0 0 0 0,0 1 0 0 0,1-1-1 0 0,-1 1 1 0 0,1-1 0 0 0,0 1 0 0 0,0 0 0 0 0,-1 4 0 0 0,-14 44 134 0 0,15-46-123 0 0,0 3-1 0 0,-1 0 1 0 0,2 0-1 0 0,-1 0 1 0 0,1 0-1 0 0,1 0 1 0 0,-1 0 0 0 0,2 0-1 0 0,-1 0 1 0 0,1 1-1 0 0,0-1 1 0 0,1 0-1 0 0,5 13 1 0 0,20 39 50 0 0,-11-28-52 0 0,-14-30 1 0 0,-1 1 0 0 0,1-1 0 0 0,-1 0 0 0 0,0 1 0 0 0,0-1 0 0 0,0 0 0 0 0,-1 1 0 0 0,1-1 0 0 0,-1 1 0 0 0,0-1 1 0 0,0 1-1 0 0,0 5 0 0 0,-1-8-21 0 0,0 0 0 0 0,1 0 0 0 0,-1 0 0 0 0,0 0 1 0 0,1-1-1 0 0,-1 1 0 0 0,0 0 0 0 0,0 0 0 0 0,0-1 0 0 0,0 1 1 0 0,1-1-1 0 0,-1 1 0 0 0,0 0 0 0 0,0-1 0 0 0,0 0 1 0 0,0 1-1 0 0,-1-1 0 0 0,1 0 0 0 0,0 1 0 0 0,0-1 0 0 0,0 0 1 0 0,0 0-1 0 0,0 0 0 0 0,0 0 0 0 0,0 0 0 0 0,-1 0 1 0 0,-2 0-159 0 0,0 0 0 0 0,1 0 0 0 0,-1 0 0 0 0,1 0 0 0 0,-1 0 0 0 0,0-1 0 0 0,1 0 0 0 0,-1 0 0 0 0,1 0 0 0 0,0 0 0 0 0,-1 0 0 0 0,1-1 0 0 0,0 1 0 0 0,0-1 1 0 0,-1 0-1 0 0,2 0 0 0 0,-1 0 0 0 0,0 0 0 0 0,0-1 0 0 0,-4-4 0 0 0,-2-4-296 0 0</inkml:trace>
</inkml:ink>
</file>

<file path=ppt/ink/ink5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1T13:18:15.67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140 15 356 0 0,'15'-15'3519'0'0,"-20"24"-2518"0"0,-29 41-1956 0 0,-57 63 0 0 0,66-86 393 0 0</inkml:trace>
  <inkml:trace contextRef="#ctx0" brushRef="#br0" timeOffset="1">126 740 1348 0 0,'-109'1'7068'0'0,"108"-1"-7012"0"0,0 0 0 0 0,0 0 0 0 0,0-1 0 0 0,0 1 0 0 0,0 0 0 0 0,1 0 0 0 0,-1 0 0 0 0,0 0 0 0 0,0-1-1 0 0,0 1 1 0 0,1 0 0 0 0,-1-1 0 0 0,0 1 0 0 0,0-1 0 0 0,1 1 0 0 0,-1-1 0 0 0,0 1 0 0 0,0-2 0 0 0,3-2 334 0 0,9 1-15 0 0,256 9-373 0 0,-22 1-5924 0 0,-211-9 4002 0 0</inkml:trace>
</inkml:ink>
</file>

<file path=ppt/ink/ink5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1T13:18:16.03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70 0 8 0 0,'-93'5'3663'0'0,"-83"1"3740"0"0,492-5-5767 0 0,658-9-946 0 0,-942 6-1373 0 0,5 1-1715 0 0,-15 0-2593 0 0</inkml:trace>
</inkml:ink>
</file>

<file path=ppt/ink/ink5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1T13:18:17.42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46 49 152 0 0,'-16'-9'1848'0'0,"2"-2"-360"0"0,2 4-368 0 0,0 0-227 0 0,4 0 295 0 0,-12 0-160 0 0,-4 8-548 0 0,10 8-248 0 0,2 8-672 0 0,8-8-240 0 0,2-2-380 0 0,-4 5-901 0 0,4-3 77 0 0</inkml:trace>
</inkml:ink>
</file>

<file path=ppt/ink/ink5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1:00.05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16 0 344 0 0,'-4'1'1457'0'0,"-90"14"6754"0"0,92-15-7527 0 0,-13 3 2100 0 0,33 0-2552 0 0,0 0 0 0 0,0-2 1 0 0,31 0-1 0 0,-8-1-75 0 0,926 45 1905 0 0,5 23-1079 0 0,-797-54-851 0 0,794 46 435 0 0,-906-57-616 0 0,128 1 799 0 0,-143-6-17 0 0,91-13 1 0 0,-132 14-769 0 0,0 0 0 0 0,0-1-1 0 0,0 0 1 0 0,0 0 0 0 0,0 0 0 0 0,-1-1 0 0 0,1 0-1 0 0,-1 0 1 0 0,0-1 0 0 0,1 0 0 0 0,-2 0 0 0 0,9-7-1 0 0</inkml:trace>
</inkml:ink>
</file>

<file path=ppt/ink/ink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4:35.36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86 103 1140 0 0,'2'-3'345'0'0,"-1"0"0"0"0,1-1 1 0 0,-1 1-1 0 0,0-1 0 0 0,0 0 0 0 0,0 1 0 0 0,-1-1 1 0 0,1 0-1 0 0,-1 0 0 0 0,0 1 0 0 0,0-1 0 0 0,0 0 1 0 0,-1 1-1 0 0,1-1 0 0 0,-1 0 0 0 0,-1-3 0 0 0,1 4-241 0 0,0 1-1 0 0,0 0 0 0 0,-1 0 1 0 0,1 0-1 0 0,0 0 0 0 0,-1 0 1 0 0,0 0-1 0 0,1 0 0 0 0,-1 0 1 0 0,0 0-1 0 0,0 1 0 0 0,0-1 1 0 0,0 1-1 0 0,0 0 0 0 0,0-1 1 0 0,0 1-1 0 0,-1 0 0 0 0,1 0 1 0 0,0 0-1 0 0,-1 1 0 0 0,1-1 1 0 0,0 0-1 0 0,-1 1 0 0 0,-4-1 1 0 0,-4 1 84 0 0,1 0 1 0 0,-1 0 0 0 0,1 1 0 0 0,-1 0 0 0 0,1 1-1 0 0,-1 1 1 0 0,1-1 0 0 0,0 1 0 0 0,0 1 0 0 0,0 0-1 0 0,0 1 1 0 0,1-1 0 0 0,0 2 0 0 0,0-1 0 0 0,0 1 0 0 0,-10 10-1 0 0,14-12-120 0 0,0 1-1 0 0,0 0 0 0 0,0 0 0 0 0,0 1 0 0 0,1 0 1 0 0,0 0-1 0 0,0 0 0 0 0,0 0 0 0 0,1 0 0 0 0,0 1 1 0 0,0-1-1 0 0,1 1 0 0 0,0 0 0 0 0,0 0 0 0 0,0 0 1 0 0,1 0-1 0 0,0 0 0 0 0,1 0 0 0 0,-1 1 0 0 0,1-1 1 0 0,1 0-1 0 0,-1 0 0 0 0,1 0 0 0 0,3 11 0 0 0,-2-11-38 0 0,0 0-1 0 0,1-1 0 0 0,-1 0 1 0 0,1 0-1 0 0,1 1 0 0 0,-1-2 1 0 0,1 1-1 0 0,0 0 0 0 0,0-1 1 0 0,1 0-1 0 0,0 0 0 0 0,0 0 0 0 0,0 0 1 0 0,0-1-1 0 0,1 0 0 0 0,-1 0 1 0 0,9 4-1 0 0,-8-6-11 0 0,-1 1-1 0 0,1-1 1 0 0,0-1-1 0 0,0 1 1 0 0,-1-1-1 0 0,1 0 1 0 0,0-1-1 0 0,0 1 1 0 0,0-1-1 0 0,0 0 1 0 0,0-1-1 0 0,0 1 1 0 0,0-1-1 0 0,0 0 1 0 0,0-1-1 0 0,0 1 1 0 0,0-1-1 0 0,-1 0 1 0 0,11-6-1 0 0,-1-2-7 0 0,0-1-1 0 0,-1 0 1 0 0,0 0-1 0 0,-1-2 1 0 0,0 0-1 0 0,-1 0 1 0 0,18-27-1 0 0,8-8-105 0 0,-37 48 93 0 0,-1 0 0 0 0,0 0-1 0 0,0 0 1 0 0,0 0 0 0 0,0-1 0 0 0,0 1 0 0 0,0 0-1 0 0,0 0 1 0 0,0 0 0 0 0,0 0 0 0 0,0 0 0 0 0,0 0-1 0 0,1 0 1 0 0,-1 0 0 0 0,0 0 0 0 0,0 0 0 0 0,0 0-1 0 0,0 0 1 0 0,0 0 0 0 0,0 0 0 0 0,0 0 0 0 0,0 0-1 0 0,1 0 1 0 0,-1-1 0 0 0,0 1 0 0 0,0 0 0 0 0,0 1-1 0 0,0-1 1 0 0,0 0 0 0 0,0 0 0 0 0,1 0-1 0 0,-1 0 1 0 0,0 0 0 0 0,0 0 0 0 0,0 0 0 0 0,0 0-1 0 0,0 0 1 0 0,0 0 0 0 0,0 0 0 0 0,0 0 0 0 0,1 0-1 0 0,-1 0 1 0 0,0 0 0 0 0,0 0 0 0 0,0 0 0 0 0,0 0-1 0 0,0 1 1 0 0,0-1 0 0 0,0 0 0 0 0,0 0 0 0 0,0 0-1 0 0,4 11-77 0 0,-1 23 127 0 0,-1-15-24 0 0,5 9 185 0 0,1 0-1 0 0,2-1 1 0 0,23 50-1 0 0,-32-75-159 0 0,-1-1-1 0 0,1 1 1 0 0,0 0 0 0 0,1-1-1 0 0,-1 1 1 0 0,0-1-1 0 0,0 1 1 0 0,0-1-1 0 0,1 0 1 0 0,-1 0-1 0 0,1 1 1 0 0,-1-1-1 0 0,1 0 1 0 0,0 0-1 0 0,-1 0 1 0 0,1-1-1 0 0,0 1 1 0 0,-1 0-1 0 0,1-1 1 0 0,0 1-1 0 0,0-1 1 0 0,0 1-1 0 0,0-1 1 0 0,0 0-1 0 0,-1 0 1 0 0,1 0-1 0 0,0 0 1 0 0,0 0-1 0 0,0 0 1 0 0,0-1-1 0 0,0 1 1 0 0,-1-1-1 0 0,1 1 1 0 0,0-1-1 0 0,2-1 1 0 0,4-1-1 0 0,0-1-1 0 0,0 0 1 0 0,0 0-1 0 0,0-1 1 0 0,-1 0 0 0 0,9-8-1 0 0,10-11 25 0 0,37-45 0 0 0,-39 40-137 0 0,29-27 0 0 0,-52 56 60 0 0,0-1 0 0 0,0 0 1 0 0,-1 1-1 0 0,1-1 0 0 0,0 0 0 0 0,0 1 1 0 0,0-1-1 0 0,-1 1 0 0 0,1-1 1 0 0,0 1-1 0 0,0-1 0 0 0,0 1 1 0 0,0 0-1 0 0,0 0 0 0 0,0-1 1 0 0,0 1-1 0 0,0 0 0 0 0,0 0 0 0 0,0 0 1 0 0,0 0-1 0 0,0 0 0 0 0,0 0 1 0 0,0 0-1 0 0,0 0 0 0 0,0 1 1 0 0,0-1-1 0 0,0 0 0 0 0,0 1 1 0 0,0-1-1 0 0,0 1 0 0 0,0-1 0 0 0,0 0 1 0 0,-1 1-1 0 0,1 0 0 0 0,0-1 1 0 0,0 1-1 0 0,0 0 0 0 0,-1-1 1 0 0,2 2-1 0 0,2 3-2 0 0,0 1-1 0 0,0 0 1 0 0,0 0 0 0 0,5 12-1 0 0,1 2 1 0 0,-2-8 24 0 0,0-1-1 0 0,1 0 1 0 0,0-1-1 0 0,0 0 1 0 0,1 0-1 0 0,0-1 1 0 0,1 0-1 0 0,0-1 1 0 0,17 10-1 0 0,-23-16-5 0 0,0 1-1 0 0,-1-1 0 0 0,1 0 0 0 0,0-1 0 0 0,0 1 0 0 0,0-1 0 0 0,1 0 0 0 0,-1 0 1 0 0,0 0-1 0 0,0-1 0 0 0,0 0 0 0 0,1 0 0 0 0,-1 0 0 0 0,0-1 0 0 0,0 1 0 0 0,1-1 1 0 0,-1-1-1 0 0,0 1 0 0 0,0-1 0 0 0,0 1 0 0 0,-1-2 0 0 0,1 1 0 0 0,0 0 0 0 0,-1-1 1 0 0,1 0-1 0 0,-1 0 0 0 0,7-6 0 0 0,-4 1-54 0 0,0 1 1 0 0,0-1-1 0 0,0-1 1 0 0,-1 1-1 0 0,0-1 0 0 0,-1 0 1 0 0,0-1-1 0 0,4-11 1 0 0,-7 16 27 0 0,0 0 1 0 0,0 0 0 0 0,-1 0 0 0 0,1 0-1 0 0,-1 0 1 0 0,0 0 0 0 0,-1 0-1 0 0,0 0 1 0 0,1 0 0 0 0,-1 0 0 0 0,-1-1-1 0 0,1 1 1 0 0,-1 0 0 0 0,0 0-1 0 0,0 0 1 0 0,-1 0 0 0 0,1 0 0 0 0,-5-8-1 0 0,4 10 0 0 0,1 1-1 0 0,-1 0 1 0 0,0-1 0 0 0,0 1-1 0 0,0 0 1 0 0,0 0-1 0 0,0 1 1 0 0,-3-3 0 0 0,4 4 15 0 0,1-1 0 0 0,-1 1 1 0 0,0-1-1 0 0,0 1 0 0 0,1 0 1 0 0,-1-1-1 0 0,0 1 0 0 0,0 0 1 0 0,1 0-1 0 0,-1-1 0 0 0,0 1 1 0 0,0 0-1 0 0,0 0 0 0 0,1 0 1 0 0,-1 0-1 0 0,0 0 0 0 0,0 0 1 0 0,0 0-1 0 0,0 0 0 0 0,1 1 1 0 0,-1-1-1 0 0,0 0 0 0 0,0 0 1 0 0,1 1-1 0 0,-1-1 0 0 0,0 0 1 0 0,0 1-1 0 0,1-1 0 0 0,-1 1 1 0 0,1-1-1 0 0,-1 1 1 0 0,-1 0-1 0 0,1 1 6 0 0,-1 0 0 0 0,1 0 0 0 0,-1 0 0 0 0,1 0 0 0 0,0 0 1 0 0,0 0-1 0 0,-1 0 0 0 0,2 0 0 0 0,-1 1 0 0 0,0-1 0 0 0,0 0 0 0 0,1 1 0 0 0,-1-1 1 0 0,1 0-1 0 0,0 1 0 0 0,-1-1 0 0 0,1 1 0 0 0,0-1 0 0 0,1 0 0 0 0,-1 1 0 0 0,0-1 1 0 0,1 1-1 0 0,0 3 0 0 0,0-2 3 0 0,5 13-396 0 0,-1 0-1 0 0,2 0 1 0 0,0-1 0 0 0,1 0 0 0 0,1 0 0 0 0,0-1-1 0 0,1 0 1 0 0,1-1 0 0 0,0 0 0 0 0,1 0-1 0 0,0-2 1 0 0,1 1 0 0 0,17 12 0 0 0,-23-20-494 0 0,1-1 0 0 0,-1 1 0 0 0,1-1 0 0 0,0-1 0 0 0,14 6 1 0 0,2-3-2717 0 0</inkml:trace>
</inkml:ink>
</file>

<file path=ppt/ink/ink5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2:52.10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1 19 788 0 0,'-3'-1'971'0'0,"-22"-5"2278"0"0,23 5-2594 0 0,-15-1 1317 0 0,-12-4-133 0 0,27 5-1140 0 0,-1 1-457 0 0,155-1 1273 0 0,1567 30 350 0 0,-1662-28-1834 0 0,384 3 837 0 0,-380-4-361 0 0,-1-2-174 0 0,-55 2-320 0 0,-106 7-9173 0 0,68-5 5177 0 0</inkml:trace>
</inkml:ink>
</file>

<file path=ppt/ink/ink5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2:52.49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5 78 800 0 0,'-102'25'7007'0'0,"100"-25"-6519"0"0,1140-11 4046 0 0,-803 12-4036 0 0,427-3 219 0 0,-2-24-95 0 0,-668 21 59 0 0,122-24-1 0 0,-207 27-995 0 0,-1 0 0 0 0,1 0 0 0 0,-1-1 0 0 0,7-3-1 0 0,-13 6 186 0 0,0-1-1 0 0,-1 1 1 0 0,1-1-1 0 0,0 1 1 0 0,0 0-1 0 0,0-1 0 0 0,0 1 1 0 0,0-1-1 0 0,0 1 1 0 0,-1 0-1 0 0,1-1 1 0 0,0 1-1 0 0,0 0 0 0 0,-1-1 1 0 0,1 1-1 0 0,0 0 1 0 0,0-1-1 0 0,-1 1 1 0 0,1 0-1 0 0,0 0 0 0 0,-1-1 1 0 0,1 1-1 0 0,0 0 1 0 0,-1 0-1 0 0,1 0 1 0 0,-1-1-1 0 0,1 1 1 0 0,0 0-1 0 0,-1 0 0 0 0,1 0 1 0 0,-1 0-1 0 0,1 0 1 0 0,-1 0-1 0 0,1 0 1 0 0,-20-4-3057 0 0,0 2-1104 0 0</inkml:trace>
</inkml:ink>
</file>

<file path=ppt/ink/ink5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1T13:19:28.26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93 1782 372 0 0,'-24'22'8431'0'0,"24"-22"-8365"0"0,0 0 0 0 0,-1 1-1 0 0,1-1 1 0 0,0 0 0 0 0,-1 1-1 0 0,1-1 1 0 0,0 0-1 0 0,-1 1 1 0 0,1-1 0 0 0,0 1-1 0 0,0-1 1 0 0,-1 0-1 0 0,1 1 1 0 0,0-1 0 0 0,0 1-1 0 0,0-1 1 0 0,0 1-1 0 0,0-1 1 0 0,-1 2 0 0 0,1-1-46 0 0,1 3-6 0 0,14 5 98 0 0,40 18-34 0 0,2-3 1 0 0,0-2-1 0 0,1-3 1 0 0,1-2-1 0 0,1-3 1 0 0,82 8-1 0 0,-43-13-47 0 0,0-5 1 0 0,0-3-1 0 0,117-16 0 0 0,-123 1-88 0 0,0-3 0 0 0,-2-4 0 0 0,174-65 0 0 0,241-154-186 0 0,-446 207 212 0 0,-1-4-1 0 0,-2-1 1 0 0,70-64 0 0 0,-88 66 14 0 0,-2-1 1 0 0,-2-2 0 0 0,-1-1-1 0 0,-3-2 1 0 0,28-47 0 0 0,-42 61 6 0 0,-1-1 1 0 0,-2 0 0 0 0,-1-1 0 0 0,-1-1 0 0 0,-2 0 0 0 0,7-33 0 0 0,-14 49-4 0 0,-1 0 0 0 0,-1 0 0 0 0,0 0 0 0 0,-1 0 0 0 0,0-1 0 0 0,-1 1 0 0 0,-1 0 0 0 0,-1 0 0 0 0,0 0 0 0 0,-1 0 0 0 0,0 1 0 0 0,-1-1 0 0 0,-1 1 0 0 0,0 0 0 0 0,-10-14 0 0 0,0 3-3 0 0,-2 2 1 0 0,0 0 0 0 0,-2 1 0 0 0,0 0 0 0 0,-1 2 0 0 0,-2 1 0 0 0,0 0-1 0 0,-33-19 1 0 0,-5 2-10 0 0,-2 2 1 0 0,-84-32-1 0 0,56 32 7 0 0,-2 3 1 0 0,0 5-1 0 0,-149-22 1 0 0,105 31 9 0 0,-264 4-1 0 0,-178 74 58 0 0,508-50-36 0 0,-6 0-15 0 0,1 4 0 0 0,1 3 0 0 0,1 3 0 0 0,1 4 1 0 0,-124 59-1 0 0,174-72 32 0 0,2 1 0 0 0,0 1 0 0 0,0 1 1 0 0,1 1-1 0 0,1 0 0 0 0,1 2 0 0 0,0 0 0 0 0,1 1 0 0 0,1 0 1 0 0,1 2-1 0 0,1 0 0 0 0,0 0 0 0 0,2 2 0 0 0,1-1 0 0 0,-14 39 1 0 0,8-12 68 0 0,2 0 0 0 0,2 1 0 0 0,3 0 0 0 0,-6 73 0 0 0,15-100-89 0 0,0 0 0 0 0,2 1 1 0 0,1-1-1 0 0,1 0 0 0 0,0 0 0 0 0,2 0 1 0 0,1-1-1 0 0,1 0 0 0 0,0 0 1 0 0,2 0-1 0 0,1-1 0 0 0,13 23 0 0 0,1-6 44 0 0,2-1-1 0 0,1 0 0 0 0,2-2 0 0 0,1-2 1 0 0,2 0-1 0 0,1-2 0 0 0,2-2 1 0 0,1-1-1 0 0,0-2 0 0 0,2-1 0 0 0,2-2 1 0 0,70 30-1 0 0,-59-35 3 0 0,0-2 0 0 0,1-3-1 0 0,1-2 1 0 0,0-2 0 0 0,79 3 0 0 0,269-21 222 0 0,-188-6 49 0 0,-1-10 1 0 0,283-70 0 0 0,-409 71-245 0 0,-2-4 0 0 0,-1-3 0 0 0,103-54 0 0 0,-137 58 34 0 0,-1-2 1 0 0,-2-1-1 0 0,-1-3 1 0 0,-1-2-1 0 0,-2-2 1 0 0,53-59-1 0 0,-77 74-94 0 0,0-1-1 0 0,-2-1 1 0 0,-1 0-1 0 0,-1-1 0 0 0,-1-1 1 0 0,-1 0-1 0 0,14-48 1 0 0,-16 38-31 0 0,-2 0 0 0 0,-2 0 0 0 0,-1 0 0 0 0,-2-1 0 0 0,-2-58 0 0 0,-2 68-2 0 0,-2 1 0 0 0,-6-34 1 0 0,6 48 1 0 0,-1 0-1 0 0,0 0 1 0 0,0 0 0 0 0,-1 1 0 0 0,-1 0 0 0 0,0 0 0 0 0,-8-11 0 0 0,-5-3 2 0 0,-1 2 0 0 0,-1 0-1 0 0,-2 2 1 0 0,0 0-1 0 0,-1 2 1 0 0,-1 0-1 0 0,0 2 1 0 0,-2 0 0 0 0,-32-14-1 0 0,-36-11-35 0 0,-133-42 0 0 0,124 51 30 0 0,0 5 1 0 0,-2 5-1 0 0,-1 4 0 0 0,0 4 0 0 0,-1 6 0 0 0,-113 4 1 0 0,133 8 18 0 0,0 5 0 0 0,0 3 0 0 0,-146 38 0 0 0,107-12 30 0 0,1 6-1 0 0,-204 100 1 0 0,298-125-40 0 0,1 1 0 0 0,0 1 1 0 0,2 2-1 0 0,0 1 0 0 0,2 1 0 0 0,-31 34 0 0 0,37-34 5 0 0,2 1 1 0 0,0 1-1 0 0,1 0 1 0 0,2 1-1 0 0,1 1 1 0 0,1 1-1 0 0,-15 45 1 0 0,18-39 25 0 0,1 1 0 0 0,2 0 0 0 0,2 0 0 0 0,1 1 0 0 0,2 0 0 0 0,2-1 0 0 0,1 1 0 0 0,2 0 0 0 0,1 0 0 0 0,11 49 0 0 0,-5-49-19 0 0,1 0 0 0 0,2-1 0 0 0,2 0 0 0 0,1-1 0 0 0,2 0 1 0 0,1-2-1 0 0,1 0 0 0 0,2-1 0 0 0,2-1 0 0 0,25 29 0 0 0,-18-28 3 0 0,1-2 1 0 0,2-1 0 0 0,1-1-1 0 0,1-2 1 0 0,1-1 0 0 0,1-2-1 0 0,70 32 1 0 0,-51-32-6 0 0,1-3 0 0 0,0-2-1 0 0,1-2 1 0 0,1-3 0 0 0,65 5 0 0 0,-30-10 0 0 0,1-5 0 0 0,-1-3 1 0 0,132-18-1 0 0,-84-4-3 0 0,215-61 0 0 0,-252 51 33 0 0,-2-4 0 0 0,-1-5 0 0 0,-2-4 0 0 0,-2-4 1 0 0,140-95-1 0 0,-214 127-48 0 0,-2-1 1 0 0,0-1-1 0 0,-1 0 1 0 0,0-2-1 0 0,-2-1 1 0 0,-1 0-1 0 0,31-49 1 0 0,-41 57-1 0 0,0 0 1 0 0,-2-1-1 0 0,1 0 1 0 0,-2 0-1 0 0,0 0 1 0 0,-1-1 0 0 0,0 1-1 0 0,-1-1 1 0 0,-1 0-1 0 0,-1 0 1 0 0,0 0-1 0 0,-1-1 1 0 0,-1 1-1 0 0,0 0 1 0 0,-7-27-1 0 0,0 14-1 0 0,-2 1 0 0 0,-1 0 0 0 0,-1 0-1 0 0,-1 1 1 0 0,-2 1 0 0 0,0 1-1 0 0,-2 0 1 0 0,-1 0 0 0 0,-1 2 0 0 0,-29-29-1 0 0,-2 6 6 0 0,-2 2 0 0 0,-2 2 0 0 0,-86-52-1 0 0,47 39-14 0 0,-3 5 0 0 0,-2 4 0 0 0,-2 4 0 0 0,-1 4 0 0 0,-2 5 0 0 0,-1 4 0 0 0,-2 6 0 0 0,-182-19 0 0 0,238 39 10 0 0,-1 2-1 0 0,0 3 1 0 0,0 1 0 0 0,0 3 0 0 0,1 2 0 0 0,0 2 0 0 0,1 3 0 0 0,0 1 0 0 0,1 3 0 0 0,1 1 0 0 0,0 3 0 0 0,2 2 0 0 0,0 2-1 0 0,2 1 1 0 0,-41 34 0 0 0,17-6 26 0 0,3 4 0 0 0,-66 75 0 0 0,88-83-3 0 0,2 1 0 0 0,3 2 1 0 0,-48 89-1 0 0,59-90 31 0 0,2 1-1 0 0,-29 94 1 0 0,46-125-18 0 0,5-17-498 0 0,0 0-1 0 0,0 1 1 0 0,1-1-1 0 0,0 0 0 0 0,-2 11 1 0 0,3-15 277 0 0,1-1 0 0 0,-1 1 1 0 0,0 0-1 0 0,0-1 1 0 0,0 1-1 0 0,0 0 0 0 0,0-1 1 0 0,1 1-1 0 0,-1-1 0 0 0,0 1 1 0 0,0-1-1 0 0,1 1 1 0 0,-1 0-1 0 0,0-1 0 0 0,1 1 1 0 0,-1-1-1 0 0,1 1 0 0 0,-1-1 1 0 0,1 1-1 0 0</inkml:trace>
</inkml:ink>
</file>

<file path=ppt/ink/ink5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1T13:19:41.43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0 108 0 0,'61'2'727'0'0,"0"3"-1"0"0,74 15 1 0 0,116 38-352 0 0,-13 10-181 0 0,-3 10 1 0 0,-3 10-1 0 0,235 126 0 0 0,334 176 264 0 0,23-53 123 0 0,-686-289-460 0 0,200 81 128 0 0,-301-108-666 0 0,-36-19-42 0 0,-11 5-1147 0 0,8-5 819 0 0</inkml:trace>
</inkml:ink>
</file>

<file path=ppt/ink/ink5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1T13:19:41.80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05 476 0 0,'9'8'1207'0'0,"-1"-3"-991"0"0,0 0 1 0 0,0-1-1 0 0,1 0 0 0 0,-1-1 1 0 0,1 0-1 0 0,0 0 1 0 0,11 1-1 0 0,3 2-28 0 0,102 29 264 0 0,0-6-1 0 0,2-6 0 0 0,206 12 0 0 0,-284-34-91 0 0,-1-1 1 0 0,78-11-1 0 0,-111 9-277 0 0,0-1 0 0 0,0 0 0 0 0,0-1 0 0 0,-1-1 0 0 0,1-1 0 0 0,-1 0 1 0 0,0 0-1 0 0,-1-2 0 0 0,0 1 0 0 0,0-2 0 0 0,0 0 0 0 0,14-13 0 0 0,-23 18-72 0 0,-1-1 0 0 0,1 1 0 0 0,-1 0 0 0 0,1-1 0 0 0,-1 0 0 0 0,-1 0 0 0 0,1 0 0 0 0,-1 0 0 0 0,0 0 0 0 0,0 0 1 0 0,0-1-1 0 0,-1 1 0 0 0,1-1 0 0 0,-1 1 0 0 0,-1-1 0 0 0,1 1 0 0 0,-1-1 0 0 0,0 0 0 0 0,0 1 0 0 0,-1-1 0 0 0,0 1 0 0 0,0-1 0 0 0,0 1 0 0 0,0-1 0 0 0,-1 1 0 0 0,0 0 0 0 0,-4-8 0 0 0,0 2-13 0 0,0 0-1 0 0,0 0 0 0 0,-2 1 0 0 0,1 0 1 0 0,-1 1-1 0 0,-1-1 0 0 0,1 1 1 0 0,-2 1-1 0 0,1 0 0 0 0,-1 0 0 0 0,-15-8 1 0 0,-3 0-620 0 0,0 2 1 0 0,-1 0 0 0 0,0 2 0 0 0,-1 2-1 0 0,-38-9 1 0 0,16 7-1092 0 0</inkml:trace>
</inkml:ink>
</file>

<file path=ppt/ink/ink5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1T13:19:42.37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45 16 84 0 0,'-3'-1'410'0'0,"2"0"-371"0"0,-2-1 53 0 0,0 0 0 0 0,0 1 0 0 0,1-1-1 0 0,-1 1 1 0 0,0 0 0 0 0,0 0 0 0 0,0 0 0 0 0,0 0 0 0 0,0 0 0 0 0,-1 1 0 0 0,1 0 0 0 0,0-1 0 0 0,0 1 0 0 0,-6 1 0 0 0,5 1-43 0 0,-1 0 0 0 0,1 0 0 0 0,0 1 1 0 0,0-1-1 0 0,0 1 0 0 0,0 0 0 0 0,1 0 0 0 0,-1 1 0 0 0,1-1 0 0 0,-1 1 0 0 0,1-1 0 0 0,1 1 1 0 0,-1 0-1 0 0,0 0 0 0 0,1 1 0 0 0,0-1 0 0 0,0 0 0 0 0,0 1 0 0 0,-1 6 0 0 0,-19 83-1028 0 0,20-77 336 0 0</inkml:trace>
</inkml:ink>
</file>

<file path=ppt/ink/ink5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1T13:18:45.24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0 148 0 0,'2'13'993'0'0,"-1"-11"-946"0"0,0 0 0 0 0,0 1 0 0 0,1-1 0 0 0,-1 0 0 0 0,0 0 0 0 0,1 0 0 0 0,0 0 0 0 0,-1 0 0 0 0,1 0 0 0 0,0-1 0 0 0,0 1 0 0 0,0 0 0 0 0,0-1 0 0 0,0 0 0 0 0,0 1-1 0 0,0-1 1 0 0,1 0 0 0 0,-1 0 0 0 0,4 1 0 0 0,35 10 41 0 0,1-2 0 0 0,63 7 0 0 0,-15-3-100 0 0,1001 216-769 0 0,-692-144 801 0 0,142 3-209 0 0,-435-73 184 0 0,41 6 54 0 0,211 6 1 0 0,-304-28 48 0 0,83-13 1 0 0,-107 8-15 0 0,0-1 1 0 0,0-2-1 0 0,-1-1 0 0 0,33-15 1 0 0,-52 19-70 0 0,0 0-1 0 0,-1-1 1 0 0,0-1 0 0 0,-1 1 0 0 0,0-2-1 0 0,0 1 1 0 0,0-1 0 0 0,10-13 0 0 0,0-4 253 0 0,28-48 0 0 0,66-120 1170 0 0,-109 182-1804 0 0,-3 10 323 0 0,1 1 0 0 0,-1 0 0 0 0,0-1-1 0 0,0 1 1 0 0,0 0 0 0 0,0-1 0 0 0,0 1 0 0 0,0 0 0 0 0,0-1-1 0 0,-1 1 1 0 0,1 0 0 0 0,0 0 0 0 0,0-1 0 0 0,0 1 0 0 0,0 0 0 0 0,0-1-1 0 0,0 1 1 0 0,-1 0 0 0 0,1 0 0 0 0,0-1 0 0 0,0 1 0 0 0,0 0-1 0 0,-1 0 1 0 0,1-1 0 0 0,0 1 0 0 0,0 0 0 0 0,-1 0 0 0 0,1 0-1 0 0,0-1 1 0 0,0 1 0 0 0,-1 0 0 0 0,1 0 0 0 0,0 0 0 0 0,-1 0-1 0 0,1 0 1 0 0,0 0 0 0 0,0 0 0 0 0,-1-1 0 0 0,1 1 0 0 0,0 0 0 0 0,-1 0-1 0 0,0 0 1 0 0,-14 0-617 0 0</inkml:trace>
</inkml:ink>
</file>

<file path=ppt/ink/ink5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1T13:18:46.35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13 0 84 0 0,'-20'43'459'0'0,"2"1"-1"0"0,2 0 1 0 0,2 1-1 0 0,2 0 1 0 0,1 1 0 0 0,-7 92-1 0 0,15-54 791 0 0,3-83-1196 0 0,0 0 0 0 0,0 1 0 0 0,0-1 0 0 0,0 0 0 0 0,0 1-1 0 0,1-1 1 0 0,-1 0 0 0 0,1 0 0 0 0,-1 1 0 0 0,1-1 0 0 0,-1 0 0 0 0,1 0 0 0 0,0 0 0 0 0,-1 0 0 0 0,1 0 0 0 0,0 0-1 0 0,0 0 1 0 0,0 0 0 0 0,0 0 0 0 0,0 0 0 0 0,0 0 0 0 0,0 0 0 0 0,0-1 0 0 0,0 1 0 0 0,0 0 0 0 0,1-1-1 0 0,-1 1 1 0 0,1 0 0 0 0,4 0-8 0 0,-1 0 1 0 0,1 1-1 0 0,-1-2 0 0 0,11 2 0 0 0,-15-2-30 0 0,432 51 442 0 0,-368-41-425 0 0,366 63 74 0 0,-145-11-11 0 0,-206-45-80 0 0,128 12 0 0 0,-163-25-52 0 0,66 4-609 0 0,139 28 0 0 0,-248-35 453 0 0,0-1-53 0 0,0 0 0 0 0,0 1 0 0 0,0-1-1 0 0,0 1 1 0 0,1-1 0 0 0,-1 1 0 0 0,0 0-1 0 0,0 0 1 0 0,-1 0 0 0 0,4 2 0 0 0</inkml:trace>
</inkml:ink>
</file>

<file path=ppt/ink/ink5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1T13:19:44.62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302 1006 656 0 0,'-20'5'1453'0'0,"0"-1"1"0"0,-27 2-1 0 0,24-3-422 0 0,21-3-724 0 0,-2 1-62 0 0,-1-1-190 0 0,-13 2 373 0 0,15 2-258 0 0,9 3-169 0 0,2-2 15 0 0,0 0 0 0 0,0-1 1 0 0,0-1-1 0 0,0 1 0 0 0,10 1 0 0 0,6 4 11 0 0,404 124 124 0 0,-269-93-217 0 0,226 27 0 0 0,-283-57 19 0 0,1-5 1 0 0,0-4-1 0 0,142-16 0 0 0,15-26 3 0 0,-198 27 361 0 0,0-2-1 0 0,67-28 0 0 0,-121 41-250 0 0,1-1 0 0 0,-1 0-1 0 0,0-1 1 0 0,0 0 0 0 0,0 0-1 0 0,-1 0 1 0 0,0-1 0 0 0,11-11 0 0 0,-14 12-46 0 0,1-1 0 0 0,-1 1 0 0 0,-1-1 0 0 0,1 0 0 0 0,-1-1 0 0 0,0 1 0 0 0,0 0 0 0 0,-1-1 0 0 0,0 0 0 0 0,0 1 0 0 0,2-15 0 0 0,-2-3 17 0 0,-1 0 0 0 0,-1 0 0 0 0,-5-42 0 0 0,-20-73-110 0 0,17 97 89 0 0,5 26 2 0 0,-8-44 16 0 0,-3 0-1 0 0,-28-77 1 0 0,34 118-38 0 0,0 2 0 0 0,0-1-1 0 0,-2 1 1 0 0,0 0 0 0 0,-1 1 0 0 0,-1 1 0 0 0,0-1 0 0 0,-1 2 0 0 0,0 0-1 0 0,-1 0 1 0 0,-27-18 0 0 0,-5 3-62 0 0,-1 1 0 0 0,-1 3 0 0 0,-1 2 0 0 0,-1 2 0 0 0,-76-20 0 0 0,26 15-202 0 0,-199-22 0 0 0,164 38 180 0 0,0 6 1 0 0,-1 5-1 0 0,1 7 1 0 0,1 6-1 0 0,0 5 0 0 0,-173 48 1 0 0,222-41-20 0 0,-127 55 1 0 0,-70 57-36 0 0,159-70 130 0 0,4 5 1 0 0,-132 106-1 0 0,230-162 32 0 0,1 0 0 0 0,0 2 0 0 0,1 0 0 0 0,1 1 0 0 0,1 1 0 0 0,-20 31 0 0 0,32-44-11 0 0,0 1 0 0 0,1-1-1 0 0,0 1 1 0 0,0 0 0 0 0,1 0 0 0 0,0 0 0 0 0,1 1 0 0 0,0-1 0 0 0,0 0 0 0 0,1 1-1 0 0,1 0 1 0 0,-1-1 0 0 0,1 1 0 0 0,1-1 0 0 0,0 1 0 0 0,0-1 0 0 0,1 1 0 0 0,0-1-1 0 0,1 0 1 0 0,-1 1 0 0 0,6 9 0 0 0,3 0 13 0 0,0-1 0 0 0,1 0-1 0 0,0-1 1 0 0,2-1 0 0 0,0 0 0 0 0,0-1-1 0 0,2 0 1 0 0,0-1 0 0 0,0-1 0 0 0,1 0-1 0 0,1-1 1 0 0,22 10 0 0 0,9 3-5 0 0,1-3 0 0 0,1-1 0 0 0,80 20 0 0 0,-8-12-8 0 0,0-6 0 0 0,1-5 0 0 0,217 3-1 0 0,377-49 607 0 0,-165-20 284 0 0,-386 26-456 0 0,212-56-1 0 0,-321 62-381 0 0,0-4 0 0 0,-1-1 0 0 0,-1-4 1 0 0,91-53-1 0 0,-111 55-43 0 0,-1-2 1 0 0,-1-1-1 0 0,-1-1 1 0 0,-2-2-1 0 0,-1-1 0 0 0,-1-2 1 0 0,40-55-1 0 0,-60 73-11 0 0,0 0-1 0 0,-1 0 0 0 0,-1-1 0 0 0,0 0 1 0 0,-1 0-1 0 0,-1 0 0 0 0,6-27 1 0 0,-9 32-7 0 0,-1 0 0 0 0,0 0 1 0 0,-1 1-1 0 0,0-1 1 0 0,-1 0-1 0 0,0 0 1 0 0,0 0-1 0 0,-1 1 1 0 0,0-1-1 0 0,-1 0 1 0 0,0 1-1 0 0,-1 0 1 0 0,0 0-1 0 0,-5-9 1 0 0,-1 1-3 0 0,-1 1-1 0 0,-1 0 1 0 0,-1 1 0 0 0,0 0 0 0 0,-1 0 0 0 0,0 2 0 0 0,-29-22 0 0 0,7 11 5 0 0,-1 1-1 0 0,-59-27 1 0 0,19 17-174 0 0,-1 4 1 0 0,-2 3-1 0 0,0 4 1 0 0,-119-18-1 0 0,32 19-2216 0 0,-203 0 0 0 0,211 20-375 0 0</inkml:trace>
</inkml:ink>
</file>

<file path=ppt/ink/ink5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1T13:19:45.89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62 700 0 0,'0'0'590'0'0,"4"0"-82"0"0,259 2 1307 0 0,-100-4-1575 0 0,523 26 209 0 0,-221-5-325 0 0,-123-20 56 0 0,360-48-1 0 0,-435 11 1231 0 0,-166 23-1113 0 0,-97 14-416 0 0,9 2-859 0 0,-13-1 937 0 0,1 1-1 0 0,-1-1 0 0 0,0 0 1 0 0,0 0-1 0 0,0 0 1 0 0,0 0-1 0 0,0 0 0 0 0,0 0 1 0 0,0 1-1 0 0,0-1 1 0 0,1 0-1 0 0,-1 0 0 0 0,0 0 1 0 0,0 0-1 0 0,0 0 0 0 0,0 1 1 0 0,0-1-1 0 0,0 0 1 0 0,0 0-1 0 0,0 0 0 0 0,0 0 1 0 0,0 0-1 0 0,0 1 0 0 0,0-1 1 0 0,0 0-1 0 0,0 0 1 0 0,0 0-1 0 0,0 0 0 0 0,0 1 1 0 0,0-1-1 0 0,-1 0 1 0 0,1 0-1 0 0,0 0 0 0 0,0 0 1 0 0,0 0-1 0 0,0 0 0 0 0,0 1 1 0 0,0-1-1 0 0,0 0 1 0 0,0 0-1 0 0,0 0 0 0 0,-1 0 1 0 0,1 0-1 0 0,0 0 1 0 0,0 0-1 0 0,0 0 0 0 0,0 0 1 0 0,0 1-1 0 0,-1-1 0 0 0,1 0 1 0 0,0 0-1 0 0,0 0 1 0 0</inkml:trace>
</inkml:ink>
</file>

<file path=ppt/ink/ink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4:36.56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86 1824 0 0,'1'-9'718'0'0,"1"1"-1"0"0,0-1 1 0 0,1 1 0 0 0,-1 0-1 0 0,1 0 1 0 0,1 0 0 0 0,0 0-1 0 0,0 1 1 0 0,6-9 0 0 0,-9 15-677 0 0,-1 0 1 0 0,1 0 0 0 0,0 1-1 0 0,0-1 1 0 0,0 1 0 0 0,-1-1-1 0 0,1 0 1 0 0,0 1 0 0 0,0-1-1 0 0,0 1 1 0 0,0 0 0 0 0,0-1-1 0 0,0 1 1 0 0,0 0 0 0 0,0-1-1 0 0,0 1 1 0 0,0 0 0 0 0,0 0-1 0 0,0 0 1 0 0,0 0 0 0 0,0 0-1 0 0,0 0 1 0 0,0 0 0 0 0,0 1-1 0 0,0-1 1 0 0,0 0 0 0 0,0 0-1 0 0,0 1 1 0 0,0-1 0 0 0,0 1-1 0 0,0-1 1 0 0,0 1 0 0 0,0-1-1 0 0,-1 1 1 0 0,1-1-1 0 0,1 2 1 0 0,3 2 147 0 0,0 1 0 0 0,0-1 0 0 0,-1 1 0 0 0,6 6 0 0 0,-9-8-78 0 0,24 31 558 0 0,-3 1 1 0 0,30 59-1 0 0,2 6-238 0 0,-37-69-239 0 0,-14-24 586 0 0,1 0 0 0 0,0 0 0 0 0,0 0 1 0 0,1 0-1 0 0,0 0 0 0 0,6 6 0 0 0,-10-13-728 0 0,-1 0 0 0 0,1 0-1 0 0,-1 0 1 0 0,1 0 0 0 0,-1 0 0 0 0,1 0-1 0 0,-1 0 1 0 0,1-1 0 0 0,-1 1-1 0 0,1 0 1 0 0,-1 0 0 0 0,1 0-1 0 0,-1 0 1 0 0,0-1 0 0 0,1 1-1 0 0,-1 0 1 0 0,1 0 0 0 0,-1-1-1 0 0,0 1 1 0 0,1 0 0 0 0,-1-1-1 0 0,0 1 1 0 0,1 0 0 0 0,-1-1-1 0 0,0 1 1 0 0,1-1 0 0 0,-1 1-1 0 0,0 0 1 0 0,0-1 0 0 0,1 0-1 0 0,7-11 241 0 0,-8 12-282 0 0,7-17 178 0 0,-1 1 0 0 0,0-1 1 0 0,-1 0-1 0 0,3-26 0 0 0,3-6-210 0 0,3-11-677 0 0,-5 21-2103 0 0,14-40-1 0 0,-22 77 2509 0 0,0 1-1 0 0,-1-1 0 0 0,1 0 0 0 0,0 1 0 0 0,0-1 0 0 0,0 1 0 0 0,0-1 0 0 0,0 1 0 0 0,0-1 0 0 0,1 1 0 0 0,-1-1 0 0 0,0 1 0 0 0,1 0 1 0 0,-1 0-1 0 0,1 0 0 0 0,-1 0 0 0 0,1 0 0 0 0,-1 0 0 0 0,1 0 0 0 0,0 1 0 0 0,0-1 0 0 0,-1 0 0 0 0,1 1 0 0 0,0 0 0 0 0,0-1 0 0 0,0 1 1 0 0,-1 0-1 0 0,1 0 0 0 0,0 0 0 0 0,0 0 0 0 0,3 1 0 0 0,75 34-3372 0 0,-57-23 3932 0 0,1-1 1 0 0,0-1-1 0 0,34 9 0 0 0,-38-15 255 0 0,-1-1 0 0 0,1 0 0 0 0,0-2 0 0 0,0 0 0 0 0,32-3 0 0 0,-42 1-323 0 0,-1 0 0 0 0,0-1-1 0 0,0 0 1 0 0,0-1 0 0 0,-1 0-1 0 0,1 0 1 0 0,0-1 0 0 0,-1 0 0 0 0,0 0-1 0 0,0-1 1 0 0,0 0 0 0 0,-1 0-1 0 0,0-1 1 0 0,9-9 0 0 0,-14 13-128 0 0,0-1 0 0 0,0 1 1 0 0,0-1-1 0 0,0 0 0 0 0,-1 1 0 0 0,1-1 0 0 0,-1 0 1 0 0,0 0-1 0 0,0 0 0 0 0,0 0 0 0 0,0-1 0 0 0,-1 1 1 0 0,1 0-1 0 0,-1 0 0 0 0,0-6 0 0 0,0 8-51 0 0,0 0 0 0 0,-1 1 0 0 0,1-1 0 0 0,-1 0 0 0 0,1 0-1 0 0,-1 0 1 0 0,1 1 0 0 0,-1-1 0 0 0,1 0 0 0 0,-1 1 0 0 0,1-1-1 0 0,-1 0 1 0 0,0 1 0 0 0,1-1 0 0 0,-1 1 0 0 0,0-1 0 0 0,0 1 0 0 0,1-1-1 0 0,-1 1 1 0 0,0 0 0 0 0,0-1 0 0 0,-1 1 0 0 0,-18-7 400 0 0,19 7-349 0 0,-4-1 4 0 0,-1 0 0 0 0,0 1 0 0 0,0-1 1 0 0,0 1-1 0 0,0 1 0 0 0,0-1 0 0 0,0 1 0 0 0,1 0 1 0 0,-1 0-1 0 0,0 1 0 0 0,0-1 0 0 0,-5 4 0 0 0,2-1 13 0 0,1 0 0 0 0,-1 0 0 0 0,1 1-1 0 0,0 0 1 0 0,1 0 0 0 0,-12 11 0 0 0,15-13-55 0 0,1 1 0 0 0,0-1 0 0 0,1 1 1 0 0,-1-1-1 0 0,0 1 0 0 0,1 0 0 0 0,0 0 0 0 0,0 1 0 0 0,0-1 1 0 0,1 0-1 0 0,-1 0 0 0 0,1 1 0 0 0,0-1 0 0 0,0 1 1 0 0,1-1-1 0 0,-1 1 0 0 0,1-1 0 0 0,0 1 0 0 0,0 0 0 0 0,1-1 1 0 0,-1 1-1 0 0,1-1 0 0 0,0 1 0 0 0,0-1 0 0 0,0 1 0 0 0,1-1 1 0 0,3 7-1 0 0,-2-5-63 0 0,0 0 0 0 0,1 0 0 0 0,-1 0-1 0 0,1-1 1 0 0,1 0 0 0 0,-1 1 0 0 0,1-1 0 0 0,0-1 0 0 0,0 1 0 0 0,0-1 0 0 0,1 0 0 0 0,-1 0 0 0 0,1 0 0 0 0,0-1-1 0 0,0 0 1 0 0,0 0 0 0 0,11 3 0 0 0,-14-6-83 0 0,1 0 0 0 0,0 1-1 0 0,0-1 1 0 0,-1-1 0 0 0,1 1 0 0 0,0-1-1 0 0,-1 1 1 0 0,1-1 0 0 0,-1 0 0 0 0,1 0-1 0 0,-1-1 1 0 0,1 1 0 0 0,-1-1 0 0 0,4-2-1 0 0,4-2-249 0 0,0-1 0 0 0,16-13-1 0 0,0-4-36 0 0,-9 7 384 0 0,1 1-1 0 0,0 1 1 0 0,1 1-1 0 0,0 1 0 0 0,43-21 1 0 0,-61 33 53 0 0,1 1 1 0 0,-1-1-1 0 0,0 1 0 0 0,1-1 1 0 0,-1 1-1 0 0,1 0 1 0 0,-1 0-1 0 0,1 0 0 0 0,-1 0 1 0 0,1 0-1 0 0,-1 1 1 0 0,1-1-1 0 0,-1 1 0 0 0,1-1 1 0 0,-1 1-1 0 0,0 0 1 0 0,1 0-1 0 0,-1 0 0 0 0,0 0 1 0 0,0 1-1 0 0,0-1 0 0 0,0 1 1 0 0,0-1-1 0 0,0 1 1 0 0,0 0-1 0 0,0-1 0 0 0,2 4 1 0 0,-1-1 45 0 0,0 1 1 0 0,1-1 0 0 0,-1 1-1 0 0,-1 0 1 0 0,1 0-1 0 0,-1 0 1 0 0,0 0-1 0 0,0 0 1 0 0,0 1 0 0 0,1 10-1 0 0,-2-8 187 0 0,0 1 1 0 0,-1 0-1 0 0,-1 0 0 0 0,1 0 0 0 0,-2 0 1 0 0,1 0-1 0 0,-1-1 0 0 0,0 1 0 0 0,-1 0 1 0 0,0-1-1 0 0,-7 14 0 0 0,10-21-210 0 0,0-1 1 0 0,-1 1-1 0 0,1 0 1 0 0,0 0-1 0 0,-1-1 1 0 0,1 1-1 0 0,-1-1 0 0 0,1 1 1 0 0,-1 0-1 0 0,1-1 1 0 0,-1 1-1 0 0,1-1 1 0 0,-1 1-1 0 0,1-1 0 0 0,-1 1 1 0 0,0-1-1 0 0,1 0 1 0 0,-1 1-1 0 0,0-1 0 0 0,1 0 1 0 0,-1 1-1 0 0,0-1 1 0 0,1 0-1 0 0,-1 0 1 0 0,0 0-1 0 0,0 1 0 0 0,1-1 1 0 0,-1 0-1 0 0,0 0 1 0 0,0 0-1 0 0,1 0 0 0 0,-1-1 1 0 0,0 1-1 0 0,0 0 1 0 0,1 0-1 0 0,-1 0 1 0 0,0 0-1 0 0,1-1 0 0 0,-1 1 1 0 0,0 0-1 0 0,0-1 1 0 0,1 1-1 0 0,-1-1 0 0 0,0 0-35 0 0,0 0-1 0 0,0 0 0 0 0,0 0 0 0 0,1 0 0 0 0,-1 0 0 0 0,0-1 0 0 0,1 1 1 0 0,-1 0-1 0 0,1 0 0 0 0,-1 0 0 0 0,1-1 0 0 0,0 1 0 0 0,0 0 0 0 0,-1-1 1 0 0,1 1-1 0 0,0 0 0 0 0,0 0 0 0 0,0-1 0 0 0,0 1 0 0 0,1 0 0 0 0,-1-1 1 0 0,1-1-1 0 0,2-6 11 0 0,2 1 1 0 0,-1-1-1 0 0,1 1 1 0 0,0 0-1 0 0,1 1 1 0 0,0-1 0 0 0,0 1-1 0 0,0 0 1 0 0,13-9-1 0 0,10-8-54 0 0,34-20-1 0 0,-52 36-6 0 0,47-26-351 0 0,2 2 0 0 0,1 2 1 0 0,71-22-1 0 0,-113 48 268 0 0,-16 3 76 0 0,3 4 4 0 0,-6-4 31 0 0,0 1 1 0 0,1 0 0 0 0,-1 0 0 0 0,0 0 0 0 0,1 0 0 0 0,-1 1-1 0 0,0-1 1 0 0,1 0 0 0 0,-1 0 0 0 0,1 0 0 0 0,-1 0-1 0 0,0 0 1 0 0,1 0 0 0 0,-1 0 0 0 0,0 1 0 0 0,1-1-1 0 0,-1 0 1 0 0,0 0 0 0 0,0 1 0 0 0,1-1 0 0 0,-1 0-1 0 0,0 0 1 0 0,0 1 0 0 0,1-1 0 0 0,-1 0 0 0 0,0 1 0 0 0,1 5-8 0 0,0 0 0 0 0,-1 0 0 0 0,1 0 0 0 0,-2 0 0 0 0,0 9 0 0 0,0-10 20 0 0,1-1-1 0 0,-1 1 1 0 0,1-1 0 0 0,0 1 0 0 0,0-1 0 0 0,1 1 0 0 0,-1 0-1 0 0,1-1 1 0 0,0 1 0 0 0,3 7 0 0 0,-1-6 16 0 0,1 1 0 0 0,-1 0-1 0 0,1-1 1 0 0,0 0 0 0 0,1 0 0 0 0,0 0 0 0 0,0-1 0 0 0,0 1 0 0 0,0-1 0 0 0,1-1-1 0 0,0 1 1 0 0,0-1 0 0 0,0 0 0 0 0,1 0 0 0 0,-1 0 0 0 0,1-1 0 0 0,0 0-1 0 0,0-1 1 0 0,0 1 0 0 0,12 1 0 0 0,-10-2-104 0 0,0-1-1 0 0,-1-1 1 0 0,1 0-1 0 0,0 0 1 0 0,0 0-1 0 0,0-1 1 0 0,0-1-1 0 0,0 1 1 0 0,0-1-1 0 0,-1-1 1 0 0,1 0-1 0 0,-1 0 1 0 0,1-1 0 0 0,-1 0-1 0 0,0 0 1 0 0,12-10-1 0 0,33-29-459 0 0,13-9-27 0 0,-65 51 557 0 0,-1 0-1 0 0,1 1 1 0 0,0-1 0 0 0,0 1-1 0 0,0-1 1 0 0,0 1-1 0 0,0-1 1 0 0,0 1-1 0 0,0 0 1 0 0,0 0-1 0 0,0-1 1 0 0,0 1-1 0 0,0 0 1 0 0,0 0-1 0 0,0 0 1 0 0,1 0 0 0 0,-1 0-1 0 0,0 0 1 0 0,0 1-1 0 0,0-1 1 0 0,0 0-1 0 0,0 0 1 0 0,0 1-1 0 0,0-1 1 0 0,0 1-1 0 0,0-1 1 0 0,0 1-1 0 0,0-1 1 0 0,-1 1 0 0 0,1-1-1 0 0,0 1 1 0 0,0 0-1 0 0,0 0 1 0 0,-1-1-1 0 0,1 1 1 0 0,0 0-1 0 0,-1 0 1 0 0,1 0-1 0 0,-1 0 1 0 0,1 0-1 0 0,-1 0 1 0 0,1 0 0 0 0,0 1-1 0 0,2 7 62 0 0,1 0 1 0 0,-1 0-1 0 0,4 18 0 0 0,-4-15 123 0 0,5 25 108 0 0,-1 0 0 0 0,-2 0-1 0 0,-1 1 1 0 0,-2-1 0 0 0,-4 60 0 0 0,1-86-238 0 0,-1 1 1 0 0,0 0 0 0 0,-1 0 0 0 0,0-1 0 0 0,0 0 0 0 0,-1 1 0 0 0,-1-1 0 0 0,0-1 0 0 0,-1 1 0 0 0,0-1-1 0 0,0 0 1 0 0,-14 16 0 0 0,14-20-26 0 0,0 0 0 0 0,0 0-1 0 0,-1 0 1 0 0,1-1 0 0 0,-1 0 0 0 0,-1-1-1 0 0,1 1 1 0 0,-1-1 0 0 0,0-1-1 0 0,0 0 1 0 0,0 0 0 0 0,0 0 0 0 0,0-1-1 0 0,-1 0 1 0 0,1-1 0 0 0,0 1 0 0 0,-1-2-1 0 0,-12 0 1 0 0,10 0-7 0 0,0-2 1 0 0,1 1-1 0 0,-1-1 1 0 0,0-1-1 0 0,1 0 0 0 0,-1 0 1 0 0,1-1-1 0 0,0-1 1 0 0,1 0-1 0 0,-1 0 0 0 0,1 0 1 0 0,0-2-1 0 0,0 1 1 0 0,0-1-1 0 0,1 0 1 0 0,-7-8-1 0 0,9 8-29 0 0,0 1 1 0 0,1-1-1 0 0,0 0 0 0 0,0 0 1 0 0,1-1-1 0 0,0 1 1 0 0,0-1-1 0 0,1 0 0 0 0,0 0 1 0 0,0 0-1 0 0,1 0 1 0 0,0-1-1 0 0,1 1 0 0 0,-1-1 1 0 0,2 1-1 0 0,-1-1 0 0 0,1 1 1 0 0,1-1-1 0 0,-1 0 1 0 0,4-14-1 0 0,-2 14-239 0 0,1-1 1 0 0,1 1-1 0 0,-1 0 0 0 0,1 0 1 0 0,1 0-1 0 0,0 1 0 0 0,0 0 1 0 0,0-1-1 0 0,1 2 0 0 0,1-1 1 0 0,-1 1-1 0 0,14-12 0 0 0,-13 13-625 0 0,1 1-1 0 0,-1 0 0 0 0,1 0 1 0 0,0 1-1 0 0,0 0 1 0 0,1 1-1 0 0,-1-1 0 0 0,15-2 1 0 0,-4 3-3247 0 0</inkml:trace>
</inkml:ink>
</file>

<file path=ppt/ink/ink5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1T13:19:46.27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3 64 1168 0 0,'-23'7'2572'0'0,"51"-10"-1510"0"0,1 0-784 0 0,1252-40 1747 0 0,-575 29-1545 0 0,-669 10-565 0 0,14 1-4113 0 0</inkml:trace>
</inkml:ink>
</file>

<file path=ppt/ink/ink5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1T13:19:46.73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00 0 392 0 0,'-14'7'316'0'0,"1"0"0"0"0,0 0 0 0 0,0 1 0 0 0,1 1 0 0 0,0 0 1 0 0,1 1-1 0 0,0 0 0 0 0,1 1 0 0 0,0 0 0 0 0,0 1 0 0 0,1 0 0 0 0,1 0 0 0 0,-11 21 0 0 0,13-21-253 0 0,0 0-1 0 0,2 1 0 0 0,-1 0 1 0 0,2-1-1 0 0,0 1 0 0 0,0 1 1 0 0,1-1-1 0 0,1 0 0 0 0,0 0 1 0 0,1 1-1 0 0,0-1 0 0 0,1 0 1 0 0,0 1-1 0 0,2-1 0 0 0,4 17 1 0 0,1-7 1 0 0,0-1 0 0 0,2-1 0 0 0,1 1 0 0 0,1-2 0 0 0,0 0 1 0 0,2 0-1 0 0,0-1 0 0 0,1-1 0 0 0,1 0 0 0 0,1-1 1 0 0,0-1-1 0 0,21 15 0 0 0,5 0-61 0 0,1-1 0 0 0,1-2 1 0 0,2-3-1 0 0,64 26 0 0 0,-69-34-934 0 0,1-3-1 0 0,81 18 1 0 0,-52-21-536 0 0</inkml:trace>
</inkml:ink>
</file>

<file path=ppt/ink/ink5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1T13:19:47.12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56 1 152 0 0,'24'10'642'0'0,"-1"1"0"0"0,0 2 0 0 0,37 26 0 0 0,-46-28-452 0 0,-1 1 1 0 0,0 0 0 0 0,-1 1 0 0 0,0 0 0 0 0,-1 0 0 0 0,13 23 0 0 0,-16-24-132 0 0,-2 1 0 0 0,0-1 0 0 0,0 1 0 0 0,-2 0 1 0 0,1 1-1 0 0,-2-1 0 0 0,1 1 0 0 0,-2-1 0 0 0,0 1 0 0 0,-1 0 1 0 0,0 0-1 0 0,-1 0 0 0 0,0 0 0 0 0,-1 0 0 0 0,-1 0 0 0 0,-1 0 1 0 0,1 0-1 0 0,-2-1 0 0 0,0 0 0 0 0,-1 1 0 0 0,-6 12 0 0 0,-3 1-27 0 0,0-1 0 0 0,-2-1-1 0 0,0-1 1 0 0,-2 0-1 0 0,-1-1 1 0 0,-1-1-1 0 0,0-1 1 0 0,-2-1 0 0 0,-25 18-1 0 0,11-11-692 0 0,-2-3-1 0 0,-2-1 1 0 0,-79 34 0 0 0,57-32 37 0 0</inkml:trace>
</inkml:ink>
</file>

<file path=ppt/ink/ink5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1T13:19:38.70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93 63 444 0 0,'0'0'782'0'0,"0"-11"1062"0"0,-8-30-176 0 0,8 39-1598 0 0,-13-4 22 0 0,-3 5-74 0 0,0 0 0 0 0,0 0 0 0 0,-1 2 0 0 0,-17 2 0 0 0,-12 0 3 0 0,-379 25-56 0 0,402-26-2 0 0,0 1 0 0 0,1 1 0 0 0,-40 12 0 0 0,56-13 40 0 0,0-1 0 0 0,-1 1 0 0 0,1 1 0 0 0,0-1 0 0 0,0 1 0 0 0,1 0 0 0 0,-1 0 0 0 0,1 1 0 0 0,0 0 0 0 0,0 0 0 0 0,1 0 0 0 0,-1 0 0 0 0,1 1 0 0 0,0-1 0 0 0,0 1 0 0 0,-4 12 0 0 0,-1 3 110 0 0,1 2 0 0 0,2-1 0 0 0,0 1 0 0 0,1-1 0 0 0,-1 27 0 0 0,-1 120 140 0 0,5-100-86 0 0,-25 294 1387 0 0,25-352-1514 0 0,1 1 0 0 0,1-1-1 0 0,0 1 1 0 0,0-1 0 0 0,1 1-1 0 0,4 17 1 0 0,-4-25-24 0 0,1 0 0 0 0,-1 0 1 0 0,1 0-1 0 0,0 0 0 0 0,0 0 0 0 0,0 0 0 0 0,1-1 1 0 0,-1 1-1 0 0,1-1 0 0 0,0 1 0 0 0,0-1 1 0 0,0 0-1 0 0,0 0 0 0 0,1 0 0 0 0,-1-1 0 0 0,1 1 1 0 0,0-1-1 0 0,-1 0 0 0 0,1 0 0 0 0,5 2 0 0 0,8 2-95 0 0,1 0-1 0 0,0-1 1 0 0,1-1-1 0 0,-1-1 0 0 0,28 2 1 0 0,-22-4-1628 0 0,45-4 0 0 0,-37-1-147 0 0</inkml:trace>
</inkml:ink>
</file>

<file path=ppt/ink/ink5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1T13:19:39.30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25 37 584 0 0,'49'-11'715'0'0,"1"2"0"0"0,70-3-1 0 0,102 8-268 0 0,-189 4-360 0 0,356 16 546 0 0,-382-16-536 0 0,1 1-1 0 0,-1 0 1 0 0,0 1-1 0 0,0 0 0 0 0,0 0 1 0 0,-1 0-1 0 0,1 1 1 0 0,0 0-1 0 0,-1 0 1 0 0,0 1-1 0 0,0 0 0 0 0,0 0 1 0 0,0 0-1 0 0,-1 1 1 0 0,1 0-1 0 0,-1 0 0 0 0,0 0 1 0 0,-1 0-1 0 0,1 1 1 0 0,-1 0-1 0 0,0 0 1 0 0,0 0-1 0 0,-1 1 0 0 0,0-1 1 0 0,3 9-1 0 0,4 15 78 0 0,0 0-1 0 0,-2 0 0 0 0,-2 1 1 0 0,-1 0-1 0 0,2 36 0 0 0,-5 162 843 0 0,-4-118-496 0 0,2-103-464 0 0,0 66 422 0 0,-15 126 1 0 0,12-178-425 0 0,-1-2 0 0 0,-1 1 0 0 0,-1 0 0 0 0,-1-1 1 0 0,0 0-1 0 0,-1-1 0 0 0,-2 0 0 0 0,0 0 0 0 0,-1-1 0 0 0,-24 32 1 0 0,26-41 56 0 0,1 0 0 0 0,-2-1 1 0 0,1 0-1 0 0,-1 0 0 0 0,0-1 1 0 0,-1 0-1 0 0,1-1 1 0 0,-2 0-1 0 0,1-1 0 0 0,0 0 1 0 0,-1-1-1 0 0,0 0 0 0 0,-23 3 1 0 0,10-3-26 0 0,-1-2 1 0 0,0-1-1 0 0,1-2 1 0 0,-1 0-1 0 0,-43-8 1 0 0,-291-81 549 0 0,212 48-2321 0 0,0 7-4212 0 0,112 29 2657 0 0</inkml:trace>
</inkml:ink>
</file>

<file path=ppt/ink/ink5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1T13:19:48.99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29 380 0 0,'0'0'120'0'0,"1"1"-1"0"0,0-1 1 0 0,-1 1-1 0 0,1-1 1 0 0,0 0-1 0 0,0 1 1 0 0,-1-1-1 0 0,1 0 1 0 0,0 1-1 0 0,0-1 1 0 0,-1 0-1 0 0,1 0 1 0 0,0 0-1 0 0,0 0 1 0 0,1 0-1 0 0,84-14 1100 0 0,89-3 0 0 0,-123 16-1806 0 0,0 1 0 0 0,0 3 0 0 0,56 11 0 0 0,-80-9-207 0 0</inkml:trace>
</inkml:ink>
</file>

<file path=ppt/ink/ink5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1T13:19:49.37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7 0 444 0 0,'-64'32'3412'0'0,"62"-31"-2943"0"0,4 0-447 0 0,0 0 0 0 0,1 0 0 0 0,-1-1 0 0 0,0 1 0 0 0,1-1 1 0 0,-1 1-1 0 0,0-1 0 0 0,1 0 0 0 0,-1 0 0 0 0,1 0 0 0 0,-1 0 0 0 0,1 0 0 0 0,-1 0 0 0 0,0-1 0 0 0,3 0 0 0 0,15-2 30 0 0,-16 3-40 0 0,168-15-2382 0 0,-144 10 1582 0 0</inkml:trace>
</inkml:ink>
</file>

<file path=ppt/ink/ink5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1T13:19:50.31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113 269 96 0 0,'0'-4'109'0'0,"-1"-1"0"0"0,1 0 1 0 0,-1 1-1 0 0,0-1 0 0 0,0 1 0 0 0,0-1 1 0 0,-1 1-1 0 0,0 0 0 0 0,1 0 0 0 0,-1 0 0 0 0,-1-1 1 0 0,-2-3-1 0 0,0 2-60 0 0,0-1 0 0 0,-1 1 1 0 0,0 0-1 0 0,0 0 0 0 0,-1 1 0 0 0,-7-6 0 0 0,-8-2-47 0 0,0 0-1 0 0,-1 2 0 0 0,-34-13 1 0 0,-9 1 156 0 0,0 2 0 0 0,-2 3 0 0 0,-109-15 0 0 0,158 31-135 0 0,0 0-1 0 0,-1 2 1 0 0,1 0-1 0 0,0 1 0 0 0,0 1 1 0 0,0 1-1 0 0,0 0 1 0 0,0 1-1 0 0,1 2 0 0 0,-1 0 1 0 0,1 0-1 0 0,1 2 1 0 0,-1 0-1 0 0,1 1 1 0 0,1 1-1 0 0,0 1 0 0 0,0 0 1 0 0,1 1-1 0 0,0 0 1 0 0,1 2-1 0 0,-23 27 1 0 0,22-20 26 0 0,1 1-1 0 0,1 0 1 0 0,1 0 0 0 0,1 1 0 0 0,1 1 0 0 0,1 0 0 0 0,-11 49 0 0 0,9-13 72 0 0,2 1 0 0 0,-1 71 0 0 0,10-104 3 0 0,1 0 0 0 0,1 0-1 0 0,1-1 1 0 0,2 1-1 0 0,1-1 1 0 0,13 40 0 0 0,-15-57-62 0 0,1 1 0 0 0,0-1 0 0 0,1 0 0 0 0,0 0 0 0 0,0-1 0 0 0,14 16 0 0 0,-6-9 12 0 0,2-1 0 0 0,27 22-1 0 0,-23-23-48 0 0,0-1 0 0 0,1-1 0 0 0,0-1 0 0 0,0 0 0 0 0,1-2 0 0 0,1 0 0 0 0,30 6 1 0 0,-22-8 17 0 0,1-1 0 0 0,-1-2 0 0 0,1-2 0 0 0,0-1 0 0 0,33-2 0 0 0,-19-4 53 0 0,0-1-1 0 0,-1-3 1 0 0,0-2-1 0 0,-1-1 1 0 0,0-2-1 0 0,0-3 0 0 0,70-37 1 0 0,-87 38 73 0 0,0-1 0 0 0,-2-1 1 0 0,0-1-1 0 0,-1-1 0 0 0,0-2 0 0 0,33-40 0 0 0,-40 41-131 0 0,-2 0 0 0 0,0-1 0 0 0,-1-1 0 0 0,-1 0 0 0 0,-2-1 0 0 0,0 0 0 0 0,-1-1 0 0 0,8-33-1 0 0,-15 41-20 0 0,0 0-1 0 0,-1 1 0 0 0,0-1 1 0 0,-1 0-1 0 0,-1 0 0 0 0,-1 0 1 0 0,-1 0-1 0 0,0 0 0 0 0,-1 1 0 0 0,-1-1 1 0 0,0 1-1 0 0,-1 0 0 0 0,-1 0 1 0 0,0 0-1 0 0,-10-15 0 0 0,7 15-47 0 0,-2 0-1 0 0,1 1 1 0 0,-2 0-1 0 0,0 0 0 0 0,-1 2 1 0 0,-1-1-1 0 0,0 2 1 0 0,0 0-1 0 0,-1 0 0 0 0,-1 1 1 0 0,0 1-1 0 0,0 1 1 0 0,-22-9-1 0 0,19 10-460 0 0,0 2 1 0 0,0 0-1 0 0,0 1 0 0 0,-1 0 0 0 0,1 2 1 0 0,-1 1-1 0 0,-37-1 0 0 0,25 5-1004 0 0</inkml:trace>
</inkml:ink>
</file>

<file path=ppt/ink/ink5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1T13:19:52.83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150 200 0 0,'143'38'358'0'0,"2"-8"0"0"0,1-5 1 0 0,1-7-1 0 0,193-1 0 0 0,-139-24-108 0 0,362-59 0 0 0,186-115 50 0 0,-605 135-277 0 0,181-83 1 0 0,-237 86-105 0 0,-2-3 0 0 0,-2-4 1 0 0,83-66-1 0 0,-92 56-180 0 0,-4-3-1 0 0,-2-4 1 0 0,-3-2 0 0 0,-3-3 0 0 0,64-96-1 0 0,-64 73-85 0 0</inkml:trace>
</inkml:ink>
</file>

<file path=ppt/ink/ink5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1T13:19:53.22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57 2247 328 0 0,'20'-113'44'0'0,"-2"-10"-16"0"0,-2-8 16 0 0,-6-2-116 0 0,-4-2 108 0 0,-4-4 128 0 0,-10 1-64 0 0,-6-3-16 0 0,-16-21-32 0 0,-12 6 28 0 0,-10 10 0 0 0,-12 7-140 0 0,-10 15 148 0 0,-6 7-136 0 0,-10 11 8 0 0,-6 9 116 0 0,10 23-416 0 0,-6 2 116 0 0</inkml:trace>
</inkml:ink>
</file>

<file path=ppt/ink/ink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4:37.80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71 35 932 0 0,'-21'6'797'0'0,"0"1"0"0"0,1 1 0 0 0,0 0-1 0 0,0 2 1 0 0,1 0 0 0 0,-35 25 0 0 0,36-22-454 0 0,0 2 1 0 0,1 0-1 0 0,1 1 0 0 0,0 0 0 0 0,1 1 0 0 0,1 1 1 0 0,1 0-1 0 0,0 1 0 0 0,2 1 0 0 0,0-1 1 0 0,-9 24-1 0 0,17-34-258 0 0,0 0 0 0 0,1 0 0 0 0,0-1-1 0 0,0 1 1 0 0,1 0 0 0 0,1 1 0 0 0,-1-1 0 0 0,1 0 0 0 0,1 0 0 0 0,-1 0-1 0 0,2 0 1 0 0,-1 0 0 0 0,1 0 0 0 0,6 15 0 0 0,-3-12-16 0 0,1-1 1 0 0,0 0-1 0 0,0 0 0 0 0,1 0 1 0 0,1 0-1 0 0,0-1 1 0 0,0-1-1 0 0,1 1 0 0 0,18 14 1 0 0,-14-13-70 0 0,1-1 0 0 0,0-1 0 0 0,0 0 1 0 0,0-1-1 0 0,1-1 0 0 0,1 0 0 0 0,-1-1 0 0 0,1-1 1 0 0,0 0-1 0 0,0-1 0 0 0,1-1 0 0 0,-1 0 0 0 0,1-1 1 0 0,-1-1-1 0 0,1-1 0 0 0,27-2 0 0 0,-33-1-156 0 0,1 1 0 0 0,-1-2 0 0 0,1 1 0 0 0,-1-2-1 0 0,0 1 1 0 0,-1-2 0 0 0,1 1 0 0 0,16-13 0 0 0,-13 7-122 0 0,-1-1 0 0 0,0 0-1 0 0,0-1 1 0 0,-2 0 0 0 0,13-17 0 0 0,4-15-442 0 0,-1-1 0 0 0,38-93 0 0 0,-64 137 716 0 0,133-323 3388 0 0,-134 325-3367 0 0,0-1 1 0 0,0 1-1 0 0,0-1 0 0 0,0 1 0 0 0,0 0 1 0 0,0-1-1 0 0,0 1 0 0 0,0 0 0 0 0,1-1 1 0 0,-1 1-1 0 0,0 0 0 0 0,0-1 1 0 0,0 1-1 0 0,1 0 0 0 0,-1 0 0 0 0,0-1 1 0 0,0 1-1 0 0,1 0 0 0 0,-1 0 1 0 0,0-1-1 0 0,1 1 0 0 0,-1 0 0 0 0,0 0 1 0 0,1 0-1 0 0,-1 0 0 0 0,0-1 0 0 0,1 1 1 0 0,0 0-1 0 0,2 9 204 0 0,-1 15-57 0 0,-8 399 424 0 0,6-419-692 0 0,0 14-561 0 0,5 36 0 0 0,-5-50 274 0 0,1 0 0 0 0,0 0 0 0 0,0 0 0 0 0,0 1 0 0 0,1-1 0 0 0,-1 0 0 0 0,1 0 0 0 0,0-1 0 0 0,0 1 0 0 0,0 0 0 0 0,1-1 0 0 0,-1 1 0 0 0,1-1 0 0 0,4 4 0 0 0,4 0-2125 0 0</inkml:trace>
</inkml:ink>
</file>

<file path=ppt/ink/ink5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1T13:19:53.89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88 922 164 0 0,'18'-63'376'0'0,"-10"-5"-44"0"0,-10-4-88 0 0,-8-9-56 0 0,-14-13-48 0 0,-10-5-84 0 0,-10-2-268 0 0,-8-1 64 0 0,-20-19-244 0 0,-4 0 136 0 0</inkml:trace>
</inkml:ink>
</file>

<file path=ppt/ink/ink5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1T13:19:57.66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9 0 488 0 0,'0'0'3208'0'0,"-8"8"-3304"0"0,14 1-508 0 0,10 3-984 0 0</inkml:trace>
</inkml:ink>
</file>

<file path=ppt/ink/ink5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1T13:19:59.83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06 94 80 0 0,'-95'-74'4814'0'0,"84"63"-4538"0"0,12 6-149 0 0,18 2-88 0 0,-13 3-31 0 0,48-1 26 0 0,83 10-1 0 0,-82-4-28 0 0,525 50-22 0 0,3 1-1 0 0,-454-45 24 0 0,-16 1 68 0 0,154-5 0 0 0,-260-8-235 0 0,15 0 439 0 0,-18 2-875 0 0,-11 3-1219 0 0,-5 0 981 0 0</inkml:trace>
</inkml:ink>
</file>

<file path=ppt/ink/ink573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767" units="cm"/>
          <inkml:channel name="Y" type="integer" max="32767" units="cm"/>
          <inkml:channel name="F" type="integer" max="8191" units="dev"/>
          <inkml:channel name="T" type="integer" max="2.14748E9" units="dev"/>
        </inkml:traceFormat>
        <inkml:channelProperties>
          <inkml:channelProperty channel="X" name="resolution" value="1290.03943" units="1/cm"/>
          <inkml:channelProperty channel="Y" name="resolution" value="2064.71338" units="1/cm"/>
          <inkml:channelProperty channel="F" name="resolution" value="0" units="1/dev"/>
          <inkml:channelProperty channel="T" name="resolution" value="1" units="1/dev"/>
        </inkml:channelProperties>
      </inkml:inkSource>
      <inkml:timestamp xml:id="ts0" timeString="2021-12-11T13:26:20.275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26302 4670 152 0,'0'0'223'0,"0"0"-47"16,0 0-13-16,0 0-15 0,0 0-5 0,0 0-2 15,0 0-14-15,0 0-14 0,0 0-9 0,0 0-15 16,0 0-18-16,0 0-17 0,0 0-15 0,0 0-7 16,0 0-12-16,0 0-6 0,0 0-3 15,0 0-4-15,0 0-5 0,0 0 4 0,0 0-5 0,0 0-1 16,0 0 0-16,0 0 9 0,0 0 6 0,0 0 7 15,0 0 5-15,0 0 7 0,0 0 5 0,0 0 1 16,0 0 3-16,0 0 1 0,0 0-7 0,0 0 0 16,0 0-4-16,0 0-5 0,0 0-8 0,0 0 2 15,0 0-12-15,0 0 0 0,0 0-1 0,0 0-6 16,0 0-3-16,0 0-3 0,0 0-5 0,0 0-2 16,0 0 1-16,0 0-7 0,0 0 6 0,0 0 10 15,-2 8-4-15,2-8-3 0,-3 11 9 0,0-1-5 16,1 0-1-16,-1 2 4 0,-2 2-10 0,0 2 7 15,1 2 4-15,-1 1 2 0,1 3-1 0,-2-2 1 16,0 2-4-16,1 0 1 0,-1 0 5 0,1 1 3 16,-1-1-7-16,-1 0-3 0,1 1 6 0,1-3 1 15,0 1-3-15,-2 0-22 0,2-1 31 0,0-3-27 16,0 0 30-16,1-1-25 0,-1-2 29 16,1 2-31-16,-1-3 24 0,3 0-24 0,-1-2 25 0,-1-1-26 15,0-1 28-15,3 1-27 0,-1-3 31 16,0 0-24-16,0 0 33 0,2-7 26 0,-3 10 31 0,3-10 19 15,-4 8 0-15,4-8-6 0,0 0-31 0,-4 4-2 16,4-4-26-16,0 0 11 0,-2-7-24 0,2 7 4 16,-1-13-20-16,1 5-1 0,1-3 0 0,-1-4 7 15,1 0-15-15,2-5-6 0,1-2 10 0,1-3-15 16,1-7-14-16,2-1 0 0,1-7 8 0,1 1-6 16,0-2 5-16,4 1 8 0,-1 1 0 0,2 2-5 15,-2 4 7-15,0 4-5 0,-3 4 6 0,4-1-2 16,0 5 1-16,-2 3 7 0,2 0-13 0,-1 2-1 15,2 3 6-15,-1 3-8 0,1 2 9 0,-2 2-4 16,4 4 38-16,-3 3-4 0,5 1-7 0,0 7 5 16,-1 1 7-16,1 7 4 0,0 2-3 0,-1 3 7 15,3 8-5-15,-2-2-4 0,-1 3-4 0,-3-1-6 16,-2-3-4-16,0 2 7 0,-3 1-8 0,1-1 3 16,0 0-3-16,-2 0 13 0,-2-3-16 15,2 2 15-15,-2 0-17 0,-1-4 11 0,-1 1-13 0,0-3 18 16,0-1-19-16,0 1 10 0,-1-2-11 0,0-2 17 15,0-1-28-15,-1-1-36 0,-1-1-43 0,1-4-72 16,0 0-18-16,-1-2-37 0,-1-1-117 0,-1-8-378 16,-1 5-215-16</inkml:trace>
  <inkml:trace contextRef="#ctx0" brushRef="#br0" timeOffset="196.99">26329 5013 183 0,'-14'-6'432'16,"4"4"-66"-16,1-3-43 0,2 2-69 0,0-1-49 16,7 4-51-16,-3-7-33 0,3 7-24 0,10-12-24 15,-1 8-12-15,3-3-14 0,4 1-7 0,7 2-9 16,0 0 4-16,4-1-10 0,1 2-48 0,2 0-33 16,0 1-76-16,1 1-47 0,1-1-40 0,-1 2-71 15,-2-1-196-15,2 1 25 0</inkml:trace>
  <inkml:trace contextRef="#ctx0" brushRef="#br0" timeOffset="3588.91">27149 4802 15 0,'0'0'278'0,"0"0"-69"0,0 0-40 0,0 0-57 0,0 0-28 15,0 0-19-15,0 0-13 0,0 0-24 0,0 0 33 16,5 9 3-16,-2-3-3 0,0 0-15 0,-1 1-2 16,1 2-14-16,-1 1 7 0,2 1-11 0,-2 2 1 15,1 0-5-15,2 1 3 0,-1 0-11 0,1 2 4 16,-1-3-8-16,1 3 4 0,-1-2-3 0,1 1 10 15,0 1 0-15,0-2 3 0,1 1-5 0,-3 0-3 0,3-3-1 16,-3 2-2-16,2-3-2 0,-1-1-1 16,0 0-2-16,-1-2-1 0,-1 1-1 15,1-2 36-15,-1-1 35 0,0 0 27 0,-2-6 11 16,4 9 48-16,-4-9 21 0,2 9-22 0,-2-9-17 0,0 0-45 0,0 0-5 16,0 0-33-16,10-2-3 0,-10 2-27 15,7-11-2-15,-5 5-7 0,2-4-1 0,0 1-8 16,0-5-1-16,1 1-6 0,0-2 16 0,0 0-7 15,0-1 2-15,2-5-1 0,1 1-6 0,-1 0 16 16,-1 1 41-16,2 0-10 0,-3 0-15 0,3 3-11 0,-2 0 3 16,-1 2 9-16,0 0 5 0,-1 1-8 15,1 3-5-15,0 1-9 0,-2-1-4 0,-2 2-13 0,4 0 5 16,-3 2-8-16,-2 6 0 0,3-11-3 0,-3 11-6 16,4-11-4-16,-4 11-61 0,4-7-13 15,-4 7-21-15,0 0-17 0,0 0-35 0,0 0-73 0,0 0-47 16,0 0-19-16,-4 7-112 0,-1-2-236 0,5-5-150 15</inkml:trace>
  <inkml:trace contextRef="#ctx0" brushRef="#br0" timeOffset="4130.68">27789 4948 270 0,'0'0'363'0,"0"0"-42"16,-13 0-53-16,13 0-7 0,0 0-30 0,0 0-30 15,-13 2-19-15,13-2-26 0,0 0-30 0,0 0-25 16,0 0-27-16,0 0-10 0,0 0-19 0,7-6-5 16,-7 6-26-16,20-3 22 0,-9 0-2 15,5 1-1-15,1-1-6 0,3 1-7 0,0-2-2 0,4 1 1 16,1-1-3-16,1 1-5 0,0 0-22 0,1-3 23 15,-2 4 0-15,1-1-6 0,-4 1-10 0,-2 1 2 16,1 0-60-16,-2 1-45 0,-4 0-84 16,2 1-52-16,-6 0-65 0,1 1-333 0,-1 1-150 0</inkml:trace>
  <inkml:trace contextRef="#ctx0" brushRef="#br0" timeOffset="4375.5">27888 5118 406 0,'-11'5'396'0,"4"0"-69"0,1-2-53 0,6-3-43 0,-5 8-7 16,5-8 5-16,6 2-14 0,-6-2-6 0,17 1-31 15,-5-1 5-15,4 0-44 0,4 0 18 0,2-1-24 16,1 0-6-16,5-2-36 0,0 1-21 0,-1-1-9 16,-1 1-13-16,-1 1-10 0,-3-1-5 0,0 0-4 15,-3 1-8-15,-1 0-2 0,-2 0-4 0,-3 0-46 16,0 1-35-16,-3 0-31 0,-10 0-16 0,19-1 6 15,-19 1-12-15,13 1-27 0,-13-1-35 0,0 0-59 16,8 2-46-16,-8-2-59 0,0 0-326 0,0 0-179 16</inkml:trace>
  <inkml:trace contextRef="#ctx0" brushRef="#br0" timeOffset="5425.91">28922 4645 79 0,'0'0'243'0,"0"0"-70"15,0 0 11-15,0 0-34 0,1 6 29 16,-1-6-36-16,0 10 11 0,0-2-14 0,2 1 6 15,-2 1-41-15,0 4 7 0,0-1-30 0,0 1 29 16,0 3-14-16,0 1-14 0,0 1-4 0,0 0-9 0,-2 0 23 16,2 1-33-16,0-1 3 0,-1 2-10 0,0-2-19 15,1 0 5-15,-2 0-10 0,1 0-4 16,1-1-2-16,0 0-6 0,-1-1-2 0,0 0-2 16,-1-2-5-16,0-1 3 0,0-1-1 0,1-1-3 0,0-1 7 15,0-1-9-15,-1-1 6 0,1 1-4 0,-1-4 10 16,0-1-3-16,2-5 11 0,-1 10-10 15,1-10 1-15,0 0-8 0,0 0 8 0,0 0-11 0,0 0-8 16,0 0-31-16,-1-10-2 0,2 3-4 0,0 2 12 16,1-5 4-16,1 2 4 0,-1-2 9 0,-1 2-2 15,0-2 0-15,0 2-2 0,1 0 5 0,-1 1 1 16,0 1 13-16,-1 6 4 0,0-12-15 0,0 12 5 16,-2-6-3-16,2 6-2 0,-10-5 5 15,10 5 6-15,-13 1 14 0,13-1 5 0,-19 4-8 0,8-3 6 16,1 3 6-16,-4-1 0 0,1 2 7 0,-1 0 10 15,0 1-4-15,1-1-10 0,-2 0-11 0,2 0 11 16,-2 0-8-16,2 1-5 0,-1 1 2 0,3-3-7 16,0 2 3-16,1-1-9 0,1 0-22 0,0-2-21 15,0 2-20-15,9-5-37 0,-11 6-21 0,11-6-14 16,-9 5-6-16,9-5-27 0,0 0-51 0,0 0-51 16,0 0-337-16,0 0-114 0</inkml:trace>
  <inkml:trace contextRef="#ctx0" brushRef="#br0" timeOffset="5784.3">29042 4896 337 0,'9'3'291'0,"1"0"-64"0,-2 3-36 16,-2 2 7-16,2 1-36 0,0 3-3 0,-1 1-14 16,0 1 3-16,-1 1-22 0,1 1 4 0,0 3-6 15,0-1-44-15,0 1 26 0,-2 0-5 0,3 0-25 16,-4-2-12-16,2-1-19 0,-2 2-4 0,1-3-6 15,-1 0 0-15,0-1-13 0,1 0-4 0,-4-3-4 16,3-1 8-16,-1-1 25 0,-1 0 61 0,-1-2 31 16,2 1 65-16,-3-8 35 0,3 9 21 0,-3-9-64 15,0 0-26-15,0 0-46 0,0 0-15 0,11-4-35 16,-8 0-1-16,-1-5-27 0,3 0 1 0,-1-2-21 16,1-2 13-16,0 0-3 0,2-2 20 0,0-1 7 15,-1-1 1-15,0-1-5 0,2 0-18 0,-1 2-10 16,2-3 1-16,-4 4-4 0,2 1-5 0,0 0-9 15,-2 2 0-15,2 1-3 0,-3 2-4 0,0-2 3 0,-1 4-7 16,1-1-15-16,1 2-56 0,-3 1-51 16,0-1-63-16,-2 6-63 0,5-10-41 0,-5 10-1 15,4-6 17-15,-4 6-31 0,0 0-46 0,0 0-13 16,5-3-35-16,-5 3-372 0,0 0-283 0</inkml:trace>
  <inkml:trace contextRef="#ctx0" brushRef="#br0" timeOffset="6228.98">29245 4750 215 0,'-7'-4'456'0,"7"4"-105"0,-12-4-30 16,12 4-73-16,-9-6-40 0,9 6-34 0,-7-3-30 15,7 3-27-15,0 0-32 0,-7-5-25 16,7 5-6-16,0 0-13 0,7-3-6 0,-7 3-6 16,16-2-7-16,-16 2-4 0,22 0-5 0,-8 0 2 0,1 0-4 15,3 1-9-15,1-1 5 0,-1 0 15 0,3 1-13 16,0-1-4-16,-3 2 9 0,4-2-3 0,-3 0-1 16,-1 0-1-16,-1 1 3 0,-2-1 7 0,0 0 19 15,-2 0 19-15,-13 0 18 0,22 0 15 16,-22 0 16-16,18 0 16 0,-18 0-7 0,15-1 1 0,-15 1-20 15,12-3-26-15,-12 3-8 0,10-6-14 0,-10 6-3 16,6-8-11-16,-6 8-11 0,2-10-2 0,-2 10-4 16,-3-13-5-16,-1 5-2 0,0-1-4 0,-5-1 1 15,2-1-2-15,0 0 7 0,-2-1-8 0,-1 1 3 16,1-1 2-16,0 2 11 0,2 0-8 0,0 0-1 16,-2 2-1-16,5 0-1 0,-2 0-4 0,0 2 3 15,2 0-8-15,-1 0 3 0,5 6-14 0,-7-10-74 16,7 10-24-16,-4-3-43 0,4 3-42 15,0 0-69-15,0 0-92 0,0 0-47 0,0 10-376 0,0-10-294 16</inkml:trace>
  <inkml:trace contextRef="#ctx0" brushRef="#br0" timeOffset="7143.9">27133 4593 218 0,'-12'-1'354'0,"12"1"-61"0,0 0-36 16,-15 0-47-16,15 0-50 0,0 0-32 0,0 0-33 15,-13 1-26-15,13-1-12 0,0 0-8 0,0 0 1 16,7 4-3-16,-7-4-28 0,14 2 24 0,-3 0 0 16,1-1-8-16,4 0-1 0,0 2-5 0,4-3-5 0,-1 2-2 15,0 0-4-15,4-1 3 0,-3 1-2 16,1-1 1-16,0 0-7 0,-5-1 3 0,2 1 0 15,-2 0 12-15,-2-1 36 0,-3 2 13 0,2-2 12 16,-13 0 21-16,19 0 8 0,-19 0-16 0,15-2-24 16,-15 2-14-16,9-4-14 0,-9 4 7 0,7-8-30 15,-7 8 8-15,0-10-20 0,0 10 13 0,-3-11-22 16,-2 4 14-16,3 0-15 0,-4 1 21 0,1-1-19 0,0 0 18 16,-1 0-17-16,-1 1 43 0,2-1-7 0,0 2 7 15,-1-1-22-15,1 1 8 0,0 1-25 16,5 4 18-16,-7-8-23 0,7 8 12 0,-8-7-18 15,8 7 10-15,-5-6-15 0,5 6 4 0,-6-5-7 16,6 5 3-16,0 0-74 0,-5-4 22 0,5 4-47 0,0 0-19 16,0 0-45-16,-9 2-89 0,9-2-47 0,-8 6-67 15,8-6-335-15,-6 8-209 0</inkml:trace>
  <inkml:trace contextRef="#ctx0" brushRef="#br0" timeOffset="8670.19">27126 5358 211 0,'0'0'393'0,"-5"-5"-119"15,5 5-34-15,0 0-90 0,-5-4-19 0,5 4-29 16,0 0-28-16,0 0-17 0,0 0-11 0,-5 8-11 16,5-8-5-16,0 11-3 0,1-4-6 0,-1 2 0 15,0-1 7-15,0 2 0 0,0 0-4 0,0 1-4 16,-1 1 8-16,1-1 33 0,0 1 0 0,-2-2-14 15,0 3-10-15,2-1-2 0,-2-2-7 0,-1 3-3 16,2-3-4-16,-2 1-1 0,1 1-9 0,-1-2-3 16,2-1 1-16,-2 0 1 0,1-1 1 0,-1-1-3 15,2-1-5-15,-2 2 0 0,3-8 2 0,-1 9-2 16,1-9 1-16,-2 10 2 0,2-10 0 0,1 7 5 16,-1-7-5-16,6 7 2 0,1-3-4 0,-7-4 2 15,16 5-4-15,-7-3 3 0,5 0-3 0,0 2 5 16,4-1-6-16,3 0 0 0,2-1 1 0,2 2-2 0,2 1 2 15,1-1 5-15,5 1-1 0,3 0-2 16,-1 0-10-16,3 1 11 0,-1-1-4 0,7 1 0 16,0 1 2-16,-2-1 5 0,4 1-5 0,-2-1 4 15,-1 0-2-15,3 0 2 0,-1 1 0 0,1-2-5 0,0 1 3 16,-1 0-2-16,0 0 1 0,-1-1-3 0,1-1 0 16,-8 3-1-16,5-4 5 0,-5 2-6 15,2-2 1-15,-1 3 3 0,0-2 0 0,-1 0-5 16,0-1 2-16,1 0 1 0,-1 2 1 0,0-3-1 0,-2 1-2 15,-1-1-1-15,-4 0 4 0,2 1-1 0,-2-1 2 16,0 0-3-16,1 0 4 0,0-1 0 0,-1 1 10 16,0 0-10-16,0-1-3 0,0 0-1 0,-1 0 7 15,2 0-5-15,-2 0-3 0,-1-1 4 0,-1 2-1 16,0-2-7-16,-3 1 7 0,1-1-2 0,-2 1 3 16,-3-1-5-16,2 0 4 0,-2 0-2 0,-2 0-1 15,-1 0 3-15,-3 0 17 0,0 0 13 0,-1-1 9 16,-13 1 0-16,23 0-2 0,-23 0-10 0,18-1-3 15,-18 1-5-15,17-2-17 0,-17 2 8 0,21-3 0 16,-21 3-4-16,19-2-4 0,-19 2 3 0,17-4-3 16,-17 4-3-16,15-3 3 0,-5 0-3 0,-1 0 6 15,0 1 19-15,0 0 3 0,-1-1-6 0,-2 0 16 16,3-2 1-16,0 1-1 0,-1 0-7 0,-2-1-5 16,2-2-1-16,-1 0 13 0,1 3 1 0,-3-5-5 15,2 2 43-15,-2-3-14 0,-1 2-8 0,2-2 4 16,-2 1 41-16,-2-1-6 0,2 1-12 0,-4-2-17 15,1 1-9-15,1-1-8 0,-2 1-11 0,1 0-11 16,-1 2 0-16,0-2-7 0,-1 3-2 0,1-2-7 16,0 2-1-16,-2 2-4 0,1-3-37 0,1 8-61 15,-1-9-36-15,1 9-25 0,-5-8-16 0,5 8-21 16,-10-2-46-16,10 2-68 0,-13 1-52 0,13-1-425 16,-14 3-300-16</inkml:trace>
  <inkml:trace contextRef="#ctx0" brushRef="#br0" timeOffset="9433.25">29502 5694 231 0,'0'0'281'16,"0"0"-42"-16,3 6-38 0,-3-6-23 0,8 4-40 0,2 1-15 15,-1-2-25-15,3 3 11 0,4 0-22 0,0 0 12 16,5 2-19-16,0-1-12 0,1 0-16 0,1 1-4 15,0-1-7-15,0 2-9 0,0-3-3 0,0 1-8 16,0 0-1-16,-1 0-5 0,-3 0-7 0,-1-3-14 16,-4 1 19-16,3-2 30 0,-4 2 27 0,-1-1 8 15,-3-1 7-15,2-1 11 0,-1-1 19 0,-10-1-12 16,12 2-18-16,-12-2-19 0,12-1-2 0,-12 1-1 16,9-3-12-16,-9 3-13 0,4-7-5 0,-4 7-3 15,2-11-11-15,-2 11 4 0,0-14 13 0,0 7-9 16,-1 0-12-16,0-1 6 0,-1 1 4 0,2-1-6 15,-1 0 21-15,0 2-3 0,0-1-5 0,-1 1-8 16,2 0-2-16,0 6-5 0,-1-11-3 0,1 11-10 16,-1-8-11-16,1 8 1 0,-3-7-4 0,3 7 3 15,0 0 0-15,0 0 1 0,0 0 3 0,-5 7 3 16,5-7 2-16,-4 10-5 0,2-1 4 0,-1-1 0 16,-1 0 2-16,-1 2-1 0,1 0-2 0,-2-1 0 15,2 1 2-15,-2 2 1 0,1-2-3 0,-2 0 2 16,2 1 17-16,0-3-21 0,1 3 20 0,-2-2-21 15,2 0 20-15,-1-2-24 0,1 1 21 0,0-1-18 16,-1-1 16-16,3-1-17 0,2-5 21 0,-6 8-15 16,6-8 16-16,-5 9-15 0,5-9 14 0,-4 7-19 0,4-7 10 15,-2 4-48-15,2-4-12 0,0 0-45 0,-4 7-24 16,4-7-37-16,0 0-70 0,-4 6-25 16,4-6-62-16,0 0-80 0,0 0-238 0,0 0-145 15</inkml:trace>
  <inkml:trace contextRef="#ctx0" brushRef="#br0" timeOffset="10405.89">30378 5816 28 0,'-12'-2'324'0,"12"2"-101"0,-13 0-50 16,13 0-47-16,-10 2 7 0,10-2-5 0,-10 1-19 15,10-1-35-15,-8 3 32 0,8-3-10 0,-6 4 40 16,6-4-38-16,-3 6 11 0,3-6-11 0,3 6 26 0,-3-6-2 16,6 5-11-16,-6-5-27 0,12 5-14 0,-12-5-7 15,13 3-9-15,-13-3-11 0,16 1 10 16,-16-1-4-16,13-1-4 0,-13 1-7 0,14-6-15 15,-8 2 1-15,-2 0 2 0,0-1-12 0,-1-1-2 16,0 0-15-16,-3 6 10 0,-5-14-34 0,0 9 34 16,-2-1-38-16,-4 1 36 0,-3 0-5 0,-2 3 4 0,-5 2-1 15,2 1-11-15,-3 1 8 0,-1 3 5 0,0 2 2 16,2 1-6-16,3 2 6 0,-1 3 12 16,4-2 7-16,0 4-2 0,4-1 13 0,3 0 53 15,2 1-19-15,3-1 12 0,2 1-18 0,3 1 7 16,3-2-31-16,0 1 13 0,3-1-24 0,2 1 15 0,4-1-22 15,1-3 12-15,2 1-20 0,1-3 12 0,-1-3-18 16,1 0 14-16,0-4-13 0,1-2 10 16,0-1-16-16,0-3 20 0,4-3-25 0,-1-1 12 15,2-6-22-15,-1 2 0 0,-1-3 2 0,-4 1-1 0,-2-1 2 16,1 2-3-16,-2 1 86 0,-4 0 39 0,1 4-3 16,-3-2-3-16,-1 3-20 0,0 0-22 0,-1-1-20 15,-2 4-18-15,1-1-6 0,-6 5-4 16,7-4-8-16,-7 4 2 0,0 0-1 0,8 6 1 15,-8-6-2-15,4 10 0 0,-4-10 8 0,0 14-11 0,-3-4-32 16,2 0-43-16,0 2-25 0,-2-1-90 0,1 1 13 16,-2 3-24-16,0-3-53 0,-1 1-10 0,0 1-17 15,-2-1-50-15,0-3-42 0,0 2-350 16,2-5-222-16</inkml:trace>
  <inkml:trace contextRef="#ctx0" brushRef="#br0" timeOffset="10579.18">30485 5817 67 0,'-1'-17'510'0,"1"2"-141"16,-2 4-44-16,2-4-105 0,-1 3-17 0,0 0-67 15,0 0-5-15,-1 3-58 0,2-1 13 0,-1 2-45 16,0 0 13-16,1 8-50 0,-3-8-25 0,3 8-58 16,0 0-38-16,-5-6-64 0,5 6-22 0,0 0-7 15,0 0-235-15,1 8 83 0</inkml:trace>
  <inkml:trace contextRef="#ctx0" brushRef="#br0" timeOffset="11679.8">30780 5814 272 0,'0'0'336'0,"7"-5"-79"0,-7 5-36 15,2-8-59-15,-2 8-31 0,0 0-41 0,-2-6-6 16,2 6-32-16,0 0-4 0,0 0-21 0,-12 0 7 15,12 0-22-15,-6 8 14 0,3-1-22 0,3-1 16 16,-1 3-9-16,0 2 33 0,2 1-19 0,0 0 9 16,-1 3-5-16,3 2-3 0,-1 0 3 0,0 1-7 15,0 1-5-15,-1 2-1 0,1-2-6 16,0 1-9-16,-2-1 17 0,0 1-26 0,-2-2 20 0,-1 0-13 16,1-2 22-16,-2 1-14 0,-1-2 43 0,-2-3-15 15,0-1 30-15,0-2 14 0,1-2 1 0,-1-1-17 16,1-2-8-16,6-4-18 0,-13 3 14 0,13-3 24 15,-11-4-13-15,11 4-15 0,-8-9-12 0,4 2-3 16,4 7 2-16,-4-12-22 0,4 3 10 0,3 0-41 16,1-2-19-16,-2 3-8 0,5-3-3 0,0 2-10 15,1-2-2-15,2 0-29 0,0 0-9 0,5 1 2 16,1-1 14-16,1 0-4 0,-2 0 28 0,4 0-6 16,-1 2 23-16,3-1-1 0,-2 1 18 0,0 0-1 15,0 2 26-15,-3-1 4 0,-1 2 45 0,0 1-11 16,-2-1 50-16,-3 2-34 0,0 0 11 0,0 2-39 15,0 0 12-15,-10 2-8 0,11-2 45 0,-11 2-3 16,10 4-3-16,-10-4-6 0,7 8-12 0,-7-8-4 16,2 12-6-16,-2-5-13 0,0 2-2 0,0-1 0 15,0 2-3-15,1-2-9 0,1 2 2 0,-2-1-9 16,0 2 7-16,0-2-1 0,0-1 2 0,0 0-2 16,0 1-3-16,0-3 2 0,0-6-4 0,0 12 32 15,0-12 53-15,0 9 26 0,0-9-9 0,0 0-20 16,0 0-18-16,0 0-9 0,0 0-13 0,0 0-9 15,6-3 3-15,-4-3-31 0,1 0-27 0,2 0-8 16,-1-2 2-16,1-1-7 0,-1 3 7 0,3-2-2 16,-2 2-4-16,0-1 8 0,0 2 1 0,-1 0 0 15,-4 5 1-15,9-6 0 0,-9 6 8 0,9-3-2 16,-9 3 2-16,0 0 5 0,16 1-7 0,-16-1 6 16,7 3 2-16,-7-3 0 0,7 4 1 0,-7-4 1 15,9 4-4-15,-9-4 4 0,7 7 1 0,-7-7 3 16,5 4-5-16,-5-4 5 0,5 4 3 0,-5-4 1 15,0 0 1-15,6 5 0 0,-6-5 1 0,0 0-8 16,0 0 4-16,14-4-1 0,-14 4 0 0,9-5-2 16,-5 0 1-16,1-2 0 0,1 0 0 0,0-4-4 15,0 3-1-15,-1-5-15 0,0 1 15 0,0 0-20 16,-1 0 22-16,-1 0-23 0,-2 1 25 0,-1 0-24 16,-3 3 23-16,2-2-21 0,-5 2 20 0,0 3-23 15,-3 0 20-15,-1 1-20 0,-1 3 28 0,11 1-17 16,-19 1 21-16,6 3-31 0,4 1 28 0,-2 1-2 15,-1 1 0-15,3 3-1 0,0 0-1 0,0-1-5 16,4 3 7-16,1-3-2 0,3 4-2 0,0-2 8 16,2 2 1-16,2 0-1 0,1-1-3 0,3 0 3 15,2 1 0-15,0-2-2 0,1 0-1 0,2-2-5 16,-1 0 9-16,3-2 0 0,-1-2-1 0,-1-1-7 16,2-2 8-16,-1-2-1 0,-1-2-2 0,1-1-6 15,2-2 10-15,-2-2-20 0,1-1 3 0,0-1-1 16,-3 1-1-16,1-2 0 0,-2 2 2 0,0-1 10 15,-2 3 3-15,-1 0-4 0,-1 0-6 16,-6 6 0-16,7-7-6 0,-7 7 3 0,0 0 1 0,0 0 5 16,0 0-5-16,0 0 7 0,0 0-2 0,0 0 6 15,-4 6 1-15,4-6-1 0,-3 9-1 0,3-9-3 16,0 10 7-16,0-10-3 0,3 11-7 0,-3-11 17 16,4 9 6-16,-4-9-2 0,6 9 1 0,-6-9-4 15,10 6-2-15,-10-6 1 0,14 2-2 0,-14-2 3 16,19-1-9-16,-8 0-3 0,1 0-1 0,1-2-1 15,-3 0-4-15,4 1 0 0,-3-1 0 0,0 0-11 16,2 0 9-16,-3 2 1 0,0-2 0 0,-1 2-2 16,0-1-6-16,0 1 9 0,-9 1-3 0,17-1 3 15,-17 1 1-15,14 0-31 0,-14 0-18 0,13 1-23 0,-13-1-21 16,11 4-37-16,-11-4-49 0,7 6-79 0,-7-6-90 16,3 7-435-16,-3-7-302 0</inkml:trace>
  <inkml:trace contextRef="#ctx0" brushRef="#br0" timeOffset="12658.48">28723 5277 95 0,'0'0'330'16,"0"0"-71"-16,11-2-36 0,-11 2-31 0,0 0-29 16,14-1-39-16,-14 1-26 0,0 0-5 0,13 3-16 15,-13-3 17-15,0 0-40 0,10 4 52 0,-10-4-12 16,7 8 4-16,-7-8-40 0,7 8 8 0,-4-2-30 15,-1 0 39-15,1 2-4 0,-2 2-5 0,2-1-16 16,-1 1-7-16,-2 2-9 0,2 0-5 0,0 2 4 16,-2-3 4-16,2 3 5 0,-1 0-1 0,0 1-12 15,0-3 1-15,-1 2-3 0,2-1-11 0,0 0 1 16,-1-1-3-16,-1 0 3 0,0-1-6 0,0-1 5 16,2-1-9-16,-2 0 0 0,0-1-2 0,0-1-3 15,0 0-8-15,0-7 19 0,1 14-11 0,-1-14-2 16,-1 10 4-16,1-10-3 0,0 12 0 0,0-12 1 0,0 16-5 15,-2-9 6-15,2 3 0 0,-3 0-2 16,1 3 4-16,0 1-1 0,-1-1-2 0,1 4 20 16,-1 0 24-16,-1 1-6 0,2 2 9 0,-2 2-8 0,0 1 18 15,-1-2-26-15,0 2 14 0,2-1-22 0,-1 2 14 16,-1-1-28-16,1-1 15 0,0 2-22 0,1-1 20 16,-2 1-23-16,2-1 15 0,-1 0-14 0,2-1 17 15,-1-2-22-15,2-2 1 0,-2 0 1 16,1-2 0-16,0 1 0 0,1-3-2 0,0-2 4 0,0-2 3 15,-1 2-1-15,2-5 4 0,-2 2 3 0,2-2 1 16,-3 0 2-16,3-7 1 0,0 11 0 0,0-11 20 16,0 0-41-16,0 8-36 0,0-8-92 0,0 0-86 15,0 0-16-15,0 0-89 0,5-7-110 0,-5 7-265 16,3-8-207-16</inkml:trace>
  <inkml:trace contextRef="#ctx0" brushRef="#br0" timeOffset="12923.49">28666 6147 342 0,'0'0'349'0,"-10"3"-78"0,10-3-27 0,-9 6-23 15,9-6-41-15,-6 7 0 0,6-7-21 0,-5 7 0 16,5-7 14-16,-2 7 0 0,2-7-26 0,3 8 22 16,-3-8-40-16,8 6 2 0,-8-6-35 0,16 6 2 15,-7-3-31-15,0-1 7 0,3 0-32 0,-1 0 13 16,-1-2-21-16,3 1 3 0,1-2-21 0,-2-1 15 15,-1 0-20-15,0 0 16 0,1-2-20 0,-3 1 18 16,2 0-19-16,0-1 14 0,-3 0-56 0,1 0-1 16,-2 0-32-16,-7 4-32 0,14-4-51 0,-14 4-86 0,9-4 41 15,-9 4-48-15,0 0 5 0,13 2-33 0,-13-2-43 16,4 6-236-16,-4-6-64 0</inkml:trace>
  <inkml:trace contextRef="#ctx0" brushRef="#br0" timeOffset="13407.95">29011 6393 443 0,'0'0'383'0,"0"0"-73"0,8-2-68 0,-8 2-41 16,0 0-24-16,5-7-29 0,-5 7-21 0,5-7-8 15,-5 7-14-15,3-6-11 0,-3 6-26 0,4-7-14 16,-4 7-9-16,2-6-9 0,-2 6 9 0,0-7-8 15,0 7-12-15,-2-6-5 0,2 6-12 0,-8-4 0 16,8 4-9-16,-14-1 12 0,14 1-8 0,-17 2 8 16,6 2-14-16,1 0 14 0,-2 2-5 0,2-1 5 15,-2 3-5-15,5-1 7 0,-5 1 0 0,5 0 21 16,0-1-2-16,2 1-7 0,-1 1 5 0,3-1 1 16,-1 2-2-16,3-3-4 0,1 1-4 0,1 0-6 15,1-1 18-15,2 0-20 0,1 0 11 0,2 0-17 16,2-2 18-16,0 1-21 0,3-2 3 0,-1 0 0 15,2-1-1-15,1-2-4 0,0-1 2 0,5 0-1 16,-2-1 5-16,-2-3-5 0,4 0 2 0,-2-1 0 16,-2-1-2-16,2-1-5 0,-2-1 2 0,-1 2-2 15,0-2 5-15,-3 1-4 0,-2 1 66 0,-1 0 26 16,1 0 5-16,-2 1-15 0,-1 0-19 0,-6 5-14 16,7-6-13-16,-7 6-9 0,0 0-6 0,0 0-5 15,0 0-5-15,0 0 1 0,-2 11 2 0,0-6 1 0,-1 3-3 16,-1 0 7-16,2 2 0 0,-1 1-1 15,-1 0-2-15,0 1 10 0,2 2-11 0,-1 0 9 16,-3 0-9-16,4 0 10 0,-2 0-40 0,0 0-18 16,1-2-59-16,-1 0-37 0,2-3-58 0,-1 1-41 15,1 0-12-15,-1-2-43 0,1-2 24 0,2-6-82 0,-3 7-329 16,3-7-181-16</inkml:trace>
  <inkml:trace contextRef="#ctx0" brushRef="#br0" timeOffset="13528.57">29222 6378 484 0,'3'-15'408'0,"-2"2"-80"16,2 2-85-16,-1-1-43 0,0 2-41 16,0 0-30-16,-2 2-48 0,1 0-86 0,-1 8-100 0,3-11-37 15,-3 11-21-15,1-7-45 0,-1 7-237 0,0 0 82 16</inkml:trace>
  <inkml:trace contextRef="#ctx0" brushRef="#br0" timeOffset="14641.51">29518 6416 260 0,'0'0'399'0,"14"-2"-65"0,-14 2-45 16,11-5-69-16,-7 0-39 0,-4 5-37 0,6-9 11 15,-6 9-21-15,4-10-34 0,-4 10-20 0,-1-9-21 16,1 9-13-16,-5-8-15 0,5 8-9 0,-8-5 2 16,8 5-12-16,0 0-3 0,-13 1 0 0,13-1-6 15,-9 8-2-15,2-3 0 0,4 3 0 0,-1 1 8 16,-1 1-10-16,1 0 6 0,0 5-3 0,2-2-1 15,-3 2 7-15,1 0 0 0,0 2 1 0,0-2-8 16,1 1 8-16,-1 0 1 0,-3 0-4 0,2-3-10 16,-1 2 19-16,-2-3 23 0,2 0 23 0,-1 0-2 15,-1-3-18-15,0-2 27 0,1 0-7 0,0-2 7 16,-1-2-18-16,8-3 15 0,-13 4-29 0,13-4 13 16,0 0-30-16,-14-4 3 0,14 4-7 0,-5-7-15 15,5 7-10-15,-2-9-35 0,2 9-11 0,2-10-10 16,3 3-2-16,0 1 0 0,0 0-19 0,3 1 3 15,0-1 4-15,3 1-2 0,-2 0 8 0,3 2 11 16,2-2 10-16,1 0 14 0,0 1 0 0,2 1 7 16,0-2-4-16,1 2 15 0,1-2 9 0,2 1 6 15,1-2 11-15,-1 0 23 0,0 1 11 0,-3 0 14 16,0 0 1-16,-1-1-2 0,-1 1 4 0,-2-1 14 16,-1 1 5-16,-1 1 5 0,-1 1-2 0,-2 0-9 15,0 0-15-15,-9 3-12 0,15-5-14 0,-15 5-4 16,9-1-5-16,-9 1-1 0,0 0-8 15,8 5-1-15,-8-5-8 0,0 9 10 0,0-9 17 0,-1 13 1 16,0-5 38-16,-1 0 12 0,0 0-36 0,0 2 11 0,0-1-30 16,-1 0 14-16,2 0-23 0,-2 0 13 15,1-2-23-15,-1 1 20 0,3-8-23 0,-2 11 18 16,2-11-17-16,-3 10 27 0,3-10 46 0,-4 9 47 16,4-9 2-16,-1 6-10 0,1-6-34 0,0 0-12 0,0 0-20 15,0 0-3-15,0 0-24 0,11 0-10 0,-11 0-33 16,0 0-15-16,11-4-36 0,-11 4 7 15,0 0-21-15,10-4 15 0,-10 4-28 0,8-3 19 16,-8 3-14-16,0 0 8 0,0 0 5 0,7-4 11 16,-7 4 15-16,0 0 11 0,0 0 4 0,0 0 11 0,11-1 11 15,-11 1 2-15,0 0 4 0,12-2 4 16,-12 2 2-16,11-3 0 0,-11 3-5 0,11-4 10 0,-11 4-4 16,15-6 3-16,-7 2 4 0,0 0-3 15,1-1 4-15,-2-2-3 0,1 1 1 0,-1-1 19 0,0-1 9 16,-2 0-1-16,0-1 28 0,-3 1-22 0,0 0-7 15,-2 1-4-15,0-1-5 0,-4 1-3 0,0 3-7 16,-1-1-4-16,-3 1-2 0,-3 1 7 16,11 3-6-16,-23-2 3 0,12 5-5 0,-3 0 1 15,0 1-1-15,-2 1 0 0,3 1 3 0,1 2 0 0,-1-1-5 16,1 3 3-16,2-1 2 0,1 1 3 0,2 0-2 16,0-1 21-16,3 1-20 0,1 1 19 0,1-2-19 15,4 2 18-15,1 0-23 0,0-1 20 0,3 1-24 16,3-1 25-16,-1 0-52 0,3-3-11 15,0 1-24-15,1-1 2 0,-1-4-53 0,2 1 1 16,-1-3-10-16,2 0-2 0,2-2 34 0,-1-3 4 0,1 0 10 16,1-3 0-16,2-1 24 0,-3-2 20 0,2 0 19 15,-2-2 25-15,0 1 22 0,-2-2 27 0,-2 4 22 16,0-1 0-16,-1 1-12 0,-2 0 17 16,0 2-6-16,-2 0-17 0,0 3-17 0,-7 4-13 15,11-7-9-15,-11 7-8 0,0 0-3 0,0 0 27 0,9 4-6 16,-9-4 8-16,0 12 4 0,0-12-4 15,-2 13-6-15,2-3 0 0,0-3-2 0,0 2 12 16,0 0-27-16,0 0 20 0,0 0-23 0,0-1 16 16,2 0-23-16,-2-1 19 0,1 0-16 0,-1-7 37 15,1 11 62-15,-1-11 11 0,3 7-31 0,-3-7-10 0,8 3-22 16,-8-3-3-16,13 0-19 0,-4-3-3 0,1-1-15 16,1 1-6-16,-2-1-3 0,2 2-8 0,-2-2-17 15,0 2-8-15,1-1-8 0,-10 3-18 0,14-3-3 16,-14 3 6-16,14-1-8 0,-14 1-22 15,12 1-13-15,-12-1-17 0,10 4-2 0,-10-4-16 0,10 8-1 16,-10-8-16-16,7 8-16 0,-5-2-40 0,2-1-50 16,-1 0-44-16,-1 1-68 0,1-1-285 0,-3-5-154 15</inkml:trace>
  <inkml:trace contextRef="#ctx0" brushRef="#br0" timeOffset="14957.98">30500 6556 124 0,'2'-8'395'15,"-2"8"-103"-15,0 0-39 0,0 0-26 0,0 0-41 16,-3 7 40-16,1-1-28 0,0 1 10 0,0 4-32 16,2-1-43-16,0 1-21 0,0-1-5 0,0 4-1 15,2-2 10-15,0 1-40 0,0-1 8 0,1 1-29 16,2-2 9-16,-3-1-28 0,2 0 13 15,-1-2-15-15,-1 1 81 0,0-2 36 0,-2-7 20 0,5 9-42 16,-5-9-17-16,7 4-35 0,-7-4-1 0,0 0-26 16,14-4-3-16,-10 0-17 0,4-2 0 0,-2-1-17 15,2-2-2-15,0 0-1 0,-1-1-5 0,0-1-17 16,0 1-65-16,2-1-8 0,-1 1-48 0,-2-1-17 16,3 3-9-16,-4 1-23 0,2-1-53 15,-1 2-55-15,3 1 0 0,-3 1 3 0,3 0-19 16,2 2-6-16,1-1-239 0,-1 1-63 0</inkml:trace>
  <inkml:trace contextRef="#ctx0" brushRef="#br0" timeOffset="15883.53">30868 6592 293 0,'0'0'346'0,"14"-1"-50"15,-14 1-19-15,8-3-55 0,-8 3 8 0,0 0-7 0,0 0-22 16,-2-7-31-16,2 7-34 0,-11 0-29 0,11 0-7 16,-16 3-19-16,7-1 3 0,-3 2-13 0,3-1-11 15,0 3-12-15,2 1 42 0,-3-2-14 0,3 4-10 16,1-3-14-16,1 2-14 0,1 1-2 15,-1-2-5-15,2 1 15 0,3 1-23 0,0-2 15 0,0 0-23 16,3-1 19-16,3 1-28 0,-1-1 25 0,0-1-24 16,3 0 21-16,0-2-25 0,-8-3 16 0,18 2-36 15,-18-2-2-15,17 0-6 0,-17 0 1 0,14-2 8 16,-14 2 3-16,13-2-1 0,-13 2 4 16,12-1-3-16,-12 1-3 0,0 0 0 0,13 0 3 15,-13 0 2-15,0 0-4 0,7 3 4 0,-7-3 3 0,0 0 2 16,5 8 0-16,-5-8 4 0,5 7 0 15,-5-7 21-15,6 7-17 0,-6-7 20 0,7 8-16 16,-3-3 23-16,2-1-23 0,1 0 20 0,-7-4-19 16,13 5 21-16,-13-5-25 0,17 5 19 0,-17-5-22 15,17 0 3-15,-7-1 1 0,2-1 0 0,-2-3-9 0,4-1 7 16,-1-1-17-16,1-3-28 0,0-3-20 0,1-4-20 16,1-3 1-16,-1-2 16 0,0-1 7 15,-2-1-11-15,-3 5 71 0,-1 0-24 0,0 1 45 0,-1 2-42 16,-2 2 39-16,-2 2-42 0,-1 3 35 15,-3 2-40-15,0 7 43 0,-4-9-33 0,4 9 47 0,0 0-24 16,-17 1 28-16,8 4-31 0,2 2 31 0,-2 1 4 16,-1 4 17-16,2-1 7 0,1 2-4 0,2 1 1 15,0 2 9-15,0 0-1 0,4-1-12 0,1 0-8 16,1 1 14-16,0-1-17 0,3 0 10 16,4 0-17-16,-2-2 9 0,1 0-13 0,0-1 7 15,3-2-19-15,1 0 6 0,0-2-13 0,2-2 13 0,-3-2-11 16,4-1 4-16,-2-2-14 0,-1-1 9 15,3-1-13-15,-1-2 8 0,-1-1-10 0,-1 1-2 16,1-3 1-16,0 1-5 0,-3 0 4 0,-1-1 2 16,2 2 0-16,-3-1-5 0,-1 1 5 0,-6 4-2 15,10-6-1-15,-10 6-3 0,0 0 1 0,7-4-3 0,-7 4 2 16,0 0 4-16,0 0 1 0,-2 6 1 0,2-6-4 16,-3 7 6-16,3-7 0 0,-2 10 11 0,2-10-10 15,-1 11 11-15,1-11-10 0,1 11 13 0,-1-11-8 16,4 10 5-16,-1-5-7 0,-3-5 12 15,7 8-6-15,-7-8 2 0,13 6-5 0,-13-6 5 0,15 1-8 16,-15-1-3-16,17-2-4 0,-7 0-17 0,-1-2-10 16,2 1 6-16,-1-1 5 0,-1-1 0 0,-2 0 5 15,2 2 1-15,-2-1 3 0,0 2 1 0,-7 2 1 16,9-6-3-16,-9 6-3 0,9-4 0 0,-9 4 2 16,0 0 3-16,0 0 0 0,0 0 1 0,10 5 2 15,-10-5 0-15,2 5 2 0,-2-5 3 0,2 8 13 16,-2-8 15-16,3 8 20 0,-3-8-17 0,4 9 2 15,-4-9-11-15,5 9 2 0,-5-9-6 0,7 8 0 16,-7-8 0-16,11 5 3 0,-11-5-9 0,13 3 3 0,-13-3-9 16,15-1 10-16,-15 1-8 0,15-5-5 0,-5 2 1 15,-1-2-3-15,-1-1 10 0,-3 1 5 0,4 0-6 16,-4 1 1-16,0 0-4 0,-5 4 2 0,7-8-7 16,-7 8-4-16,6-6-3 0,-6 6-3 0,0 0 6 15,0 0-2-15,0 0 0 0,0 0 3 0,-10 3-2 16,10-3 5-16,-7 8 1 0,2-2-9 0,1 1-66 15,-2 1 1-15,4 0-40 0,-2 1-21 0,0 1-37 16,1-2-36-16,1 2-41 0,2-2-36 0,-2 1-68 16,4 0-61-16,0 0-312 0,1-1-227 0</inkml:trace>
  <inkml:trace contextRef="#ctx0" brushRef="#br0" timeOffset="17244.73">31782 5864 150 0,'0'0'339'0,"0"0"-93"0,-9-3-33 0,9 3 3 15,-7 5-31-15,7-5 7 0,-7 8-49 0,5 0 1 16,-1 0-27-16,0 2 20 0,2-1-43 0,1 3 21 0,0-1-26 16,0 2-17-16,0-1 3 0,3 1 11 0,-1 2-7 15,2-1-23-15,0 1-3 0,2-2-44 0,-3-1 36 16,2-4-45-16,-1 3 40 0,0-4-4 0,0 2 62 16,1-4-9-16,1 2 18 0,-1-2-38 0,-5-5 2 15,12 4-10-15,-12-4-14 0,14-1-7 0,-14 1-5 16,15-7-8-16,-7 2-6 0,1-1-3 0,1-2-10 15,-1-1-29-15,2 0-54 0,-2-1 30 0,0 1-40 16,-1-1 23-16,1 3-32 0,-3-1 38 0,1 2-31 16,-2-1 34-16,0 2-45 0,1 1 5 0,-6 4-6 15,7-6 38-15,-7 6-14 0,7-4 40 0,-7 4-16 0,0 0 31 16,9 3-16-16,-9-3 28 0,10 5-25 0,-10-5 31 16,8 7-18-16,-1-3 26 0,-2 1-23 0,2 0 34 15,0-2-26-15,0 2 55 0,1 0-5 0,1-1 6 16,-1-1 3-16,1-1-4 0,0 1-1 0,1 0-10 15,-10-3-8-15,18 0 3 0,-7-2 0 0,-1 0-31 16,1-1 40-16,1-1-36 0,-3-2 34 0,2-1-42 16,1 0 51-16,-3-1-29 0,-2 1 18 0,0 0-40 15,-2-2 31-15,-1 2-47 0,-2 0 41 0,-2 7-40 16,-3-11 44-16,-2 5-40 0,-4 1 32 0,0 3-37 0,-1-1 39 16,-4 2-37-16,2 1 35 0,-3 1-43 15,0 3 42-15,-3 0-34 0,4 2 42 0,-2-1-42 0,2 1 36 16,1 4-36-16,-1-3 34 0,5 4 6 0,-1-1-6 15,3 1-2-15,0-3-5 0,3 3 11 0,2 0-41 16,2-1 38-16,2 1-35 0,2 0 37 0,1 1-43 16,3-1 17-16,3-1-41 0,0 0 20 0,3-1-53 15,-2-2 15-15,5 0-7 0,-3-3 20 0,5-1-27 0,-2 0 38 16,2-3-21-16,0-2 31 0,-1-1-14 0,4-2 31 16,-2-3-20-16,2-1 30 0,-3 0-20 15,-1-1 39-15,1-1 8 0,-6 2 27 0,2-1-14 0,-4 0 28 16,-2 2-25-16,-2 1 34 0,0 0-49 0,-5 0 23 15,-2 7-43-15,0-5 36 0,0 5-36 0,0 0 35 16,-8-3-34-16,8 3 34 0,-10 4-11 0,10-4-3 16,-7 8 1-16,3-1-2 0,1 0 0 0,-1 2-33 15,3-2 48-15,0 2-38 0,1 0 33 0,2 1-35 16,2-1 39-16,-1 2-34 0,3 0 36 0,4 0-41 16,-1-2 25-16,0 0-21 0,5-3 32 0,-1 0-33 0,-1-2 26 15,4-2-28-15,-3-2 31 0,4-1-72 16,-1-3 32-16,2-1-50 0,3-3 26 0,-3-4-44 0,5-3 44 15,-2-1-20-15,-3-5 35 0,3-1-27 0,-1-4 1 16,-5 2 10-16,1-1 42 0,-2 2 40 0,-3-1 10 16,-2 5 38-16,0 1 37 0,-2 4-2 15,-2 0-19-15,1 3-23 0,-3 1-26 0,-2 3-5 0,-1 7-7 16,-3-9 49-16,3 9-20 0,0 0-14 0,-16 1-14 16,8 4-12-16,0 2-2 0,-2 3-6 0,1 2 9 15,-1 2-16-15,-1 3 9 0,0 1-10 0,2 3 9 16,-1-1-17-16,-1 3-64 0,0 2-61 0,-1 0-33 0,1-2-53 15,2-2 18-15,-1 0-80 0,1-1-12 16,0-2-44-16,-2 0-66 0,3-4-297 0,0-2-184 16</inkml:trace>
  <inkml:trace contextRef="#ctx0" brushRef="#br0" timeOffset="17568.39">32544 6135 171 0,'9'-10'235'0,"1"2"-69"0,1 1-3 0,2-2-36 16,1 2-20-16,-1 0 9 0,4-1-9 0,-3 3-15 15,2-1-12-15,-2 1 12 0,3 0 6 0,-3 1 1 16,-4 0 2-16,2 1-13 0,-1-1 0 0,-3 2 22 16,2 0-50-16,-10 2 10 0,14-3-45 0,-14 3 27 0,0 0-13 15,11 2 20-15,-11-2-40 0,0 0 27 0,3 8-38 16,-3-8 26-16,-5 11-18 0,4-5 29 0,0 1-36 16,0 2 54-16,-1-1-31 0,2 1 26 0,0 0-48 15,0 0 10-15,2 1 57 0,0 0-46 0,1-1 34 16,0 0-11-16,1-1-13 0,1-1-4 0,-1-1-2 15,3 0 4-15,-1-2 14 0,-6-4 3 0,13 5-5 16,-13-5-13-16,13-2-7 0,-13 2-2 0,12-7-10 0,-3 1 22 16,-4 0-37-16,1-4 26 0,-1 2-30 15,-2-3 17-15,1 1-18 0,-4-1 15 0,0-1-34 16,0 1-13-16,-2-1-72 0,-3 2 23 0,0-3-52 0,-1 4-38 16,0-2-21-16,-2 0-37 0,1 4-28 0,0-1-29 15,1 0-17-15,1 1-212 0,0 0-15 0</inkml:trace>
  <inkml:trace contextRef="#ctx0" brushRef="#br0" timeOffset="17804.39">32967 5986 283 0,'15'7'256'15,"-1"2"-44"-15,-1-1-35 0,-3 3-10 0,2-1-27 16,-3 0-29-16,-2 2 2 0,-1-1-12 0,-3 1-18 16,1-2-13-16,-1 0-16 0,-1 1-1 0,-2-1 6 0,-1 0 4 15,0-3-8-15,-2 1 1 0,3-1 24 0,-1-1 29 16,1-6 35-16,-3 11 33 0,3-11-16 0,-1 6-29 15,1-6-19-15,0 0 15 0,0 0 25 0,0 0-26 16,13-1-29-16,-13 1-23 0,15-7 1 0,-5 2-29 16,1 0-2-16,0 0-17 0,4-1-2 0,-2 1-12 15,1 1 11-15,0 0-25 0,-2 1-36 0,1-1-84 16,-2 1-23-16,-1 1-84 0,1 1-66 16,-11 1-56-16,15 0-107 0,-15 0-237 0,11 2-200 0</inkml:trace>
  <inkml:trace contextRef="#ctx0" brushRef="#br0" timeOffset="17964.39">32614 6396 131 0,'-14'7'655'0,"1"-3"-179"0,4 0-51 16,9-4-67-16,-5 5-29 0,5-5-58 0,7 2-51 16,-7-2-44-16,21 4-29 0,-5-3-37 0,3 1-39 15,0 1-111-15,4-1-51 0,1 0-43 0,-1 1-80 16,-2 1-81-16,-1-2-109 0,-4 0-291 0,0 3-200 15</inkml:trace>
  <inkml:trace contextRef="#ctx0" brushRef="#br0" timeOffset="18111.39">32595 6573 426 0,'-13'5'511'0,"4"-2"-115"16,2 0-14-16,7-3-80 0,-9 4-4 0,9-4-87 0,0 0-6 0,0 0-48 15,7 3-43-15,-7-3-21 0,18-1-20 0,-6 1-13 16,2-1-13-16,2 0-6 0,4-1-58 0,1 1-82 15,-3-2-46-15,5 1-73 0,1 0-78 0,1-2-123 16,-2 0-252-16,2-2-179 0</inkml:trace>
  <inkml:trace contextRef="#ctx0" brushRef="#br0" timeOffset="22959.82">27417 4071 287 0,'-11'-1'385'0,"11"1"-95"0,0 0-11 15,-14 0-50-15,14 0 8 0,0 0-28 0,0 0-32 16,-13-1-15-16,13 1-24 0,0 0-24 0,0 0-11 15,0 0-19-15,0 0-4 0,-11 1-23 0,11-1 5 16,0 0 6-16,0 0 23 0,0 0 5 0,0 0-13 16,4 5 2-16,-4-5-7 0,11 3-9 0,1 0-10 15,-1 0-8-15,2 0-9 0,4-1-7 0,-2 2-5 16,4-1-9-16,-2 0-7 0,-1 1 3 0,2-1 0 16,0-2-21-16,-3 2-55 0,0-1-49 0,-1 0-63 15,-3 0-4-15,1 0-70 0,0 0-35 0,-3 0-68 16,-9-2-401-16,18 2-260 0</inkml:trace>
  <inkml:trace contextRef="#ctx0" brushRef="#br0" timeOffset="23306.2">28017 4114 395 0,'0'0'359'0,"0"0"-26"0,0 0-81 15,-13-1-1-15,13 1-66 0,0 0 3 0,0 0-42 0,0 0-16 16,0 0-9-16,0 0-33 0,16 4-4 0,-16-4-17 15,15 3-13-15,-2-1-14 0,0 0 0 0,1 1-6 16,1-1-45-16,2 1 36 0,-2 0-1 16,0 1-40-16,2-1 36 0,-2 0 1 0,-1-1-37 0,0-1 7 15,-1 0-61-15,0 2-17 0,0-2-57 0,-3 0-30 16,-10-1-55-16,20 2-56 0,-20-2-282 0,17-2-81 16</inkml:trace>
  <inkml:trace contextRef="#ctx0" brushRef="#br0" timeOffset="23615.82">28493 4094 383 0,'0'0'428'16,"0"0"-79"-16,0 0-3 0,-9-2-81 0,9 2 5 15,0 0-73-15,0 0-7 0,0 0-73 0,0 0 7 16,0 0-52-16,0 0 19 0,9-5-45 0,-9 5 22 16,23 0-38-16,-9 1 29 0,6 0-30 0,0 1 43 15,6 0-28-15,-3 1 12 0,5 0-10 0,-2 0-12 16,1 0-4-16,-2-1-1 0,1 1-25 0,-7-1 20 16,0 0-25-16,-2 0 25 0,-2-1-24 0,-2 0 23 15,0 1-21-15,-13-2 17 0,20 1-25 0,-20-1 13 16,15 1-46-16,-15-1-59 0,0 0-40 0,0 0-97 15,0 0-67-15,0 0-75 0,-15 2-348 0,2-1-231 16</inkml:trace>
  <inkml:trace contextRef="#ctx0" brushRef="#br0" timeOffset="24540.84">26058 4550 264 0,'-4'-9'292'16,"4"-1"-19"-16,-1 3-22 0,0 0-6 0,-1 0-60 15,2-1-34-15,0 1-20 0,0 7-32 0,0-11-37 16,0 11-14-16,0 0-23 0,0 0-5 0,0 0 2 16,0 0-16-16,-2 17 65 0,-1 1-14 0,-1 6 12 15,-4 8-14-15,0 8-4 0,-1 2 20 0,-3 3 0 16,2 0-12-16,0 1-3 0,-2 0-19 0,2-1-4 15,0 1-1-15,-1-4-8 0,0-1-1 0,2-1 4 16,-2-1-11-16,2-2 7 0,0-5-7 0,0-2 2 16,1-1-7-16,1 0 3 0,0-6-1 0,3-3-34 15,-2-2-50-15,2-2-65 0,0-3 8 0,0-2-47 16,3-3-97-16,1-8-122 0,-2 8-144 0,2-8-47 0</inkml:trace>
  <inkml:trace contextRef="#ctx0" brushRef="#br0" timeOffset="25257.84">25884 4482 331 0,'-2'-11'338'0,"3"3"-85"16,3 0-51-16,2 0-30 0,4 1-19 0,6-1-14 15,4 3-15-15,3-1-25 0,12 1 19 0,2 0-14 16,11 3-11-16,6 0 0 0,5 2-15 0,3 3-8 15,16 2-12-15,0 1-5 0,4 0-4 0,0 2-18 16,0 2 6-16,-2-2-14 0,1 2 5 0,-3 0-18 16,0 0 13-16,-3-1-13 0,3 0 1 0,-4 2-3 15,0-3 4-15,-2 2-5 0,-2-2 5 0,-2 1-15 16,-12-1-6-16,0-2-1 0,-1 1 0 0,-4 0-13 16,-1-2 9-16,0 1-1 0,-4 0-1 0,1-2 2 15,-8-1-2-15,-1 1-5 0,0-1 11 0,-1-1 0 16,-1 0-8-16,1-1 4 0,-5 2 4 0,-1-3 8 15,0 1-4-15,-1 0 4 0,1 2-2 0,0-2-6 16,-1 2 1-16,5-1 3 0,-1 0-7 0,3 2-4 16,-2-2-20-16,-1 1 4 0,2 2 10 0,-3-2-1 15,3 1 10-15,-3-1 4 0,1-1-3 0,-4 2-2 16,0 0-7-16,-1-2-8 0,1 2 2 0,0-1-23 16,-2 0 27-16,2-1-16 0,-1 1 25 0,-1-1-11 15,0-1 15-15,0 0-12 0,-1 1 17 0,1-1-9 16,-2 0 18-16,-2-1-18 0,-1 0 16 0,-1 0-11 15,-3 0 12-15,1 0-14 0,1-1 19 0,-2 0-16 16,-2-1 14-16,-2 1-17 0,2 0 16 0,-3-1-12 16,1 1 8-16,-2-1-15 0,1 0 13 0,-4 0-6 15,2 1 15-15,0 0-16 0,-3-1 12 0,2 1-17 16,-11 1 39-16,16-4-20 0,-16 4 15 0,14-2-20 16,-14 2 14-16,17-3-25 0,-17 3 24 0,15-1-17 15,-15 1 13-15,18-1-10 0,-18 1 12 0,19-2-14 16,-19 2 8-16,22-1-11 0,-11 0 18 0,1 1-7 15,1 0-1-15,-2-1-8 0,1 0 11 0,-1 1-6 16,2-1 6-16,-3-1 26 0,4 1-2 0,-3 0-4 16,1 0-6-16,-1 0 9 0,-1 0 0 0,1-1 4 15,-2-1-1-15,2 2-5 0,0-1-6 0,-1 1-5 16,1-1-5-16,0-1 4 0,-1 1-5 0,-1 0 17 16,2-1 7-16,0 0-12 0,-2 1-5 0,2 0-2 15,-2-1-3-15,0 1 1 0,1 0-8 0,-2-1 2 16,-8 3 4-16,14-5-3 0,-14 5-5 0,14-3 6 15,-14 3 3-15,9-5-16 0,-9 5-20 0,9-5-11 16,-9 5-30-16,8-6-35 0,-8 6-61 0,0 0-55 16,-3-8-63-16,3 8-254 0,-6-7-37 0</inkml:trace>
  <inkml:trace contextRef="#ctx0" brushRef="#br0" timeOffset="25528.23">29926 4556 264 0,'-1'11'285'16,"0"2"-66"-16,0 4-33 0,-2 5-3 15,-2 3-8-15,3 1-46 0,-2 6-13 0,0 0-28 0,1 3 40 16,-1 1-42-16,2 1 11 0,0 1-21 0,1-1-11 15,1 1-9-15,-2-2-7 0,-1 1-28 0,2-1 20 16,-3 0-26-16,2-2 18 0,-2-2-7 0,-3 0-1 16,1-3 0-16,-3 0-26 0,-1-3-36 15,-2 0-38-15,0-2-78 0,-1-3-54 0,-1-4-89 0,0-2-211 16,-2-2-4-16</inkml:trace>
  <inkml:trace contextRef="#ctx0" brushRef="#br0" timeOffset="26034.01">26225 5211 373 0,'-12'-1'315'0,"3"-1"-49"0,9 2-25 15,-17-2-57-15,17 2-9 0,-11-2-62 0,11 2 7 16,0 0-47-16,0 0 24 0,0 0-30 0,0 0 12 16,15 5-28-16,5-3 20 0,12 4-34 0,14 1-4 15,7 1-7-15,18 2 17 0,7 1-28 0,8 2 15 16,5 0-18-16,4 0 20 0,26 3-27 16,1 1 12-16,4-4-34 0,1 0-7 0,1-1-43 0,1-4 3 15,0 1-47-15,-2-4 24 0,-18-1-9 0,2-1 2 16,0-2 7-16,-4 0 14 0,-2 3 13 0,-5-4 9 15,-6 1 15-15,-4 0 1 0,-10-1 8 0,-16 2 4 16,-4-2 6-16,-7 0 9 0,-11-2 4 0,-9 2 24 16,-5 0 3-16,-2 0-4 0,-5-1-4 0,-5 0-10 15,-2-2-22-15,-14 3-28 0,13-2-38 0,-13 2-81 16,0 0-239-16,2-5 140 0</inkml:trace>
</inkml:ink>
</file>

<file path=ppt/ink/ink5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06.97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9 248 328 0 0,'-7'-6'814'0'0,"1"0"-1"0"0,0-1 1 0 0,0 0-1 0 0,0 0 1 0 0,1-1-1 0 0,0 0 1 0 0,0 0-1 0 0,1 0 1 0 0,0 0-1 0 0,0-1 1 0 0,-2-10-1 0 0,5 15-693 0 0,0-1 0 0 0,0 1 0 0 0,0 0 0 0 0,1 0-1 0 0,0-1 1 0 0,0 1 0 0 0,0 0 0 0 0,1-1 0 0 0,-1 1-1 0 0,1 0 1 0 0,0 0 0 0 0,0-1 0 0 0,0 1 0 0 0,1 0-1 0 0,0 0 1 0 0,-1 0 0 0 0,1 0 0 0 0,1 1 0 0 0,-1-1-1 0 0,1 1 1 0 0,-1-1 0 0 0,1 1 0 0 0,0 0 0 0 0,0 0-1 0 0,7-5 1 0 0,-3 3-81 0 0,0 0-1 0 0,0 0 1 0 0,1 1-1 0 0,0 1 1 0 0,0-1 0 0 0,0 1-1 0 0,0 1 1 0 0,0-1-1 0 0,0 1 1 0 0,1 1-1 0 0,-1 0 1 0 0,1 0 0 0 0,-1 0-1 0 0,1 1 1 0 0,0 0-1 0 0,-1 1 1 0 0,1 0-1 0 0,-1 1 1 0 0,11 2 0 0 0,-11-2-32 0 0,-1 1 1 0 0,1-1 0 0 0,0 2 0 0 0,-1-1-1 0 0,0 1 1 0 0,0 0 0 0 0,0 0 0 0 0,0 1 0 0 0,-1 0-1 0 0,0 0 1 0 0,0 1 0 0 0,0 0 0 0 0,0 0-1 0 0,-1 0 1 0 0,0 0 0 0 0,-1 1 0 0 0,1 0 0 0 0,-1 0-1 0 0,0 0 1 0 0,4 12 0 0 0,-5-5 27 0 0,0 0 0 0 0,-1 0 0 0 0,0 0 1 0 0,-1 0-1 0 0,-1 0 0 0 0,-2 20 0 0 0,1-12 56 0 0,3 31 0 0 0,-1-46-37 0 0,0 1 0 0 0,1-1 0 0 0,0 0 0 0 0,0 0 0 0 0,0 0 1 0 0,1 0-1 0 0,0 0 0 0 0,5 7 0 0 0,7 10 131 0 0,22 22-1 0 0,-26-33-133 0 0,0 1 0 0 0,-1 0 0 0 0,0 0 0 0 0,-1 1 0 0 0,0 0 0 0 0,6 18 0 0 0,-14-31 20 0 0,0 0 0 0 0,-1 0-1 0 0,1-1 1 0 0,-1 1 0 0 0,0 0 0 0 0,0 0 0 0 0,1 0 0 0 0,-1 0 0 0 0,0 0 0 0 0,-1 0 0 0 0,1 0-1 0 0,0 0 1 0 0,0 0 0 0 0,-1 0 0 0 0,0 0 0 0 0,1 0 0 0 0,-1 0 0 0 0,0-1 0 0 0,0 1 0 0 0,-1 2-1 0 0,0-1 1 0 0,-1 0-1 0 0,0 0 0 0 0,1-1 1 0 0,-1 1-1 0 0,0-1 0 0 0,0 0 1 0 0,0 0-1 0 0,0 0 0 0 0,0 0 0 0 0,-6 1 1 0 0,-7 3 79 0 0,-1-1 1 0 0,0-1 0 0 0,-30 4 0 0 0,39-6-85 0 0,-6 0-279 0 0,1-1 1 0 0,-1 0-1 0 0,0-1 0 0 0,0-1 1 0 0,0 0-1 0 0,-21-4 1 0 0,34 4 30 0 0,0 1 0 0 0,0 0 0 0 0,0 0 0 0 0,0-1 0 0 0,-1 1 1 0 0,1 0-1 0 0,0-1 0 0 0,0 1 0 0 0,0-1 0 0 0,0 0 0 0 0,0 1 1 0 0,0-1-1 0 0,1 0 0 0 0,-1 1 0 0 0,0-1 0 0 0,0 0 0 0 0,0 0 1 0 0,0-1-1 0 0,1 1 59 0 0,-1 1 1 0 0,1-1-1 0 0,0 0 1 0 0,0 0 0 0 0,0 1-1 0 0,0-1 1 0 0,0 0-1 0 0,0 0 1 0 0,0 0-1 0 0,0 1 1 0 0,0-1-1 0 0,0 0 1 0 0,0 0-1 0 0,0 1 1 0 0,0-1 0 0 0,1 0-1 0 0,-1 0 1 0 0,0 1-1 0 0,1-2 1 0 0,2-2-633 0 0,0 0-1 0 0,-1 1 1 0 0,1-1 0 0 0,0 1 0 0 0,1 0 0 0 0,5-5 0 0 0,8-5-2875 0 0</inkml:trace>
</inkml:ink>
</file>

<file path=ppt/ink/ink5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07.40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04 932 0 0,'4'-4'503'0'0,"15"-15"3127"0"0,29-38 1 0 0,-47 56-3586 0 0,-1 1-1 0 0,1-1 0 0 0,-1 0 1 0 0,1 0-1 0 0,-1 1 1 0 0,1-1-1 0 0,0 1 0 0 0,-1-1 1 0 0,1 1-1 0 0,0-1 1 0 0,0 1-1 0 0,-1-1 1 0 0,1 1-1 0 0,0-1 0 0 0,0 1 1 0 0,0 0-1 0 0,0 0 1 0 0,-1-1-1 0 0,1 1 0 0 0,0 0 1 0 0,0 0-1 0 0,0 0 1 0 0,0 0-1 0 0,0 0 1 0 0,0 0-1 0 0,0 0 0 0 0,-1 0 1 0 0,1 0-1 0 0,0 1 1 0 0,0-1-1 0 0,0 0 0 0 0,0 0 1 0 0,1 2-1 0 0,0-1 47 0 0,1 0 0 0 0,-1 1 0 0 0,0-1 0 0 0,0 1-1 0 0,0 0 1 0 0,0-1 0 0 0,0 1 0 0 0,0 0 0 0 0,2 4-1 0 0,5 9 270 0 0,-2 1 0 0 0,0 0-1 0 0,0 0 1 0 0,-2 1-1 0 0,7 29 1 0 0,-5-19 16 0 0,1 9 370 0 0,0 1 1 0 0,-3 0-1 0 0,2 62 1 0 0,-7-98-728 0 0,0-1 0 0 0,0 0 0 0 0,0 1 1 0 0,0-1-1 0 0,0 1 0 0 0,0-1 0 0 0,0 0 1 0 0,0 1-1 0 0,0-1 0 0 0,0 1 0 0 0,-1-1 1 0 0,1 0-1 0 0,0 1 0 0 0,0-1 0 0 0,0 0 1 0 0,-1 1-1 0 0,1-1 0 0 0,0 0 0 0 0,0 1 1 0 0,-1-1-1 0 0,1 0 0 0 0,0 0 0 0 0,-1 1 1 0 0,1-1-1 0 0,0 0 0 0 0,-1 0 0 0 0,1 0 1 0 0,0 1-1 0 0,-1-1 0 0 0,1 0 0 0 0,-1 0 1 0 0,1 0-1 0 0,0 0 0 0 0,-1 0 0 0 0,1 0 1 0 0,-1 0-1 0 0,1 0 0 0 0,0 0 0 0 0,-1 0 1 0 0,1 0-1 0 0,-1 0 0 0 0,1 0 1 0 0,0 0-1 0 0,-1 0 0 0 0,1 0 0 0 0,0 0 1 0 0,-1 0-1 0 0,1-1 0 0 0,-1 1 0 0 0,1 0 1 0 0,0 0-1 0 0,-1 0 0 0 0,1-1 0 0 0,-18-12 229 0 0,15 8-269 0 0,0-1 1 0 0,0 0-1 0 0,1 0 0 0 0,0-1 0 0 0,0 1 1 0 0,1 0-1 0 0,0-1 0 0 0,0 1 1 0 0,0-1-1 0 0,1 1 0 0 0,0-1 0 0 0,2-11 1 0 0,0-4-123 0 0,2 0 0 0 0,9-29 0 0 0,-5 24 43 0 0,1 0 1 0 0,2 1-1 0 0,0 1 0 0 0,22-35 0 0 0,-25 47 61 0 0,0 1 1 0 0,0 0-1 0 0,2 1 0 0 0,-1 0 0 0 0,2 1 0 0 0,-1 0 0 0 0,1 0 0 0 0,1 1 0 0 0,0 0 0 0 0,16-8 0 0 0,-23 14 27 0 0,1 1 0 0 0,0-1-1 0 0,0 1 1 0 0,0 0 0 0 0,0 1 0 0 0,0 0-1 0 0,1 0 1 0 0,-1 0 0 0 0,0 0 0 0 0,1 1-1 0 0,-1 0 1 0 0,0 1 0 0 0,1-1 0 0 0,-1 1-1 0 0,8 3 1 0 0,-5-2 5 0 0,0 2 0 0 0,-1-1 0 0 0,0 1 1 0 0,0 1-1 0 0,0-1 0 0 0,0 1 0 0 0,-1 1 0 0 0,0-1 0 0 0,13 14 0 0 0,-11-9 40 0 0,1 0 0 0 0,-2 1-1 0 0,0 1 1 0 0,0 0 0 0 0,-1 0-1 0 0,0 0 1 0 0,-1 1 0 0 0,0 0-1 0 0,-1 0 1 0 0,-1 0 0 0 0,0 1-1 0 0,-1-1 1 0 0,3 27 0 0 0,-6-30 2 0 0,0 0 1 0 0,-1-1-1 0 0,0 1 1 0 0,-1 0 0 0 0,0 0-1 0 0,0-1 1 0 0,-1 1-1 0 0,0-1 1 0 0,-1 0-1 0 0,-7 14 1 0 0,3-10 71 0 0,0-1 0 0 0,-1 0 0 0 0,0 0 0 0 0,-1-1 1 0 0,0 0-1 0 0,-18 14 0 0 0,9-10-440 0 0,-1-1 0 0 0,-1-1 1 0 0,0 0-1 0 0,0-2 0 0 0,-2-1 1 0 0,1 0-1 0 0,-1-2 0 0 0,-33 8 0 0 0,4-8-2902 0 0,17-9-1698 0 0,18-2 870 0 0</inkml:trace>
</inkml:ink>
</file>

<file path=ppt/ink/ink5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08.24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2 1 2576 0 0,'-18'1'1992'0'0,"2"1"1133"0"0,-6 0-1013 0 0,6 0 240 0 0,44 0-2364 0 0,-8-1-232 0 0,10-1-340 0 0,8 2-608 0 0,4 2-612 0 0,0-2-824 0 0,-2-2-661 0 0</inkml:trace>
</inkml:ink>
</file>

<file path=ppt/ink/ink5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09.24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6 67 1784 0 0,'-13'-64'8306'0'0,"12"62"-7440"0"0,0 3-805 0 0,1 0-1 0 0,-1 0 0 0 0,0 0 0 0 0,1 0 1 0 0,-1 0-1 0 0,1 1 0 0 0,-1-1 0 0 0,1 0 1 0 0,0 0-1 0 0,-1 1 0 0 0,1-1 0 0 0,0 0 1 0 0,0 1-1 0 0,0 1 0 0 0,0-1 79 0 0,-3 20 206 0 0,1 0 0 0 0,2-1-1 0 0,0 1 1 0 0,1 0 0 0 0,1 0-1 0 0,1 0 1 0 0,1-1 0 0 0,1 1 0 0 0,1-1-1 0 0,1-1 1 0 0,1 1 0 0 0,11 21-1 0 0,-12-28-253 0 0,1 0-1 0 0,0-1 0 0 0,1 0 1 0 0,0 0-1 0 0,1-1 0 0 0,0 0 1 0 0,1-1-1 0 0,1 0 0 0 0,-1 0 1 0 0,2-2-1 0 0,-1 1 0 0 0,1-2 1 0 0,1 0-1 0 0,0 0 0 0 0,0-1 1 0 0,0-1-1 0 0,25 7 0 0 0,-33-11-66 0 0,1-1 0 0 0,-1 0 0 0 0,1 0 0 0 0,-1 0 0 0 0,1-1 0 0 0,-1 0 0 0 0,1-1 0 0 0,-1 1-1 0 0,1-1 1 0 0,-1 0 0 0 0,1-1 0 0 0,-1 0 0 0 0,11-4 0 0 0,-9 2-13 0 0,-1 0 0 0 0,1-1 0 0 0,-1 0 1 0 0,0 0-1 0 0,0-1 0 0 0,-1 0 0 0 0,1 0 0 0 0,-1 0 0 0 0,6-10 0 0 0,-1-1-51 0 0,0 0-1 0 0,-1 0 0 0 0,-2-1 0 0 0,1 0 1 0 0,-2-1-1 0 0,-1 0 0 0 0,0 0 0 0 0,4-27 1 0 0,19-169 671 0 0,-30 211-579 0 0,-3 15-24 0 0,-2 20 4 0 0,7 213 472 0 0,2-97-3472 0 0,-3-141 2535 0 0,3 53-2704 0 0,-2-55 2389 0 0,0-1-1 0 0,0 1 0 0 0,0-1 0 0 0,0 1 0 0 0,0-1 0 0 0,1 0 0 0 0,3 7 0 0 0</inkml:trace>
</inkml:ink>
</file>

<file path=ppt/ink/ink5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09.62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75 10 108 0 0,'-7'-7'3776'0'0,"6"6"-3461"0"0,1 1 0 0 0,-1-1-1 0 0,-1 1 1 0 0,0 0-223 0 0,1-1-1 0 0,-1 1 1 0 0,0 0 0 0 0,1 0-1 0 0,-1 1 1 0 0,0-1-1 0 0,1 0 1 0 0,-1 1 0 0 0,0-1-1 0 0,1 0 1 0 0,-1 1-1 0 0,1 0 1 0 0,-1-1 0 0 0,1 1-1 0 0,-1 0 1 0 0,1 0-1 0 0,0 0 1 0 0,-1 0 0 0 0,1 0-1 0 0,0 0 1 0 0,0 0-1 0 0,-1 1 1 0 0,1-1 0 0 0,0 0-1 0 0,0 1 1 0 0,0-1-1 0 0,1 1 1 0 0,-1-1 0 0 0,0 1-1 0 0,-1 2 1 0 0,2 1 31 0 0,-1-1 0 0 0,0 1 0 0 0,1 0 0 0 0,0-1 0 0 0,0 1-1 0 0,0 0 1 0 0,0-1 0 0 0,1 1 0 0 0,0-1 0 0 0,0 1 0 0 0,3 8 0 0 0,2 4 147 0 0,15 27 0 0 0,-13-28-166 0 0,19 34 155 0 0,14 30 113 0 0,-37-71-288 0 0,-1 0 1 0 0,0 0-1 0 0,0 1 0 0 0,-1-1 0 0 0,0 1 1 0 0,-1-1-1 0 0,0 11 0 0 0,0-17-43 0 0,-2 1 1 0 0,1-1-1 0 0,0 1 1 0 0,-1-1-1 0 0,1 1 1 0 0,-1-1-1 0 0,0 0 1 0 0,-1 1-1 0 0,1-1 0 0 0,0 0 1 0 0,-1 0-1 0 0,1 0 1 0 0,-1 0-1 0 0,0 0 1 0 0,0 0-1 0 0,-1 0 1 0 0,1-1-1 0 0,-3 3 0 0 0,1-2 16 0 0,-1 1 0 0 0,1-1 0 0 0,-1-1 0 0 0,1 1 0 0 0,-1-1 0 0 0,0 0 0 0 0,0 0 0 0 0,0 0 0 0 0,0-1 0 0 0,-1 0 0 0 0,-4 1 0 0 0,1-1-104 0 0,0 0 0 0 0,1 0 0 0 0,-1-1 0 0 0,0-1-1 0 0,1 1 1 0 0,-1-2 0 0 0,0 1 0 0 0,1-1 0 0 0,-1 0 0 0 0,1-1 0 0 0,0 0-1 0 0,0 0 1 0 0,0-1 0 0 0,-11-6 0 0 0,18 9-207 0 0,-1-1-1 0 0,0 1 1 0 0,1-1-1 0 0,-1 0 1 0 0,1 0 0 0 0,-1 0-1 0 0,1 0 1 0 0,0 0-1 0 0,0 0 1 0 0,0 0 0 0 0,0 0-1 0 0,0 0 1 0 0,0-1-1 0 0,1 1 1 0 0,-1 0-1 0 0,1 0 1 0 0,-1-1 0 0 0,1 1-1 0 0,0 0 1 0 0,0-1-1 0 0,0 1 1 0 0,0 0 0 0 0,0-1-1 0 0,1 1 1 0 0,-1 0-1 0 0,1-1 1 0 0,-1 1 0 0 0,2-3-1 0 0,4-10-2134 0 0</inkml:trace>
</inkml:ink>
</file>

<file path=ppt/ink/ink5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09.99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60 7 76 0 0,'3'-7'6853'0'0,"-48"72"-4631"0"0,-71 138-1 0 0,83-140-2008 0 0,-11 21-688 0 0,22-28-2878 0 0,19-39-2000 0 0</inkml:trace>
</inkml:ink>
</file>

<file path=ppt/ink/ink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4:38.18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01 1576 0 0,'3'-3'70'0'0,"12"-20"7213"0"0,-21 30-6890 0 0,5-6-332 0 0,0 0 1 0 0,1 1 0 0 0,-1-1-1 0 0,1 1 1 0 0,-1-1 0 0 0,1 1 0 0 0,0-1-1 0 0,-1 1 1 0 0,1 0 0 0 0,0-1 0 0 0,0 1-1 0 0,0-1 1 0 0,0 1 0 0 0,0-1 0 0 0,1 3-1 0 0,4 22 482 0 0,-2-16-463 0 0,1 0-1 0 0,0 0 0 0 0,0 0 1 0 0,1-1-1 0 0,0 1 0 0 0,1-1 0 0 0,0-1 1 0 0,0 1-1 0 0,1-1 0 0 0,0 0 1 0 0,1 0-1 0 0,0-1 0 0 0,0 0 1 0 0,0 0-1 0 0,1-1 0 0 0,0 0 1 0 0,0-1-1 0 0,16 7 0 0 0,-23-11-62 0 0,0-1-1 0 0,-1 0 0 0 0,1 1 1 0 0,0-1-1 0 0,0 0 1 0 0,0 0-1 0 0,0 0 1 0 0,0 0-1 0 0,-1 0 1 0 0,1 0-1 0 0,0-1 1 0 0,0 1-1 0 0,0-1 0 0 0,-1 1 1 0 0,1-1-1 0 0,0 0 1 0 0,0 0-1 0 0,-1 1 1 0 0,3-3-1 0 0,-1 1-3 0 0,-1 1 0 0 0,1-1 0 0 0,-1-1 1 0 0,1 1-1 0 0,-1 0 0 0 0,0-1 0 0 0,0 1 0 0 0,0-1 0 0 0,3-4 0 0 0,-2 1 6 0 0,-1 0-1 0 0,1 0 1 0 0,-1 0 0 0 0,0-1-1 0 0,-1 1 1 0 0,1-1 0 0 0,-2 1-1 0 0,1-1 1 0 0,0 0-1 0 0,-1 1 1 0 0,-1-1 0 0 0,1 1-1 0 0,-1-1 1 0 0,0 1-1 0 0,0-1 1 0 0,-1 1 0 0 0,0-1-1 0 0,0 1 1 0 0,0 0 0 0 0,-1 0-1 0 0,0 0 1 0 0,0 0-1 0 0,-7-9 1 0 0,3 6-203 0 0,0 0 1 0 0,0 1-1 0 0,0 0 1 0 0,-1 1-1 0 0,-16-13 0 0 0,15 14-568 0 0,0 0-1 0 0,0 1 0 0 0,-1 0 0 0 0,0 0 0 0 0,-16-4 0 0 0,23 8-13 0 0,-13 1-2399 0 0</inkml:trace>
</inkml:ink>
</file>

<file path=ppt/ink/ink5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10.37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18 112 0 0,'28'-10'2121'0'0,"90"-37"2166"0"0,-106 42-4040 0 0,0-1-1 0 0,-1-1 1 0 0,0 0 0 0 0,0-1-1 0 0,0 0 1 0 0,-1 0 0 0 0,11-14-1 0 0,-18 20-167 0 0,-1-1-1 0 0,0 0 0 0 0,0 0 0 0 0,0 0 0 0 0,-1 0 1 0 0,1 0-1 0 0,-1 0 0 0 0,0 0 0 0 0,0 0 0 0 0,0-1 1 0 0,0 1-1 0 0,0 0 0 0 0,0-7 0 0 0,-1 8-47 0 0,0 0 0 0 0,0 1-1 0 0,-1-1 1 0 0,1 0 0 0 0,0 1-1 0 0,-1-1 1 0 0,1 1 0 0 0,-1-1 0 0 0,0 1-1 0 0,0-1 1 0 0,1 1 0 0 0,-1-1-1 0 0,0 1 1 0 0,0 0 0 0 0,0-1 0 0 0,0 1-1 0 0,0 0 1 0 0,-1 0 0 0 0,1 0-1 0 0,0 0 1 0 0,-1 0 0 0 0,1 0 0 0 0,0 0-1 0 0,-1 0 1 0 0,1 1 0 0 0,-1-1-1 0 0,1 0 1 0 0,-1 1 0 0 0,1-1 0 0 0,-4 1-1 0 0,-3-2 94 0 0,-1 1 0 0 0,1 0 0 0 0,-1 1 0 0 0,1 0 0 0 0,-1 1-1 0 0,1-1 1 0 0,-1 2 0 0 0,1-1 0 0 0,-1 1 0 0 0,1 0 0 0 0,0 1 0 0 0,-11 5 0 0 0,13-6-25 0 0,0 1 0 0 0,0 0 0 0 0,0 0 0 0 0,1 0 0 0 0,0 1 0 0 0,0-1 0 0 0,0 1 0 0 0,0 1 0 0 0,0-1 0 0 0,1 1 0 0 0,0-1 0 0 0,0 1 1 0 0,0 1-1 0 0,0-1 0 0 0,1 0 0 0 0,0 1 0 0 0,-3 8 0 0 0,5-10-75 0 0,0 1 1 0 0,1 0-1 0 0,-1-1 1 0 0,1 1-1 0 0,0 0 0 0 0,0-1 1 0 0,1 1-1 0 0,-1 0 1 0 0,1-1-1 0 0,0 1 1 0 0,1-1-1 0 0,-1 1 0 0 0,1-1 1 0 0,-1 0-1 0 0,1 1 1 0 0,1-1-1 0 0,-1 0 1 0 0,1 0-1 0 0,-1 0 0 0 0,6 5 1 0 0,-2-2-362 0 0,1 0 0 0 0,-1-1 0 0 0,1 0 0 0 0,0 0 0 0 0,1 0 0 0 0,-1-1-1 0 0,1 0 1 0 0,0-1 0 0 0,11 5 0 0 0,-16-8 116 0 0,0 0 0 0 0,0-1 0 0 0,0 1-1 0 0,0-1 1 0 0,0 0 0 0 0,0 1 0 0 0,0-1 0 0 0,0-1-1 0 0,0 1 1 0 0,0 0 0 0 0,0-1 0 0 0,0 1-1 0 0,0-1 1 0 0,0 0 0 0 0,0 0 0 0 0,0 0 0 0 0,0-1-1 0 0,0 1 1 0 0,-1-1 0 0 0,1 1 0 0 0,4-5-1 0 0,3-2-116 0 0,0-1 0 0 0,-1 0 0 0 0,13-18 0 0 0,-18 23 413 0 0,35-50 1198 0 0,-24 33 422 0 0,23-26 0 0 0,-37 46-1652 0 0,0 0-1 0 0,0 1 1 0 0,-1-1 0 0 0,1 1-1 0 0,0-1 1 0 0,0 1 0 0 0,0-1 0 0 0,0 1-1 0 0,0-1 1 0 0,0 1 0 0 0,0 0-1 0 0,0-1 1 0 0,0 1 0 0 0,0 0-1 0 0,0 0 1 0 0,0 0 0 0 0,0 0 0 0 0,0 0-1 0 0,0 0 1 0 0,1 0 0 0 0,-1 0-1 0 0,0 1 1 0 0,0-1 0 0 0,0 0 0 0 0,0 1-1 0 0,1 0 1 0 0,20 13 701 0 0,-16-10-635 0 0,-1 1 0 0 0,-1 0 0 0 0,1 1 0 0 0,-1-1 0 0 0,0 1 0 0 0,0 0-1 0 0,0 0 1 0 0,-1 0 0 0 0,0 1 0 0 0,0-1 0 0 0,3 14 0 0 0,-1 1 44 0 0,-1 1 0 0 0,2 29-1 0 0,-6-42-104 0 0,1 18 1073 0 0,-1-27-1100 0 0,0 0 1 0 0,0 1-1 0 0,0-1 1 0 0,0 0-1 0 0,-1 1 1 0 0,1-1-1 0 0,0 0 1 0 0,0 0-1 0 0,0 1 1 0 0,0-1-1 0 0,0 0 0 0 0,0 1 1 0 0,-1-1-1 0 0,1 0 1 0 0,0 0-1 0 0,0 1 1 0 0,0-1-1 0 0,-1 0 1 0 0,1 0-1 0 0,0 1 1 0 0,0-1-1 0 0,-1 0 1 0 0,1 0-1 0 0,0 0 0 0 0,0 0 1 0 0,-1 1-1 0 0,1-1 1 0 0,0 0-1 0 0,0 0 1 0 0,-1 0-1 0 0,1 0 1 0 0,0 0-1 0 0,-1 0 1 0 0,1 0-1 0 0,0 0 1 0 0,-1 0-1 0 0,1 0 0 0 0,0 0 1 0 0,-1 0-1 0 0,1 0 1 0 0,0 0-1 0 0,-1 0 1 0 0,1 0-1 0 0,0 0 1 0 0,0 0-1 0 0,-1-1 1 0 0,1 1-1 0 0,0 0 1 0 0,-1 0-1 0 0,1 0 0 0 0,0 0 1 0 0,0-1-1 0 0,-1 1 1 0 0,1 0-1 0 0,0 0 1 0 0,0 0-1 0 0,0-1 1 0 0,-1 1-1 0 0,1 0 1 0 0,0-1-1 0 0,0 1 1 0 0,0 0-1 0 0,-1-1 0 0 0,0 0-5 0 0,0-1 0 0 0,0 0 0 0 0,0 0 0 0 0,1 1 0 0 0,-1-1 0 0 0,0 0 0 0 0,1 0 0 0 0,-1 0 0 0 0,1 0 0 0 0,-1 0 0 0 0,1 1-1 0 0,0-1 1 0 0,0 0 0 0 0,0 0 0 0 0,0 0 0 0 0,1-3 0 0 0,5-30-33 0 0,-3 24-332 0 0,0 1 0 0 0,1 0 0 0 0,0 0 0 0 0,1 0 0 0 0,0 1 0 0 0,1 0 0 0 0,9-13 0 0 0,-10 17-327 0 0,-1 0 0 0 0,1-1 0 0 0,0 2 0 0 0,1-1 0 0 0,-1 1-1 0 0,1 0 1 0 0,0 0 0 0 0,0 0 0 0 0,0 1 0 0 0,1 0 0 0 0,-1 0 0 0 0,9-2 0 0 0,-1 3-1392 0 0</inkml:trace>
</inkml:ink>
</file>

<file path=ppt/ink/ink5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10.91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91 14 1860 0 0,'-3'-2'1744'0'0,"-3"0"-831"0"0,0 0 0 0 0,0 0 0 0 0,-1 0 1 0 0,-6-1-1 0 0,10 3-784 0 0,1 0 1 0 0,0 0-1 0 0,0 0 1 0 0,0 0-1 0 0,0 0 1 0 0,-1 0 0 0 0,1 1-1 0 0,0-1 1 0 0,0 1-1 0 0,0 0 1 0 0,0-1-1 0 0,0 1 1 0 0,0 0-1 0 0,0 0 1 0 0,-3 2-1 0 0,4-2-66 0 0,0 1 0 0 0,1-1 0 0 0,-1 0-1 0 0,0 0 1 0 0,1 0 0 0 0,-1 0 0 0 0,1 1 0 0 0,-1-1-1 0 0,1 0 1 0 0,-1 1 0 0 0,1-1 0 0 0,0 0 0 0 0,0 1-1 0 0,0-1 1 0 0,0 1 0 0 0,0-1 0 0 0,0 0 0 0 0,0 1-1 0 0,0-1 1 0 0,1 2 0 0 0,5 25 548 0 0,2-10-307 0 0,-1 0-1 0 0,2-1 0 0 0,16 24 0 0 0,-13-22-91 0 0,18 40-1 0 0,-25-48-135 0 0,0 1-1 0 0,-1 0 1 0 0,-1 0-1 0 0,0 0 1 0 0,0 1 0 0 0,1 19-1 0 0,-4-31-81 0 0,0 0-1 0 0,0 0 1 0 0,0 0-1 0 0,-1 0 0 0 0,1 0 1 0 0,0 0-1 0 0,-1 0 1 0 0,1 0-1 0 0,0 0 0 0 0,-1 0 1 0 0,1-1-1 0 0,-1 1 1 0 0,1 0-1 0 0,-1 0 0 0 0,0-1 1 0 0,1 1-1 0 0,-1 0 1 0 0,0 0-1 0 0,0-1 1 0 0,1 1-1 0 0,-1-1 0 0 0,0 1 1 0 0,-1 0-1 0 0,1-1-37 0 0,1 0 0 0 0,-1 1-1 0 0,0-1 1 0 0,1 0 0 0 0,-1 0 0 0 0,1 0-1 0 0,-1 0 1 0 0,0 1 0 0 0,1-1 0 0 0,-1 0-1 0 0,1 0 1 0 0,-1 0 0 0 0,0-1-1 0 0,1 1 1 0 0,-1 0 0 0 0,1 0 0 0 0,-1 0-1 0 0,1 0 1 0 0,-1 0 0 0 0,0-1 0 0 0,1 1-1 0 0,-1 0 1 0 0,1-1 0 0 0,-1 1 0 0 0,1 0-1 0 0,-1-1 1 0 0,1 1 0 0 0,0 0 0 0 0,-1-1-1 0 0,1 1 1 0 0,-1-1 0 0 0,1 1-1 0 0,0-1 1 0 0,-1 1 0 0 0,1-1 0 0 0,0 1-1 0 0,-1-2 1 0 0,-1-7-213 0 0,0 0-1 0 0,0 0 1 0 0,1 0-1 0 0,0 0 1 0 0,1-12 0 0 0,-3-16 538 0 0,3 36-262 0 0,0 1-1 0 0,0-1 1 0 0,0 1 0 0 0,0-1 0 0 0,-1 1 0 0 0,1-1-1 0 0,0 1 1 0 0,0-1 0 0 0,-1 1 0 0 0,1 0 0 0 0,0-1 0 0 0,-1 1-1 0 0,1 0 1 0 0,0-1 0 0 0,-1 1 0 0 0,1 0 0 0 0,-1-1 0 0 0,1 1-1 0 0,0 0 1 0 0,-1 0 0 0 0,1 0 0 0 0,-1-1 0 0 0,1 1 0 0 0,-1 0-1 0 0,1 0 1 0 0,-1 0 0 0 0,1 0 0 0 0,-1 0 0 0 0,1 0 0 0 0,-1 0-1 0 0,1 0 1 0 0,-1 0 0 0 0,0 0 0 0 0,-15 3 275 0 0,15-3-320 0 0,-5 2 92 0 0,-1 0 0 0 0,1 1-1 0 0,0-1 1 0 0,0 1 0 0 0,1 1 0 0 0,-1-1 0 0 0,1 1 0 0 0,0 0 0 0 0,-1 0 0 0 0,-7 9 0 0 0,-1 2 26 0 0,1 1 0 0 0,-11 19 0 0 0,19-28-330 0 0,0 1 0 0 0,1 0 0 0 0,-1 0 0 0 0,2 0 1 0 0,-6 16-1 0 0,8-20-457 0 0,0 0 1 0 0,1 0-1 0 0,-1 1 1 0 0,1-1-1 0 0,0 0 1 0 0,0 0-1 0 0,0 0 1 0 0,2 8-1 0 0</inkml:trace>
</inkml:ink>
</file>

<file path=ppt/ink/ink5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11.29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43 1548 0 0,'165'-33'8176'0'0,"84"-1"-5107"0"0,-196 30-3066 0 0,51-6-1538 0 0,-85 7-1332 0 0,29-9 0 0 0,-32 7-256 0 0</inkml:trace>
  <inkml:trace contextRef="#ctx0" brushRef="#br0" timeOffset="1">462 4 1492 0 0,'-4'-1'1751'0'0,"1"1"-1436"0"0,0-1-1 0 0,0 1 1 0 0,-1-1 0 0 0,1 1-1 0 0,0 0 1 0 0,0 0 0 0 0,0 0 0 0 0,-1 1-1 0 0,1-1 1 0 0,0 1 0 0 0,0 0-1 0 0,0 0 1 0 0,0 0 0 0 0,0 0-1 0 0,0 0 1 0 0,0 1 0 0 0,0-1-1 0 0,0 1 1 0 0,1 0 0 0 0,-1 0 0 0 0,-3 3-1 0 0,3-2-151 0 0,0 0 0 0 0,1 1 0 0 0,-1-1 0 0 0,1 0-1 0 0,0 1 1 0 0,0 0 0 0 0,1-1 0 0 0,-1 1 0 0 0,1 0 0 0 0,-1 0-1 0 0,1 0 1 0 0,0 0 0 0 0,0 8 0 0 0,0 2 137 0 0,1 1 1 0 0,3 23-1 0 0,-1-7 10 0 0,14 118-2961 0 0,-13-113-1961 0 0,-2-20 622 0 0</inkml:trace>
</inkml:ink>
</file>

<file path=ppt/ink/ink5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12.40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8 5 1760 0 0,'-10'-4'5112'0'0,"8"4"-4880"0"0,0 4 15 0 0,0-1 1 0 0,0 1-1 0 0,0 0 1 0 0,1 0-1 0 0,-1 0 1 0 0,1 0-1 0 0,0 0 1 0 0,0 0-1 0 0,1 0 1 0 0,-1 1-1 0 0,1-1 1 0 0,0 0-1 0 0,0 0 1 0 0,0 0-1 0 0,2 8 0 0 0,1 11 610 0 0,9 33-1 0 0,-1-21-158 0 0,1-1 1 0 0,31 58-1 0 0,-12-25 1663 0 0,-30-67-2290 0 0,-1 1 0 0 0,0 0 0 0 0,0 0 1 0 0,1-1-1 0 0,-1 1 0 0 0,0 0 0 0 0,1-1 1 0 0,-1 1-1 0 0,1 0 0 0 0,-1-1 0 0 0,1 1 1 0 0,-1 0-1 0 0,1-1 0 0 0,-1 1 0 0 0,1-1 1 0 0,0 1-1 0 0,-1-1 0 0 0,1 1 0 0 0,0-1 1 0 0,-1 0-1 0 0,1 1 0 0 0,0-1 0 0 0,0 0 1 0 0,-1 1-1 0 0,1-1 0 0 0,0 0 0 0 0,0 0 1 0 0,1 0-1 0 0,-1 0-25 0 0,0-1-1 0 0,1 1 1 0 0,-1-1-1 0 0,0 1 1 0 0,1-1 0 0 0,-1 0-1 0 0,0 0 1 0 0,0 1-1 0 0,0-1 1 0 0,1 0 0 0 0,-1 0-1 0 0,0 0 1 0 0,0 0-1 0 0,1-2 1 0 0,3-4 12 0 0,0 0-1 0 0,-1-1 1 0 0,1 1 0 0 0,2-10 0 0 0,6-18 66 0 0,8-40 1 0 0,6-19-791 0 0,-26 92 584 0 0,1 4 1 0 0,0 0 68 0 0,-1-1 1 0 0,1 1-1 0 0,-1 0 0 0 0,1 1 0 0 0,-1-1 1 0 0,1 0-1 0 0,-1 0 0 0 0,0 0 1 0 0,0 1-1 0 0,-1-1 0 0 0,2 3 0 0 0,2 6 9 0 0,41 93-42 0 0,6 14 987 0 0,-51-118-925 0 0,0 1 1 0 0,1-1 0 0 0,-1 0 0 0 0,0 1 0 0 0,0-1 0 0 0,1 0 0 0 0,-1 1 0 0 0,0-1 0 0 0,0 0 0 0 0,1 1-1 0 0,-1-1 1 0 0,0 0 0 0 0,1 0 0 0 0,-1 1 0 0 0,1-1 0 0 0,-1 0 0 0 0,0 0 0 0 0,1 0 0 0 0,-1 0-1 0 0,1 1 1 0 0,-1-1 0 0 0,0 0 0 0 0,1 0 0 0 0,-1 0 0 0 0,1 0 0 0 0,-1 0 0 0 0,1 0 0 0 0,-1 0 0 0 0,0 0-1 0 0,1 0 1 0 0,-1 0 0 0 0,1 0 0 0 0,-1-1 0 0 0,0 1 0 0 0,1 0 0 0 0,-1 0 0 0 0,1 0 0 0 0,-1 0-1 0 0,0-1 1 0 0,1 1 0 0 0,-1 0 0 0 0,0 0 0 0 0,1-1 0 0 0,-1 1 0 0 0,0 0 0 0 0,1-1 0 0 0,-1 1 0 0 0,0 0-1 0 0,0-1 1 0 0,1 1 0 0 0,-1 0 0 0 0,0-1 0 0 0,0 1 0 0 0,1-1 0 0 0,17-28 11 0 0,-16 24 19 0 0,16-21-329 0 0,0 2-1 0 0,2 0 0 0 0,43-41 1 0 0,-31 32 43 0 0,-13 15-89 0 0,32-26 0 0 0,-49 43 255 0 0,1-1-14 0 0,-3 2 85 0 0,0 0 0 0 0,0-1 0 0 0,0 1-1 0 0,0 0 1 0 0,0 0 0 0 0,1 0 0 0 0,-1 0 0 0 0,0-1-1 0 0,0 1 1 0 0,0 0 0 0 0,0 0 0 0 0,1 0 0 0 0,-1 0-1 0 0,0 0 1 0 0,0 0 0 0 0,0 0 0 0 0,1 0 0 0 0,-1-1-1 0 0,0 1 1 0 0,0 0 0 0 0,0 0 0 0 0,1 0 0 0 0,-1 0-1 0 0,0 0 1 0 0,0 0 0 0 0,0 0 0 0 0,1 0 0 0 0,-1 0-1 0 0,0 0 1 0 0,0 0 0 0 0,0 1 0 0 0,1-1-1 0 0,-1 0 1 0 0,0 0 0 0 0,3 2 1 0 0,-1 1 0 0 0,0 0 0 0 0,-1-1 0 0 0,1 1 0 0 0,0 0 0 0 0,-1 0 0 0 0,0 0 0 0 0,1 0 0 0 0,-1 0-1 0 0,-1 1 1 0 0,1-1 0 0 0,1 6 0 0 0,-1 1-2 0 0,28 141-774 0 0,-18-53-6598 0 0,-11-96 6772 0 0,2 9-1408 0 0,4 4-3973 0 0</inkml:trace>
</inkml:ink>
</file>

<file path=ppt/ink/ink5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12.79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9 35 892 0 0,'0'-2'1830'0'0,"1"0"-1560"0"0,-1 1 0 0 0,0-1 0 0 0,0 1 0 0 0,0 0 0 0 0,0-1-1 0 0,0 1 1 0 0,0-1 0 0 0,0 1 0 0 0,0-1 0 0 0,-1 1 0 0 0,1 0 0 0 0,-1-1 0 0 0,1 1-1 0 0,-1 0 1 0 0,1-1 0 0 0,-1 1 0 0 0,0 0 0 0 0,0 0 0 0 0,1-1 0 0 0,-1 1 0 0 0,-1-1-1 0 0,0 1 352 0 0,-14 6 728 0 0,14-2-1228 0 0,-1 0 0 0 0,1 0 0 0 0,0 1 0 0 0,0-1 0 0 0,0 1 0 0 0,0-1 1 0 0,1 1-1 0 0,-1-1 0 0 0,1 1 0 0 0,0 0 0 0 0,0 0 0 0 0,0 0 0 0 0,1 0 0 0 0,-1-1 0 0 0,1 1 0 0 0,0 0 0 0 0,0 0 0 0 0,0 0 1 0 0,1 0-1 0 0,0 0 0 0 0,-1 0 0 0 0,3 5 0 0 0,1 2 52 0 0,0-1 1 0 0,0 1-1 0 0,2-1 1 0 0,-1 0-1 0 0,1-1 1 0 0,0 1-1 0 0,1-1 1 0 0,0-1-1 0 0,1 1 1 0 0,-1-1-1 0 0,2 0 1 0 0,-1-1-1 0 0,1 0 1 0 0,0 0-1 0 0,12 6 0 0 0,-19-12-138 0 0,-1-1-1 0 0,0 1 0 0 0,0-1 0 0 0,1 1 0 0 0,-1-1 0 0 0,0 0 1 0 0,1 1-1 0 0,-1-1 0 0 0,0 0 0 0 0,1 0 0 0 0,-1 0 0 0 0,0 0 1 0 0,1 0-1 0 0,-1 0 0 0 0,0 0 0 0 0,1 0 0 0 0,-1-1 0 0 0,0 1 1 0 0,1-1-1 0 0,-1 1 0 0 0,0-1 0 0 0,1 1 0 0 0,-1-1 0 0 0,0 1 1 0 0,0-1-1 0 0,0 0 0 0 0,0 0 0 0 0,0 0 0 0 0,0 0 0 0 0,0 0 0 0 0,0 0 1 0 0,1-2-1 0 0,0 1-23 0 0,-1 0 0 0 0,1 0 1 0 0,-1 0-1 0 0,0 0 0 0 0,0 0 1 0 0,0 0-1 0 0,-1 0 0 0 0,1 0 1 0 0,0-1-1 0 0,-1 1 0 0 0,1 0 0 0 0,-1 0 1 0 0,0-1-1 0 0,0 1 0 0 0,0 0 1 0 0,0-1-1 0 0,0-2 0 0 0,-3-2-75 0 0,0-1 0 0 0,0 1 0 0 0,0-1 1 0 0,-1 1-1 0 0,0 0 0 0 0,-1 1 0 0 0,0-1 0 0 0,0 1 0 0 0,0 0 0 0 0,-7-6 0 0 0,-9-8-3231 0 0,-32-22 1 0 0,47 38 2207 0 0,6 3 948 0 0,-1 1 1 0 0,-1-3-1246 0 0,2 3 1246 0 0,0-1 0 0 0,-1 1-1 0 0,1-1 1 0 0,0 1 0 0 0,0 0-1 0 0,0-1 1 0 0,0 1 0 0 0,0-1-1 0 0,0 1 1 0 0,0 0-1 0 0,0-1 1 0 0,0 1 0 0 0,0-1-1 0 0,0 1 1 0 0,0 0 0 0 0,0-1-1 0 0,1 1 1 0 0,-1-1-1 0 0,0 1 1 0 0,5-8-2171 0 0</inkml:trace>
</inkml:ink>
</file>

<file path=ppt/ink/ink5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13.15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4 720 0 0,'5'1'1255'0'0,"1"0"-871"0"0,1 1 1 0 0,0 0 0 0 0,0 0-1 0 0,-1 0 1 0 0,0 1-1 0 0,1 0 1 0 0,-1 0-1 0 0,0 0 1 0 0,0 1-1 0 0,-1 0 1 0 0,1 0-1 0 0,-1 1 1 0 0,0 0 0 0 0,0 0-1 0 0,0 0 1 0 0,-1 0-1 0 0,5 7 1 0 0,11 24 1332 0 0,32 73 0 0 0,-34-68-1144 0 0,-8-18 617 0 0,2 0-1 0 0,18 27 1 0 0,-30-50-1131 0 0,0 1 0 0 0,0-1 0 0 0,0 1 0 0 0,1-1 0 0 0,-1 0 0 0 0,0 1 0 0 0,1-1-1 0 0,-1 0 1 0 0,0 1 0 0 0,0-1 0 0 0,1 0 0 0 0,-1 1 0 0 0,1-1 0 0 0,-1 0 0 0 0,0 0 0 0 0,1 0 0 0 0,-1 1 0 0 0,1-1 0 0 0,-1 0 0 0 0,0 0 0 0 0,1 0 0 0 0,-1 0 0 0 0,1 0 0 0 0,-1 0 0 0 0,1 1 0 0 0,-1-1 0 0 0,1 0 0 0 0,-1 0 0 0 0,0-1-1 0 0,1 1 1 0 0,-1 0 0 0 0,1 0 0 0 0,-1 0 0 0 0,1 0 0 0 0,-1 0 0 0 0,0 0 0 0 0,2-1 0 0 0,-1 0 6 0 0,0 0-1 0 0,0-1 1 0 0,1 1 0 0 0,-1-1-1 0 0,0 1 1 0 0,0-1 0 0 0,0 1-1 0 0,0-1 1 0 0,-1 0 0 0 0,2-1-1 0 0,10-42 56 0 0,0-36-829 0 0,12-63-5679 0 0,-22 136 5164 0 0,1 0-1 0 0,-1 0 1 0 0,1 0 0 0 0,5-8-1 0 0,0 3-2696 0 0</inkml:trace>
  <inkml:trace contextRef="#ctx0" brushRef="#br0" timeOffset="1">526 0 1492 0 0,'6'8'748'0'0,"0"-1"0"0"0,0 2-1 0 0,-1-1 1 0 0,0 0 0 0 0,-1 1 0 0 0,0 0 0 0 0,0 0-1 0 0,-1 1 1 0 0,0-1 0 0 0,0 1 0 0 0,1 13-1 0 0,1 42 593 0 0,-6 0-3423 0 0,0-14-2689 0 0</inkml:trace>
</inkml:ink>
</file>

<file path=ppt/ink/ink5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13.48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3 159 1976 0 0,'-8'-18'1788'0'0,"-2"4"-288"0"0,4-2-331 0 0,-2 1-257 0 0,2 1-164 0 0,-2-1-144 0 0,0 3-104 0 0,2 1-136 0 0,0-2-60 0 0,0 4-120 0 0,2 2-284 0 0,-2-7-968 0 0</inkml:trace>
</inkml:ink>
</file>

<file path=ppt/ink/ink5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13.87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38 1220 0 0,'4'7'639'0'0,"-1"-1"0"0"0,2 0-1 0 0,-1 0 1 0 0,1 0 0 0 0,0-1 0 0 0,0 1-1 0 0,0-1 1 0 0,1 0 0 0 0,7 4 0 0 0,-7-5-442 0 0,1 0 1 0 0,-1-1 0 0 0,1 0-1 0 0,0-1 1 0 0,1 1 0 0 0,-1-1-1 0 0,0-1 1 0 0,1 1-1 0 0,-1-1 1 0 0,0 0 0 0 0,1-1-1 0 0,-1 0 1 0 0,1 0 0 0 0,8-2-1 0 0,-9 1-109 0 0,0 0 0 0 0,-1-1 0 0 0,1 0 0 0 0,-1 0 0 0 0,0 0 0 0 0,11-6 0 0 0,-14 7-58 0 0,-1-1 0 0 0,1 1 0 0 0,0-1 1 0 0,-1 0-1 0 0,1 0 0 0 0,-1 0 0 0 0,0 0 0 0 0,0 0 0 0 0,0-1 1 0 0,0 1-1 0 0,0-1 0 0 0,0 1 0 0 0,-1-1 0 0 0,1 0 0 0 0,2-5 0 0 0,-4 7-18 0 0,0 0-1 0 0,1 0 0 0 0,-1 0 0 0 0,0 0 1 0 0,0 0-1 0 0,0-1 0 0 0,0 1 0 0 0,0 0 1 0 0,0 0-1 0 0,0 0 0 0 0,0 0 0 0 0,0 0 1 0 0,0 0-1 0 0,-1 0 0 0 0,1 0 0 0 0,0 0 1 0 0,-1 0-1 0 0,1 0 0 0 0,-1 0 0 0 0,1 0 1 0 0,-1 0-1 0 0,1 0 0 0 0,-1 0 0 0 0,0 0 1 0 0,1 1-1 0 0,-1-1 0 0 0,0 0 0 0 0,0 0 1 0 0,0 1-1 0 0,1-1 0 0 0,-1 1 0 0 0,0-1 1 0 0,0 0-1 0 0,0 1 0 0 0,0 0 1 0 0,0-1-1 0 0,0 1 0 0 0,0 0 0 0 0,0-1 1 0 0,0 1-1 0 0,-1 0 0 0 0,1 0 0 0 0,-2 0 1 0 0,-3-1 49 0 0,0 1 0 0 0,-1 0 0 0 0,1 0 0 0 0,0 1 0 0 0,-1 0 0 0 0,-8 2 0 0 0,8-1 39 0 0,1 0 0 0 0,0 0 1 0 0,0 1-1 0 0,0 0 0 0 0,0 0 0 0 0,0 0 0 0 0,1 1 0 0 0,-1 0 0 0 0,1 0 1 0 0,0 0-1 0 0,0 0 0 0 0,1 1 0 0 0,-1 0 0 0 0,-3 6 0 0 0,6-8-14 0 0,0 0 0 0 0,0 0 0 0 0,0 1 0 0 0,1-1 0 0 0,0 0 0 0 0,-1 1 0 0 0,1-1 0 0 0,1 1 0 0 0,-1-1 0 0 0,0 1 0 0 0,1-1 0 0 0,0 1-1 0 0,0-1 1 0 0,0 1 0 0 0,0 0 0 0 0,0-1 0 0 0,1 1 0 0 0,0-1 0 0 0,0 1 0 0 0,0-1 0 0 0,0 1 0 0 0,0-1 0 0 0,1 0 0 0 0,-1 0 0 0 0,1 1 0 0 0,0-1 0 0 0,3 4 0 0 0,0-1-37 0 0,-1 0 0 0 0,1 0 0 0 0,1 0 1 0 0,-1-1-1 0 0,1 1 0 0 0,0-1 1 0 0,0-1-1 0 0,1 1 0 0 0,-1-1 1 0 0,1 0-1 0 0,0-1 0 0 0,0 0 1 0 0,0 0-1 0 0,1 0 0 0 0,-1-1 1 0 0,1 0-1 0 0,-1 0 0 0 0,1-1 1 0 0,0 0-1 0 0,0-1 0 0 0,-1 1 1 0 0,1-1-1 0 0,0-1 0 0 0,0 0 1 0 0,-1 0-1 0 0,1 0 0 0 0,0-1 0 0 0,-1 0 1 0 0,1-1-1 0 0,-1 1 0 0 0,0-1 1 0 0,0-1-1 0 0,0 1 0 0 0,0-1 1 0 0,-1-1-1 0 0,0 1 0 0 0,11-10 1 0 0,3-10 52 0 0,0 0-1 0 0,-2-2 1 0 0,-1 0 0 0 0,-1-1 0 0 0,-2-1 0 0 0,12-29-1 0 0,-26 57-99 0 0,1-1-1 0 0,-1 1 0 0 0,0-1 0 0 0,0 1 0 0 0,0-1 0 0 0,1 1 0 0 0,-1-1 0 0 0,0 1 0 0 0,0-1 1 0 0,1 1-1 0 0,-1 0 0 0 0,0-1 0 0 0,1 1 0 0 0,-1 0 0 0 0,1-1 0 0 0,-1 1 0 0 0,1 0 0 0 0,-1-1 1 0 0,0 1-1 0 0,1 0 0 0 0,-1 0 0 0 0,1-1 0 0 0,6 7 9 0 0,-1 17 25 0 0,-5 31-167 0 0,0-22 604 0 0,-1 1-1 0 0,-1-1 0 0 0,-9 49 1 0 0,8-71-814 0 0,-1 1 1 0 0,0-1 0 0 0,-1 0 0 0 0,0 0 0 0 0,-11 18-1 0 0,10-21-459 0 0,0 0 1 0 0,0 0-1 0 0,-1-1 0 0 0,0 0 0 0 0,0 0 0 0 0,-1 0 0 0 0,1-1 0 0 0,-12 7 0 0 0,6-3-2997 0 0,-2-2-1657 0 0</inkml:trace>
</inkml:ink>
</file>

<file path=ppt/ink/ink5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14.23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01 0 1228 0 0,'-74'44'11631'0'0,"72"-43"-10623"0"0,2 0-928 0 0,0 0 0 0 0,0-1 0 0 0,0 1 0 0 0,1 0 0 0 0,-1-1 0 0 0,0 1 0 0 0,0-1 0 0 0,1 1 0 0 0,-1 0 0 0 0,0-1 0 0 0,1 1 0 0 0,-1-1 0 0 0,1 1 0 0 0,-1-1 1 0 0,1 1-1 0 0,-1-1 0 0 0,1 1 0 0 0,-1-1 0 0 0,1 1 0 0 0,-1-1 0 0 0,1 0 0 0 0,-1 1 0 0 0,1-1 0 0 0,1 1 0 0 0,132 23 1107 0 0,-41-8-3142 0 0,0 2-5278 0 0,-68-12 1770 0 0</inkml:trace>
  <inkml:trace contextRef="#ctx0" brushRef="#br0" timeOffset="1">85 416 2264 0 0,'-74'38'9828'0'0,"74"-37"-9640"0"0,-1-1 0 0 0,0 0 0 0 0,1 0-1 0 0,-1 1 1 0 0,0-1 0 0 0,1 1-1 0 0,-1-1 1 0 0,1 0 0 0 0,-1 1-1 0 0,1-1 1 0 0,-1 1 0 0 0,1 0 0 0 0,-1-1-1 0 0,1 1 1 0 0,0-1 0 0 0,-1 1-1 0 0,1 0 1 0 0,-1 0 0 0 0,1 0-64 0 0,1-1 0 0 0,-1 1 0 0 0,0-1 0 0 0,1 1 0 0 0,-1-1 0 0 0,1 1 0 0 0,-1-1 0 0 0,1 0 0 0 0,-1 1 0 0 0,1-1 0 0 0,-1 0 0 0 0,1 1 0 0 0,0-1 0 0 0,-1 0 0 0 0,1 0 0 0 0,-1 0 0 0 0,1 1 0 0 0,0-1 0 0 0,-1 0 0 0 0,1 0 0 0 0,-1 0 0 0 0,1 0 0 0 0,0 0-1 0 0,-1 0 1 0 0,1 0 0 0 0,-1 0 0 0 0,1-1 0 0 0,1 1 0 0 0,345-24 4580 0 0,-256 16-4541 0 0,22-3-2483 0 0,-42 4-3608 0 0,-56 3 383 0 0</inkml:trace>
</inkml:ink>
</file>

<file path=ppt/ink/ink5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28.04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1 245 1104 0 0,'-15'1'1894'0'0,"2"0"-362"0"0,0 1 0 0 0,-18 4 1 0 0,31-6-1485 0 0,0 0 1 0 0,-1 0 0 0 0,1 0-1 0 0,0 0 1 0 0,0 0-1 0 0,-1 0 1 0 0,1 0 0 0 0,0 0-1 0 0,-1 0 1 0 0,1 0-1 0 0,0 0 1 0 0,0 0 0 0 0,-1 0-1 0 0,1 0 1 0 0,0 0-1 0 0,0 0 1 0 0,-1 1 0 0 0,1-1-1 0 0,0 0 1 0 0,0 0 0 0 0,0 0-1 0 0,-1 0 1 0 0,1 0-1 0 0,0 1 1 0 0,0-1 0 0 0,0 0-1 0 0,-1 0 1 0 0,1 0-1 0 0,0 0 1 0 0,0 1 0 0 0,0-1-1 0 0,0 0 1 0 0,0 0-1 0 0,-1 1 1 0 0,1-1 0 0 0,0 0-1 0 0,0 0 1 0 0,0 1 0 0 0,0-1-1 0 0,0 0 1 0 0,12 4 860 0 0,24 0 74 0 0,275-17 1710 0 0,-213 6-2254 0 0,1716-128 3886 0 0,-1094 57-4104 0 0,-670 71-851 0 0,49-6-1265 0 0,-38-1-7490 0 0</inkml:trace>
</inkml:ink>
</file>

<file path=ppt/ink/ink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4:38.56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5 62 68 0 0,'19'-12'2613'0'0,"-1"0"1"0"0,27-25-1 0 0,-31 44-2416 0 0,-13-5-169 0 0,0-1-1 0 0,0 1 1 0 0,1-1 0 0 0,-1 1 0 0 0,0 0-1 0 0,0-1 1 0 0,0 1 0 0 0,-1 0 0 0 0,1 0-1 0 0,0-1 1 0 0,-1 1 0 0 0,1 0 0 0 0,-1 3-1 0 0,2 0 82 0 0,15 38 831 0 0,25 44 0 0 0,15 39 107 0 0,-56-122-992 0 0,1 1 0 0 0,-1 0-1 0 0,1-1 1 0 0,-1 1 0 0 0,-1 0 0 0 0,1 0-1 0 0,-1 0 1 0 0,0 0 0 0 0,0 0 0 0 0,0 0 0 0 0,0 0-1 0 0,-1 0 1 0 0,0-1 0 0 0,0 1 0 0 0,-1 0-1 0 0,1 0 1 0 0,-4 6 0 0 0,2-6-23 0 0,0-1-1 0 0,0 0 1 0 0,-1 0 0 0 0,1 0 0 0 0,-1 0 0 0 0,0 0-1 0 0,0-1 1 0 0,0 1 0 0 0,0-1 0 0 0,-1 0-1 0 0,0-1 1 0 0,1 1 0 0 0,-1-1 0 0 0,0 0-1 0 0,-10 3 1 0 0,5-2-22 0 0,0-1-1 0 0,-1 0 1 0 0,1 0 0 0 0,-1-1-1 0 0,0 0 1 0 0,-10-2 0 0 0,17 1-174 0 0,0 0 1 0 0,0 0 0 0 0,0-1 0 0 0,0 1-1 0 0,0-1 1 0 0,0 0 0 0 0,1 0 0 0 0,-1-1-1 0 0,0 1 1 0 0,0-1 0 0 0,1 0 0 0 0,-1 0-1 0 0,1 0 1 0 0,0 0 0 0 0,0-1 0 0 0,0 1-1 0 0,0-1 1 0 0,-5-5 0 0 0,7 6-118 0 0,0 0-1 0 0,0 0 1 0 0,1 0 0 0 0,-1 0 0 0 0,1 0-1 0 0,-1 0 1 0 0,1 0 0 0 0,0 0-1 0 0,0 0 1 0 0,-1 0 0 0 0,1 0 0 0 0,1 0-1 0 0,-1 0 1 0 0,0 0 0 0 0,1 0-1 0 0,0-2 1 0 0,5-12-2522 0 0</inkml:trace>
</inkml:ink>
</file>

<file path=ppt/ink/ink5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28.97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79 1 1068 0 0,'-170'37'13693'0'0,"161"-33"-12128"0"0,13 1-716 0 0,11 0-356 0 0,36 1 148 0 0,80 0 0 0 0,-35-4-391 0 0,891 43 611 0 0,-472-36-2894 0 0,-478-8-733 0 0</inkml:trace>
</inkml:ink>
</file>

<file path=ppt/ink/ink5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29.78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200 688 0 0,'0'0'8760'0'0,"1"-2"-7958"0"0,0 0-678 0 0,1 0 0 0 0,-1 0 0 0 0,1 1 1 0 0,0-1-1 0 0,-1 1 0 0 0,1-1 0 0 0,0 1 0 0 0,0 0 0 0 0,0-1 0 0 0,0 1 0 0 0,0 0 0 0 0,1 0 0 0 0,-1 0 0 0 0,0 1 0 0 0,5-2 0 0 0,45-8 846 0 0,-33 7-638 0 0,385-50 1798 0 0,3 24-1333 0 0,146-16-2039 0 0,-532 43 601 0 0,41-7-2248 0 0,-56 8 1865 0 0,0-1-1 0 0,0 0 0 0 0,0 0 0 0 0,7-4 0 0 0,4-6-3139 0 0</inkml:trace>
</inkml:ink>
</file>

<file path=ppt/ink/ink5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30.84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1 457 1532 0 0,'-20'13'5273'0'0,"23"-15"-4520"0"0,58-28 275 0 0,1 2-1 0 0,66-19 1 0 0,-49 19-605 0 0,708-217 827 0 0,-527 171-4650 0 0,-228 65 571 0 0,-6 2-852 0 0</inkml:trace>
</inkml:ink>
</file>

<file path=ppt/ink/ink5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38.42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43 186 140 0 0,'-8'2'1144'0'0,"5"-1"-552"0"0,0 0 0 0 0,-1 1 0 0 0,1-1-1 0 0,0 0 1 0 0,0 1 0 0 0,0 0-1 0 0,0 0 1 0 0,0 0 0 0 0,-4 4-1 0 0,6-5-93 0 0,0 11 953 0 0,4-10-1320 0 0,0-1 0 0 0,-1 1 0 0 0,1-1 0 0 0,0 1 0 0 0,-1-1 1 0 0,1 0-1 0 0,0 0 0 0 0,0 0 0 0 0,0-1 0 0 0,0 1 0 0 0,0-1 1 0 0,0 1-1 0 0,5-1 0 0 0,48-5 419 0 0,-46 3-499 0 0,-1 0-1 0 0,1-1 1 0 0,0 0 0 0 0,-1 0 0 0 0,0-1 0 0 0,0 0 0 0 0,0-1 0 0 0,0 0 0 0 0,-1-1-1 0 0,0 1 1 0 0,10-10 0 0 0,-15 13-43 0 0,0-1-1 0 0,0 0 1 0 0,-1 0-1 0 0,1 1 0 0 0,-1-2 1 0 0,1 1-1 0 0,-1 0 1 0 0,0 0-1 0 0,0-1 1 0 0,-1 1-1 0 0,1-1 1 0 0,-1 0-1 0 0,0 1 0 0 0,1-1 1 0 0,-2 0-1 0 0,1 0 1 0 0,0 0-1 0 0,-1 1 1 0 0,0-1-1 0 0,0 0 1 0 0,0 0-1 0 0,0 0 0 0 0,0 0 1 0 0,-1 0-1 0 0,0 0 1 0 0,0 1-1 0 0,0-1 1 0 0,0 0-1 0 0,-1 1 1 0 0,1-1-1 0 0,-4-4 0 0 0,2 4 19 0 0,0-1 0 0 0,0 1 0 0 0,-1 0 0 0 0,0 0 0 0 0,0 1 0 0 0,0-1 0 0 0,0 1 0 0 0,0 0 0 0 0,-1 0 0 0 0,0 0 0 0 0,1 1 0 0 0,-1-1 0 0 0,0 1-1 0 0,0 0 1 0 0,0 1 0 0 0,-1-1 0 0 0,1 1 0 0 0,0 0 0 0 0,-1 0 0 0 0,1 1 0 0 0,-8-1 0 0 0,-2 1 101 0 0,1 1 0 0 0,0 0 0 0 0,-1 1 0 0 0,1 1 0 0 0,0 0 0 0 0,-27 10 0 0 0,17-3 150 0 0,-1 1 0 0 0,1 2 1 0 0,1 0-1 0 0,0 1 0 0 0,-35 30 1 0 0,45-33-121 0 0,1 0 1 0 0,0 1 0 0 0,1 0 0 0 0,1 1 0 0 0,0 0-1 0 0,0 0 1 0 0,1 1 0 0 0,1 1 0 0 0,1-1 0 0 0,-10 25 0 0 0,15-33-111 0 0,1 1 0 0 0,-1-1 1 0 0,1 1-1 0 0,0 0 0 0 0,1-1 1 0 0,-1 1-1 0 0,1 0 1 0 0,1 0-1 0 0,-1-1 0 0 0,1 1 1 0 0,0 0-1 0 0,1-1 0 0 0,0 1 1 0 0,2 6-1 0 0,0-4 11 0 0,0-1 0 0 0,1 0-1 0 0,0 0 1 0 0,0 0 0 0 0,1-1 0 0 0,0 0-1 0 0,0 0 1 0 0,0 0 0 0 0,11 8 0 0 0,-4-5-154 0 0,1-1 1 0 0,0 0-1 0 0,1 0 1 0 0,0-1 0 0 0,0-1-1 0 0,0-1 1 0 0,1 0-1 0 0,0-1 1 0 0,0-1 0 0 0,33 5-1 0 0,-38-8-201 0 0,1 0 0 0 0,0-1 0 0 0,-1 0-1 0 0,1-1 1 0 0,0-1 0 0 0,-1 0 0 0 0,1 0-1 0 0,-1-1 1 0 0,0 0 0 0 0,0-1 0 0 0,0 0-1 0 0,0-1 1 0 0,-1 0 0 0 0,0-1 0 0 0,0 0-1 0 0,0-1 1 0 0,-1 0 0 0 0,0 0 0 0 0,0-1-1 0 0,-1 0 1 0 0,0 0 0 0 0,0-1 0 0 0,11-17-1 0 0,1-7-39 0 0,17-39 0 0 0,-22 40 1152 0 0,34-52-1 0 0,-48 83-755 0 0,0 0 1 0 0,0 0-1 0 0,0 0 0 0 0,0 0 0 0 0,0 0 1 0 0,1 0-1 0 0,-1 0 0 0 0,0 0 1 0 0,1 0-1 0 0,-1 0 0 0 0,0 1 0 0 0,1-1 1 0 0,-1 1-1 0 0,1-1 0 0 0,-1 1 1 0 0,1-1-1 0 0,-1 1 0 0 0,1 0 0 0 0,-1 0 1 0 0,1 0-1 0 0,-1-1 0 0 0,1 2 1 0 0,-1-1-1 0 0,1 0 0 0 0,0 0 0 0 0,-1 0 1 0 0,1 1-1 0 0,-1-1 0 0 0,1 1 1 0 0,-1-1-1 0 0,0 1 0 0 0,1 0 0 0 0,-1-1 1 0 0,0 1-1 0 0,1 0 0 0 0,-1 0 1 0 0,2 1-1 0 0,7 6 335 0 0,1 0 0 0 0,-1 1 0 0 0,14 16 0 0 0,-10-10 85 0 0,109 97 1542 0 0,-67-71 1231 0 0,-55-40-3189 0 0,0 0-1 0 0,-1-1 1 0 0,1 1-1 0 0,0-1 1 0 0,0 0-1 0 0,0 1 1 0 0,0-1 0 0 0,0 0-1 0 0,0 0 1 0 0,0 1-1 0 0,0-1 1 0 0,0 0-1 0 0,1 0 1 0 0,-1 0 0 0 0,0 0-1 0 0,0 0 1 0 0,0-1-1 0 0,0 1 1 0 0,0 0-1 0 0,0 0 1 0 0,0-1 0 0 0,0 1-1 0 0,0 0 1 0 0,0-1-1 0 0,0 1 1 0 0,-1-1-1 0 0,1 1 1 0 0,0-1 0 0 0,0 0-1 0 0,0 1 1 0 0,0-1-1 0 0,-1 0 1 0 0,1 0 0 0 0,0 1-1 0 0,-1-1 1 0 0,1 0-1 0 0,-1 0 1 0 0,1 0-1 0 0,-1 0 1 0 0,1-1 0 0 0,3-4 21 0 0,-1-1 1 0 0,-1 1 0 0 0,1-1-1 0 0,2-10 1 0 0,35-223-130 0 0,-33 183-1703 0 0,-7 54 1244 0 0,0 0 0 0 0,1-1 0 0 0,-1 1 0 0 0,1 0 0 0 0,0 0 0 0 0,0 0 0 0 0,0 0 0 0 0,0 0 0 0 0,0 0 0 0 0,1 1 0 0 0,-1-1 0 0 0,1 0 0 0 0,4-4 0 0 0,10 7-3156 0 0,-4 2 2509 0 0,0 0 0 0 0,-1 0 0 0 0,0 2 0 0 0,17 6 0 0 0,-5-2-822 0 0,-3-1 741 0 0</inkml:trace>
</inkml:ink>
</file>

<file path=ppt/ink/ink5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39.23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22 2876 0 0,'11'1'354'0'0,"0"0"-1"0"0,1 0 0 0 0,-1-1 1 0 0,0-1-1 0 0,0 0 0 0 0,1 0 1 0 0,-1-1-1 0 0,0 0 1 0 0,0-1-1 0 0,-1-1 0 0 0,1 0 1 0 0,-1 0-1 0 0,0-1 0 0 0,0 0 1 0 0,0-1-1 0 0,0 0 0 0 0,-1 0 1 0 0,0-1-1 0 0,-1 0 1 0 0,1-1-1 0 0,10-13 0 0 0,-16 18-189 0 0,-1 0 1 0 0,0 0-1 0 0,-1-1 0 0 0,1 1 0 0 0,0-1 0 0 0,0-4 0 0 0,-1 5 49 0 0,-10 3 240 0 0,7 0-405 0 0,0 0 0 0 0,0 0 1 0 0,0 0-1 0 0,1 0 0 0 0,-1 0 1 0 0,0 0-1 0 0,0 1 1 0 0,1-1-1 0 0,-1 1 0 0 0,0-1 1 0 0,0 1-1 0 0,1-1 0 0 0,-1 1 1 0 0,1 0-1 0 0,-1 0 1 0 0,1 0-1 0 0,-3 2 0 0 0,-10 7 223 0 0,1 1 0 0 0,1 0-1 0 0,0 1 1 0 0,0 0 0 0 0,1 1 0 0 0,1 1-1 0 0,-16 25 1 0 0,20-29-131 0 0,1 1-1 0 0,0-1 1 0 0,0 1 0 0 0,2 0-1 0 0,-1 1 1 0 0,1-1-1 0 0,1 1 1 0 0,0-1 0 0 0,0 1-1 0 0,1 0 1 0 0,1 0 0 0 0,1 11-1 0 0,0-16-103 0 0,0 0 0 0 0,0-1 0 0 0,1 1 0 0 0,0-1 0 0 0,0 1 0 0 0,1-1-1 0 0,0 0 1 0 0,0 0 0 0 0,0 0 0 0 0,1-1 0 0 0,0 1 0 0 0,0-1 0 0 0,0 0 0 0 0,1 0 0 0 0,0 0-1 0 0,0 0 1 0 0,0-1 0 0 0,0 0 0 0 0,1 0 0 0 0,-1-1 0 0 0,1 1 0 0 0,12 4 0 0 0,-15-7-113 0 0,0 0 0 0 0,0 0 0 0 0,1-1 1 0 0,-1 1-1 0 0,0-1 0 0 0,0 0 0 0 0,1 0 1 0 0,-1 0-1 0 0,0-1 0 0 0,1 1 0 0 0,-1-1 1 0 0,0 1-1 0 0,0-1 0 0 0,0 0 0 0 0,0 0 1 0 0,0-1-1 0 0,0 1 0 0 0,0-1 0 0 0,0 1 1 0 0,0-1-1 0 0,0 0 0 0 0,-1 0 0 0 0,1 0 1 0 0,3-4-1 0 0,1-1-166 0 0,0-1 0 0 0,0 0 0 0 0,0-1 1 0 0,-1 1-1 0 0,10-20 0 0 0,-10 15 99 0 0,6-11-74 0 0,0 1-1 0 0,1 1 1 0 0,1 1-1 0 0,19-24 1 0 0,-32 44 207 0 0,1-1 1 0 0,-1 0-1 0 0,1 0 0 0 0,-1 1 1 0 0,1-1-1 0 0,0 1 0 0 0,0 0 1 0 0,0-1-1 0 0,-1 1 1 0 0,1 0-1 0 0,0 0 0 0 0,0 0 1 0 0,1 0-1 0 0,-1 1 0 0 0,0-1 1 0 0,0 0-1 0 0,0 1 1 0 0,0 0-1 0 0,1-1 0 0 0,-1 1 1 0 0,0 0-1 0 0,0 0 0 0 0,1 0 1 0 0,-1 1-1 0 0,0-1 1 0 0,0 0-1 0 0,1 1 0 0 0,-1-1 1 0 0,0 1-1 0 0,4 2 0 0 0,-3-1 11 0 0,1 1-1 0 0,-1-1 0 0 0,0 1 1 0 0,0 0-1 0 0,0 0 0 0 0,0 1 1 0 0,0-1-1 0 0,-1 0 0 0 0,1 1 1 0 0,-1 0-1 0 0,0-1 0 0 0,0 1 1 0 0,-1 0-1 0 0,1 0 1 0 0,1 7-1 0 0,0 5 45 0 0,0-1 0 0 0,-1 1 0 0 0,-1 0 0 0 0,-1 0-1 0 0,0 0 1 0 0,-5 29 0 0 0,3-31 930 0 0,10-38-796 0 0,19-17-198 0 0,0 2 0 0 0,61-66 1 0 0,-56 68 67 0 0,-14 21-21 0 0,-16 14 473 0 0,1 2-215 0 0,-2 0-235 0 0,0 1 0 0 0,0-1-1 0 0,0 0 1 0 0,0 1 0 0 0,0-1 0 0 0,0 1-1 0 0,0-1 1 0 0,0 1 0 0 0,0 0-1 0 0,0-1 1 0 0,-1 1 0 0 0,1 0 0 0 0,0 0-1 0 0,0 0 1 0 0,-1 0 0 0 0,1-1 0 0 0,0 1-1 0 0,-1 0 1 0 0,1 0 0 0 0,-1 0 0 0 0,1 2-1 0 0,10 31 729 0 0,-1-4-312 0 0,-7-23-390 0 0,1-1-1 0 0,-1 0 1 0 0,1 0 0 0 0,0 0-1 0 0,1 0 1 0 0,-1-1-1 0 0,1 1 1 0 0,1-1-1 0 0,-1 0 1 0 0,0-1 0 0 0,1 1-1 0 0,0-1 1 0 0,0 0-1 0 0,1-1 1 0 0,9 5 0 0 0,-12-6-85 0 0,0-1 1 0 0,0 0-1 0 0,0 0 1 0 0,0 0-1 0 0,1 0 1 0 0,-1-1 0 0 0,0 1-1 0 0,0-1 1 0 0,1 0-1 0 0,-1-1 1 0 0,0 1-1 0 0,0-1 1 0 0,0 1 0 0 0,1-1-1 0 0,-1-1 1 0 0,0 1-1 0 0,0 0 1 0 0,0-1 0 0 0,0 0-1 0 0,-1 0 1 0 0,1 0-1 0 0,0 0 1 0 0,-1-1-1 0 0,0 0 1 0 0,1 1 0 0 0,-1-1-1 0 0,3-4 1 0 0,11-15-307 0 0,0-1 1 0 0,-2 0-1 0 0,17-33 0 0 0,-22 38 158 0 0,-10 17 152 0 0,0 1-1 0 0,1-1 1 0 0,-1 1 0 0 0,0-1-1 0 0,0 1 1 0 0,1-1-1 0 0,-1 1 1 0 0,0 0 0 0 0,0-1-1 0 0,1 1 1 0 0,-1-1-1 0 0,1 1 1 0 0,-1 0-1 0 0,0-1 1 0 0,1 1 0 0 0,-1 0-1 0 0,1-1 1 0 0,-1 1-1 0 0,1 0 1 0 0,-1 0 0 0 0,1-1-1 0 0,-1 1 1 0 0,1 0-1 0 0,-1 0 1 0 0,1 0 0 0 0,-1 0-1 0 0,1 0 1 0 0,-1 0-1 0 0,1 0 1 0 0,-1 0-1 0 0,1 0 1 0 0,0 0 0 0 0,-1 0-1 0 0,1 0 1 0 0,-1 0-1 0 0,1 0 1 0 0,-1 0 0 0 0,1 1-1 0 0,-1-1 1 0 0,1 0-1 0 0,-1 0 1 0 0,1 1-1 0 0,-1-1 1 0 0,1 0 0 0 0,-1 0-1 0 0,0 1 1 0 0,1-1-1 0 0,-1 1 1 0 0,1 0 0 0 0,16 22-19 0 0,-17-21 20 0 0,10 16 131 0 0,-2 1-1 0 0,-1 0 0 0 0,0 1 1 0 0,-1 0-1 0 0,3 22 1 0 0,10 105 630 0 0,-17-117-597 0 0,-2 0-1 0 0,-1 0 0 0 0,-5 34 0 0 0,4-48 44 0 0,-1 0-1 0 0,-1-1 1 0 0,0 1-1 0 0,-1-1 1 0 0,-1 0 0 0 0,0 0-1 0 0,-13 21 1 0 0,17-33-158 0 0,0 0 0 0 0,0-1 0 0 0,0 1-1 0 0,0-1 1 0 0,0 1 0 0 0,-1-1 0 0 0,1 1 0 0 0,-1-1 0 0 0,1 0 0 0 0,-1 0 0 0 0,0-1 0 0 0,0 1-1 0 0,0 0 1 0 0,0-1 0 0 0,0 0 0 0 0,0 0 0 0 0,0 0 0 0 0,0 0 0 0 0,-1 0 0 0 0,1 0 0 0 0,0-1 0 0 0,-1 0-1 0 0,1 0 1 0 0,0 0 0 0 0,-1 0 0 0 0,1 0 0 0 0,-5-1 0 0 0,3-1-36 0 0,0 1 0 0 0,0-1-1 0 0,0 0 1 0 0,0 0 0 0 0,1-1 0 0 0,-1 1 0 0 0,1-1 0 0 0,-1 0 0 0 0,1-1-1 0 0,0 1 1 0 0,0-1 0 0 0,0 1 0 0 0,1-1 0 0 0,-1 0 0 0 0,1-1 0 0 0,-4-5-1 0 0,0-2-337 0 0,0 0 0 0 0,1-1 1 0 0,1 0-1 0 0,0 0 0 0 0,1 0 0 0 0,0 0 0 0 0,1-1 0 0 0,0 0 0 0 0,1 1 0 0 0,1-1 0 0 0,0-15 0 0 0,2 19-273 0 0,-1 0 0 0 0,2 0 0 0 0,-1 0-1 0 0,2 1 1 0 0,-1-1 0 0 0,1 0 0 0 0,0 1 0 0 0,1 0 0 0 0,0 0 0 0 0,1 0 0 0 0,0 0 0 0 0,0 0-1 0 0,1 1 1 0 0,0 0 0 0 0,1 0 0 0 0,7-7 0 0 0,1 2-1895 0 0,1-3-648 0 0</inkml:trace>
</inkml:ink>
</file>

<file path=ppt/ink/ink5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40.28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13 1176 0 0,'6'-14'5219'0'0,"2"-4"-827"0"0,-11 32-2557 0 0,2-3-1444 0 0,-1 0-1 0 0,2 0 0 0 0,-1 0 1 0 0,1 1-1 0 0,1-1 0 0 0,0 0 1 0 0,4 15-1 0 0,2 5 327 0 0,16 41-1 0 0,-19-61-616 0 0,1 0-1 0 0,0 0 0 0 0,1 0 1 0 0,8 11-1 0 0,-11-18-66 0 0,0 0-1 0 0,0 0 1 0 0,0 0 0 0 0,1 0 0 0 0,0 0-1 0 0,0-1 1 0 0,0 1 0 0 0,0-1-1 0 0,1 0 1 0 0,-1-1 0 0 0,7 4 0 0 0,-7-5-31 0 0,-1-1 1 0 0,0 1 0 0 0,0-1-1 0 0,1 0 1 0 0,-1 0 0 0 0,0 0-1 0 0,1 0 1 0 0,-1-1 0 0 0,0 1-1 0 0,1-1 1 0 0,-1 0 0 0 0,0 0-1 0 0,0 0 1 0 0,0 0 0 0 0,0-1-1 0 0,0 1 1 0 0,0-1 0 0 0,0 0-1 0 0,-1 0 1 0 0,1 0 0 0 0,-1 0-1 0 0,1 0 1 0 0,2-4 0 0 0,6-8-105 0 0,-1-1 0 0 0,0-1-1 0 0,-1 0 1 0 0,-1 0 0 0 0,0-1 0 0 0,8-29 0 0 0,7-14-218 0 0,-22 59 439 0 0,-2 2-92 0 0,0 1 0 0 0,1-1 0 0 0,-1 1 0 0 0,0-1 0 0 0,1 0 0 0 0,-1 1 0 0 0,1 0 0 0 0,0-1 0 0 0,-1 1 0 0 0,1-1 1 0 0,0 1-1 0 0,0-1 0 0 0,0 1 0 0 0,0 0 0 0 0,0 2 0 0 0,1 5 71 0 0,0 0 1 0 0,0 0-1 0 0,1 0 0 0 0,0 0 1 0 0,1-1-1 0 0,-1 1 0 0 0,2-1 1 0 0,-1 1-1 0 0,1-1 0 0 0,1 0 1 0 0,-1 0-1 0 0,1-1 0 0 0,1 1 1 0 0,-1-1-1 0 0,1 0 0 0 0,1-1 1 0 0,-1 1-1 0 0,1-1 0 0 0,11 7 1 0 0,-16-12-86 0 0,1 0 0 0 0,-1 0 0 0 0,0 0 0 0 0,1-1 0 0 0,-1 1 0 0 0,0-1 0 0 0,1 1 0 0 0,-1-1 0 0 0,1 0 0 0 0,-1 0 0 0 0,1 0 0 0 0,-1-1 0 0 0,0 1 0 0 0,1 0 0 0 0,-1-1 0 0 0,1 1 0 0 0,-1-1 0 0 0,3-1 0 0 0,0 0-3 0 0,-1 0 0 0 0,1-1 0 0 0,0 1 0 0 0,-1-1-1 0 0,0 0 1 0 0,1 0 0 0 0,5-6 0 0 0,-4 2-12 0 0,0 0 1 0 0,-1-1 0 0 0,0 1-1 0 0,0-1 1 0 0,-1 0-1 0 0,0 0 1 0 0,-1-1-1 0 0,4-10 1 0 0,16-77-84 0 0,-15 58 71 0 0,9-32-232 0 0,-16 68 220 0 0,0 2 7 0 0,0 0 19 0 0,0 1-1 0 0,0-1 1 0 0,0 1 0 0 0,0-1 0 0 0,-1 1 0 0 0,1-1-1 0 0,0 1 1 0 0,0 0 0 0 0,-1 0 0 0 0,1-1-1 0 0,0 1 1 0 0,-1 0 0 0 0,1 0 0 0 0,0 0-1 0 0,-1 0 1 0 0,1-1 0 0 0,-1 1 0 0 0,0 0 0 0 0,1 0-1 0 0,-1 2 1 0 0,10 24-21 0 0,-9-22 7 0 0,24 71 74 0 0,12 41 68 0 0,-32-97-84 0 0,0 1 1 0 0,-2 0 0 0 0,1 37-1 0 0,-4-47-6 0 0,0 1-1 0 0,-1 0 0 0 0,-1 0 1 0 0,0-1-1 0 0,0 1 1 0 0,-9 21-1 0 0,10-30-156 0 0,6-21-1406 0 0,1 6 1169 0 0,0-1 1 0 0,17-22-1 0 0,-5 6 9 0 0,78-125-541 0 0,41-73 1337 0 0,-136 226-413 0 0,-1 0-1 0 0,1 1 1 0 0,-1-1-1 0 0,1 0 1 0 0,-1 1-1 0 0,1-1 1 0 0,-1 0-1 0 0,0 0 1 0 0,0 0-1 0 0,1 1 1 0 0,-1-1-1 0 0,0 0 1 0 0,0 0 0 0 0,0 0-1 0 0,0 0 1 0 0,0 0-1 0 0,0-1 1 0 0,0 2-9 0 0,-1 0 0 0 0,1 0 0 0 0,0-1 1 0 0,-1 1-1 0 0,1 0 0 0 0,-1 0 1 0 0,1 0-1 0 0,0 0 0 0 0,-1 0 0 0 0,1 0 1 0 0,0 0-1 0 0,-1 0 0 0 0,1 0 0 0 0,-1 0 1 0 0,1 0-1 0 0,0 0 0 0 0,-1 0 1 0 0,1 1-1 0 0,0-1 0 0 0,-1 0 0 0 0,1 0 1 0 0,-1 0-1 0 0,1 0 0 0 0,0 1 0 0 0,-1-1 1 0 0,-27 20 661 0 0,24-15-653 0 0,0 0 0 0 0,0 0 1 0 0,0 0-1 0 0,1 0 0 0 0,0 1 1 0 0,0-1-1 0 0,0 1 0 0 0,1-1 1 0 0,-1 1-1 0 0,1 0 0 0 0,1 0 0 0 0,-2 9 1 0 0,2-6 43 0 0,0 0-1 0 0,0 1 1 0 0,1-1 0 0 0,1 0 0 0 0,0 0 0 0 0,0 1 0 0 0,0-1 0 0 0,4 11-1 0 0,-2-12-156 0 0,0 0-1 0 0,0 0 1 0 0,1 0-1 0 0,0 0 1 0 0,0-1-1 0 0,0 1 1 0 0,1-1-1 0 0,11 11 1 0 0,-12-14-193 0 0,0 0 0 0 0,0 0 1 0 0,0 0-1 0 0,1-1 0 0 0,-1 0 1 0 0,1 0-1 0 0,0 0 0 0 0,0-1 0 0 0,0 0 1 0 0,1 1-1 0 0,-1-2 0 0 0,0 1 0 0 0,11 1 1 0 0,-9-2-95 0 0,1-1 0 0 0,0 0 0 0 0,-1-1 0 0 0,1 0 0 0 0,-1 0 0 0 0,1 0 0 0 0,-1-1 0 0 0,1 0 1 0 0,-1 0-1 0 0,0-1 0 0 0,0 0 0 0 0,0-1 0 0 0,-1 1 0 0 0,13-9 0 0 0,-7 2 278 0 0,0 1 0 0 0,-1-1 1 0 0,0-1-1 0 0,-1 0 0 0 0,0 0 0 0 0,12-19 1 0 0,-12 14 541 0 0,-2 0 1 0 0,0 0 0 0 0,0 0-1 0 0,-2-1 1 0 0,0-1 0 0 0,-1 1-1 0 0,-1-1 1 0 0,4-33 0 0 0,-8 25 182 0 0,0 25-633 0 0,0 1 0 0 0,0 0-1 0 0,0-1 1 0 0,0 1 0 0 0,0 0 0 0 0,0-1 0 0 0,-1 1 0 0 0,1 0-1 0 0,0-1 1 0 0,0 1 0 0 0,0 0 0 0 0,0-1 0 0 0,-1 1 0 0 0,1 0-1 0 0,0 0 1 0 0,0-1 0 0 0,-1 1 0 0 0,1 0 0 0 0,0 0 0 0 0,0-1-1 0 0,-1 1 1 0 0,1 0 0 0 0,0 0 0 0 0,-1 0 0 0 0,1 0 0 0 0,0-1-1 0 0,-1 1 1 0 0,1 0 0 0 0,0 0 0 0 0,-1 0 0 0 0,1 0 0 0 0,-1 0-1 0 0,1 0 1 0 0,0 0 0 0 0,-1 0 0 0 0,1 0 0 0 0,0 0 0 0 0,-1 0-1 0 0,1 0 1 0 0,0 0 0 0 0,-1 0 0 0 0,1 1 0 0 0,0-1 0 0 0,-1 0-1 0 0,1 0 1 0 0,0 0 0 0 0,-1 0 0 0 0,1 1 0 0 0,-1-1 0 0 0,1 1-6 0 0,-1 0 1 0 0,0-1 0 0 0,1 1-1 0 0,-1 0 1 0 0,0 0 0 0 0,1 0 0 0 0,-1 0-1 0 0,1 0 1 0 0,0 0 0 0 0,-1 0-1 0 0,1 0 1 0 0,0 0 0 0 0,0 0 0 0 0,-1 0-1 0 0,1 0 1 0 0,0 0 0 0 0,0 0-1 0 0,0 0 1 0 0,0 0 0 0 0,0 0 0 0 0,1 2-1 0 0,3 27 23 0 0,-3-24-28 0 0,4 18 24 0 0,15 44-1 0 0,-12-45 11 0 0,8 40 0 0 0,-16-61-42 0 0,1 0 0 0 0,-1 0 0 0 0,0 0-1 0 0,1 0 1 0 0,-1 0 0 0 0,0 0-1 0 0,0 0 1 0 0,-1 0 0 0 0,1 0 0 0 0,0 0-1 0 0,-1 0 1 0 0,1 0 0 0 0,-1 0 0 0 0,1 0-1 0 0,-1 0 1 0 0,0 0 0 0 0,0 0 0 0 0,0-1-1 0 0,0 1 1 0 0,0 0 0 0 0,0 0-1 0 0,-1-1 1 0 0,1 1 0 0 0,0-1 0 0 0,-1 1-1 0 0,0-1 1 0 0,1 0 0 0 0,-1 0 0 0 0,0 0-1 0 0,1 1 1 0 0,-1-2 0 0 0,0 1 0 0 0,0 0-1 0 0,0 0 1 0 0,0 0 0 0 0,0-1 0 0 0,0 1-1 0 0,0-1 1 0 0,0 0 0 0 0,0 0-1 0 0,0 1 1 0 0,0-1 0 0 0,0-1 0 0 0,0 1-1 0 0,0 0 1 0 0,0 0 0 0 0,-4-2 0 0 0,5 2-214 0 0,0 0 0 0 0,0-1 1 0 0,0 1-1 0 0,-1-1 0 0 0,1 0 1 0 0,0 1-1 0 0,0-1 0 0 0,0 0 1 0 0,0 1-1 0 0,0-1 0 0 0,0 0 1 0 0,-1-1-1 0 0</inkml:trace>
</inkml:ink>
</file>

<file path=ppt/ink/ink5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40.88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8 71 480 0 0,'1'-11'9978'0'0,"2"13"-9783"0"0,0 1 0 0 0,-1-1 0 0 0,1 1 1 0 0,-1 0-1 0 0,1 0 0 0 0,-1 0 0 0 0,0 0 1 0 0,0 0-1 0 0,0 1 0 0 0,0-1 0 0 0,-1 0 1 0 0,1 1-1 0 0,0 4 0 0 0,16 59 1192 0 0,-12-42-1021 0 0,-3-12-193 0 0,-1 0 0 0 0,0 0 1 0 0,-1 0-1 0 0,0 1 0 0 0,-1-1 0 0 0,-1 0 1 0 0,0 1-1 0 0,-3 15 0 0 0,2-19-15 0 0,-1 0-1 0 0,0 0 1 0 0,0-1-1 0 0,-1 1 1 0 0,0-1-1 0 0,-1 1 1 0 0,0-1-1 0 0,0-1 1 0 0,-1 1-1 0 0,0-1 1 0 0,-9 10-1 0 0,14-17-104 0 0,0 0 1 0 0,0 0-1 0 0,0 0 1 0 0,-1 0-1 0 0,1 0 1 0 0,0-1-1 0 0,0 1 0 0 0,0 0 1 0 0,-1-1-1 0 0,1 1 1 0 0,0-1-1 0 0,-1 1 1 0 0,1-1-1 0 0,-1 1 0 0 0,1-1 1 0 0,0 0-1 0 0,-1 0 1 0 0,1 0-1 0 0,-1 0 0 0 0,1 0 1 0 0,-1 0-1 0 0,1 0 1 0 0,-3-1-1 0 0,4 0-44 0 0,-1 0 1 0 0,1 1-1 0 0,0-1 0 0 0,0 0 1 0 0,0 0-1 0 0,-1 0 0 0 0,1 0 1 0 0,0 0-1 0 0,0 0 0 0 0,0 0 1 0 0,1 0-1 0 0,-1 0 0 0 0,0 0 1 0 0,0 0-1 0 0,0 1 0 0 0,1-1 1 0 0,0-1-1 0 0,2-8 0 0 0,2 1 0 0 0,-1 1 0 0 0,1-1 1 0 0,0 1-1 0 0,1-1 0 0 0,0 2 0 0 0,0-1 0 0 0,1 1 0 0 0,14-13 0 0 0,8-9-135 0 0,81-78-185 0 0,-82 83 257 0 0,0-2 0 0 0,-2 0 1 0 0,-1-2-1 0 0,34-49 0 0 0,-58 75 45 0 0,0 0 0 0 0,0 1 0 0 0,-1-1 0 0 0,1 1-1 0 0,0-1 1 0 0,-1 0 0 0 0,0 0 0 0 0,1 1-1 0 0,-1-1 1 0 0,0 0 0 0 0,0 0 0 0 0,0 0 0 0 0,0 1-1 0 0,0-1 1 0 0,0 0 0 0 0,-1-2 0 0 0,0 2-6 0 0,-2 3-54 0 0,2-1 69 0 0,0 1 0 0 0,0-1 0 0 0,0 0 0 0 0,0 1-1 0 0,0-1 1 0 0,0 1 0 0 0,0 0 0 0 0,0-1 0 0 0,0 1-1 0 0,0 0 1 0 0,0-1 0 0 0,0 1 0 0 0,0 0 0 0 0,1 0-1 0 0,-1 0 1 0 0,0 0 0 0 0,1 0 0 0 0,-1 0 0 0 0,0 0-1 0 0,1 0 1 0 0,-1 0 0 0 0,1 0 0 0 0,0 0 0 0 0,-1 0-1 0 0,1 1 1 0 0,0-1 0 0 0,0 0 0 0 0,0 0 0 0 0,0 0-1 0 0,0 0 1 0 0,0 1 0 0 0,0-1 0 0 0,0 0 0 0 0,0 0-1 0 0,1 2 1 0 0,-1 1 7 0 0,4 14 5 0 0,0 0-1 0 0,0 0 1 0 0,2-1 0 0 0,11 25 0 0 0,-9-23 8 0 0,-1 1-1 0 0,0 0 1 0 0,5 29-1 0 0,-11-45-54 0 0,-1-1 0 0 0,0 1-1 0 0,0 0 1 0 0,0-1 0 0 0,-1 1-1 0 0,1-1 1 0 0,-1 1 0 0 0,0-1 0 0 0,0 0-1 0 0,0 1 1 0 0,0-1 0 0 0,0 0-1 0 0,-1 0 1 0 0,0 1 0 0 0,0-1 0 0 0,0 0-1 0 0,0-1 1 0 0,0 1 0 0 0,0 0-1 0 0,-4 3 1 0 0,-25 17-3304 0 0,-3-7-5196 0 0</inkml:trace>
</inkml:ink>
</file>

<file path=ppt/ink/ink5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41.24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 29 592 0 0,'-6'-29'16255'0'0,"6"37"-16052"0"0,0-1 0 0 0,0 1 0 0 0,0 0 0 0 0,1-1 0 0 0,0 1 0 0 0,4 10 0 0 0,1 13 53 0 0,-2-2-870 0 0,1 14-2192 0 0,-3-11-5318 0 0,-2-22 3548 0 0</inkml:trace>
</inkml:ink>
</file>

<file path=ppt/ink/ink5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41.89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1 103 1740 0 0,'-49'-81'6611'0'0,"49"81"-6608"0"0,-1-1 0 0 0,1 1 0 0 0,0-1 0 0 0,0 1 0 0 0,0-1 0 0 0,-1 1 0 0 0,1-1 0 0 0,0 1 0 0 0,0-1 0 0 0,0 1 0 0 0,0-1 0 0 0,0 1 0 0 0,0-1 0 0 0,0 1-1 0 0,0-1 1 0 0,0 1 0 0 0,0-1 0 0 0,0 1 0 0 0,1-1 0 0 0,-1 1 0 0 0,0-1 0 0 0,0 1 0 0 0,0-1 0 0 0,1 1 0 0 0,-1-1 0 0 0,0 1 0 0 0,0-1 0 0 0,1 1 0 0 0,-1 0-1 0 0,0-1 1 0 0,1 1 0 0 0,-1 0 0 0 0,1-1 0 0 0,-1 1 0 0 0,0 0 0 0 0,1-1 0 0 0,-1 1 0 0 0,1 0 0 0 0,-1 0 0 0 0,1-1 0 0 0,0 1 0 0 0,25-4-1174 0 0,20 7-1065 0 0,81 15-1 0 0,-82-10 3372 0 0,86 5-1 0 0,-39-15 3537 0 0,-89 2-4365 0 0,9-5 1460 0 0,-14 5-1758 0 0,1 1-1 0 0,0-1 1 0 0,0 1-1 0 0,0-1 1 0 0,0 1-1 0 0,0-1 1 0 0,0 1-1 0 0,0 0 1 0 0,0-1-1 0 0,0 1 1 0 0,1 0-1 0 0,-1 0 1 0 0,0 0-1 0 0,0 0 1 0 0,0-1-1 0 0,1 1 1 0 0,-1 0-1 0 0,1 0 1 0 0,-1 1-1 0 0,1-1 0 0 0,-1 0 1 0 0,1 0-1 0 0,-1 0 1 0 0,1 2-1 0 0,-1 1 47 0 0,1 0 0 0 0,-1 0 0 0 0,1 1 0 0 0,0-1 0 0 0,0 0 0 0 0,1 1 0 0 0,0 3 0 0 0,3 8 154 0 0,0-1-1 0 0,0 0 0 0 0,8 14 1 0 0,19 38 306 0 0,-17-38-276 0 0,0 0-1 0 0,-2 2 1 0 0,13 46 0 0 0,-25-74-195 0 0,1 0 0 0 0,0 1 0 0 0,-1-1 0 0 0,1 0 0 0 0,-1 0 0 0 0,0 0 0 0 0,0 0 0 0 0,-1 0 0 0 0,1 1 0 0 0,0-1 0 0 0,-1 0 0 0 0,0 0 0 0 0,0 0 0 0 0,0 0 0 0 0,0 0 0 0 0,0 0 0 0 0,-1 0 0 0 0,1-1 0 0 0,-1 1 0 0 0,0 0 0 0 0,0-1 0 0 0,0 1 0 0 0,0-1 0 0 0,0 0 0 0 0,0 0 0 0 0,-1 0 0 0 0,1 0 0 0 0,-1 0 0 0 0,1 0 0 0 0,-1 0 0 0 0,0-1 0 0 0,0 0 0 0 0,0 1 0 0 0,0-1 0 0 0,0 0 0 0 0,0 0 0 0 0,-6 0 1 0 0,6 0-297 0 0,-1-1 0 0 0,1-1 0 0 0,-1 1 0 0 0,1 0 0 0 0,-1-1 1 0 0,1 0-1 0 0,-1 0 0 0 0,1 0 0 0 0,-1 0 0 0 0,1 0 1 0 0,0-1-1 0 0,0 1 0 0 0,-1-1 0 0 0,1 0 0 0 0,1 0 0 0 0,-1 0 1 0 0,0 0-1 0 0,0-1 0 0 0,1 1 0 0 0,-5-6 0 0 0,-5-17-4732 0 0,8 11 1292 0 0</inkml:trace>
  <inkml:trace contextRef="#ctx0" brushRef="#br0" timeOffset="1">475 218 860 0 0,'-7'7'1752'0'0,"0"0"1"0"0,0 0-1 0 0,-6 11 0 0 0,-15 29 1190 0 0,-13 53-1227 0 0,40-96-1607 0 0,-62 189 868 0 0,28-62-6908 0 0,33-121 3553 0 0</inkml:trace>
</inkml:ink>
</file>

<file path=ppt/ink/ink5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42.26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87 784 0 0,'10'-11'1036'0'0,"-2"-1"-136"0"0,-2 3-220 0 0,0 1-128 0 0,2 3-116 0 0,-4-4 208 0 0,8-4-280 0 0,-4 6-135 0 0,2 0-253 0 0,4 2-2613 0 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05:35.29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13 1588 0 0,'7'14'1542'0'0,"1"-1"-1"0"0,0 0 1 0 0,17 19-1 0 0,-20-27-1248 0 0,0-1 0 0 0,0 1 1 0 0,0-1-1 0 0,1 0 0 0 0,-1-1 0 0 0,1 1 0 0 0,0-1 0 0 0,0 0 0 0 0,0-1 0 0 0,0 0 1 0 0,8 2-1 0 0,3 0-86 0 0,-1-1 0 0 0,1 0 1 0 0,1-2-1 0 0,-1 0 1 0 0,0-1-1 0 0,0 0 0 0 0,23-5 1 0 0,-26 3-165 0 0,-1 0 0 0 0,1-2 0 0 0,-1 0-1 0 0,0 0 1 0 0,0-1 0 0 0,0-1 0 0 0,-1 0 0 0 0,0-1 0 0 0,19-13 0 0 0,-25 15-10 0 0,-1 0-1 0 0,1 0 1 0 0,-1-1 0 0 0,0 0 0 0 0,0 0-1 0 0,-1-1 1 0 0,8-13 0 0 0,-12 19-31 0 0,1 0 0 0 0,0-1 1 0 0,0 1-1 0 0,-1-1 0 0 0,1 1 1 0 0,-1-1-1 0 0,1 1 0 0 0,-1-1 1 0 0,0 1-1 0 0,0-1 0 0 0,1 1 1 0 0,-1-1-1 0 0,0 1 0 0 0,0-1 0 0 0,0 1 1 0 0,-1-1-1 0 0,1 0 0 0 0,0 1 1 0 0,-1-1-1 0 0,1 1 0 0 0,-1-1 1 0 0,1 1-1 0 0,-1 0 0 0 0,0-1 0 0 0,1 1 1 0 0,-1 0-1 0 0,0-1 0 0 0,0 1 1 0 0,0 0-1 0 0,0 0 0 0 0,0 0 1 0 0,0-1-1 0 0,0 1 0 0 0,-1 1 1 0 0,1-1-1 0 0,0 0 0 0 0,-1 0 0 0 0,1 0 1 0 0,0 1-1 0 0,-1-1 0 0 0,1 0 1 0 0,-1 1-1 0 0,1 0 0 0 0,-1-1 1 0 0,-1 1-1 0 0,-7-3 42 0 0,-1 2 1 0 0,1 0-1 0 0,0 0 1 0 0,-1 0-1 0 0,1 2 1 0 0,0-1-1 0 0,-1 1 0 0 0,1 1 1 0 0,-17 4-1 0 0,13-2 100 0 0,-1 1-1 0 0,1 0 1 0 0,0 1-1 0 0,0 1 0 0 0,-24 16 1 0 0,35-21-97 0 0,0 0-1 0 0,0 0 1 0 0,0 1 0 0 0,0-1 0 0 0,1 1 0 0 0,-1-1-1 0 0,1 1 1 0 0,0 0 0 0 0,0 0 0 0 0,0 0 0 0 0,0 0 0 0 0,0 0-1 0 0,1 0 1 0 0,-1 1 0 0 0,1-1 0 0 0,0 0 0 0 0,0 1-1 0 0,0-1 1 0 0,0 1 0 0 0,1-1 0 0 0,0 1 0 0 0,-1 0 0 0 0,2 4-1 0 0,-1-4 12 0 0,1 0-1 0 0,0 0 0 0 0,1 0 0 0 0,-1 0 1 0 0,1 0-1 0 0,0 0 0 0 0,0-1 0 0 0,0 1 1 0 0,0 0-1 0 0,0-1 0 0 0,1 0 0 0 0,0 0 1 0 0,0 0-1 0 0,0 0 0 0 0,0 0 1 0 0,0 0-1 0 0,0-1 0 0 0,1 1 0 0 0,5 2 1 0 0,-1 0-33 0 0,0-1 0 0 0,0 0 0 0 0,1-1 1 0 0,-1 0-1 0 0,1 0 0 0 0,-1-1 1 0 0,1 0-1 0 0,0-1 0 0 0,0 0 0 0 0,0 0 1 0 0,0-1-1 0 0,0 0 0 0 0,0 0 0 0 0,0-1 1 0 0,-1 0-1 0 0,1-1 0 0 0,0 0 1 0 0,0 0-1 0 0,-1-1 0 0 0,1 0 0 0 0,-1-1 1 0 0,0 1-1 0 0,0-2 0 0 0,0 1 0 0 0,-1-1 1 0 0,0 0-1 0 0,1-1 0 0 0,-2 1 1 0 0,1-2-1 0 0,-1 1 0 0 0,0-1 0 0 0,0 0 1 0 0,7-11-1 0 0,-7 8-35 0 0,0 0-1 0 0,-1-1 1 0 0,0 1 0 0 0,0-1 0 0 0,3-14-1 0 0,7-66-15 0 0,-11 67 26 0 0,6 46 126 0 0,21 78 1261 0 0,-18-61-729 0 0,9 48 0 0 0,-19-74-568 0 0,-1 0-1 0 0,-1 1 1 0 0,0-1 0 0 0,-1 1 0 0 0,-1 0-1 0 0,0-1 1 0 0,-4 22 0 0 0,3-29-130 0 0,-1 0 0 0 0,1 0 1 0 0,-1 0-1 0 0,0 0 0 0 0,0 0 0 0 0,-1-1 1 0 0,0 1-1 0 0,0-1 0 0 0,0 0 0 0 0,-1 0 1 0 0,1 0-1 0 0,-1-1 0 0 0,0 0 0 0 0,-1 0 0 0 0,1 0 1 0 0,-1-1-1 0 0,-8 5 0 0 0,-1-1-1162 0 0,1 0-1 0 0,-20 6 0 0 0,-27 3-6931 0 0,35-11 1376 0 0</inkml:trace>
</inkml:ink>
</file>

<file path=ppt/ink/ink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4:38.91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06 284 0 0,'13'-3'1908'0'0,"59"-10"3076"0"0,-69 12-4793 0 0,1 2 5 0 0,13 2 195 0 0,-1-1 0 0 0,1-1 0 0 0,22 0 1 0 0,-31-2-347 0 0,-1 0 0 0 0,0 0 1 0 0,1 0-1 0 0,-1-1 0 0 0,0 0 0 0 0,0-1 1 0 0,0 1-1 0 0,-1-1 0 0 0,1-1 0 0 0,-1 1 1 0 0,7-6-1 0 0,-11 9-45 0 0,0-1 1 0 0,-1 0-1 0 0,1-1 1 0 0,0 1 0 0 0,-1 0-1 0 0,1 0 1 0 0,-1-1-1 0 0,1 1 1 0 0,-1-1-1 0 0,0 1 1 0 0,0-1-1 0 0,0 0 1 0 0,1 0-1 0 0,-1 1 1 0 0,-1-1-1 0 0,1 0 1 0 0,0 0-1 0 0,0 0 1 0 0,-1 0-1 0 0,1 0 1 0 0,-1 0 0 0 0,0 0-1 0 0,1 0 1 0 0,-1 0-1 0 0,0 0 1 0 0,0 0-1 0 0,0 0 1 0 0,-1-3-1 0 0,0 4 13 0 0,0 0-1 0 0,1 0 0 0 0,-1 0 1 0 0,0 0-1 0 0,0 1 0 0 0,0-1 1 0 0,0 0-1 0 0,0 0 0 0 0,0 0 1 0 0,0 1-1 0 0,-1-1 0 0 0,1 1 1 0 0,0-1-1 0 0,0 1 0 0 0,0-1 1 0 0,-1 1-1 0 0,1 0 1 0 0,0-1-1 0 0,-1 1 0 0 0,1 0 1 0 0,0 0-1 0 0,0 0 0 0 0,-3 0 1 0 0,-30 1 286 0 0,25 0-147 0 0,0 1 1 0 0,0 0 0 0 0,-1 0 0 0 0,1 1 0 0 0,1 0 0 0 0,-1 0 0 0 0,0 1 0 0 0,1 1 0 0 0,0-1-1 0 0,0 1 1 0 0,0 0 0 0 0,1 1 0 0 0,0 0 0 0 0,0 0 0 0 0,-7 8 0 0 0,11-10-66 0 0,0 0 0 0 0,0 0 1 0 0,0 0-1 0 0,0 0 0 0 0,1 0 1 0 0,0 1-1 0 0,0-1 0 0 0,0 1 1 0 0,0-1-1 0 0,1 1 0 0 0,-1 0 1 0 0,1 0-1 0 0,0 0 0 0 0,1 0 1 0 0,-1 0-1 0 0,1 0 0 0 0,0 0 1 0 0,0 0-1 0 0,1 0 0 0 0,0 0 1 0 0,-1 0-1 0 0,2-1 0 0 0,-1 1 0 0 0,0 0 1 0 0,1 0-1 0 0,0-1 0 0 0,0 1 1 0 0,1-1-1 0 0,3 6 0 0 0,6 8 69 0 0,1-1-1 0 0,1 0 1 0 0,1-1-1 0 0,0-1 1 0 0,21 16-1 0 0,-25-22-767 0 0,1 0-1 0 0,-1-1 0 0 0,2-1 0 0 0,-1 0 1 0 0,1-1-1 0 0,0 0 0 0 0,0-1 0 0 0,27 7 1 0 0,-20-10-2848 0 0,0-1-1442 0 0</inkml:trace>
</inkml:ink>
</file>

<file path=ppt/ink/ink6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42.62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75 18 1676 0 0,'0'0'5974'0'0,"0"0"-5847"0"0,0-1 0 0 0,0 0 0 0 0,0 0 0 0 0,0 0 0 0 0,0 1 0 0 0,-1-1 0 0 0,1 0 0 0 0,0 0 0 0 0,0 1-1 0 0,-1-1 1 0 0,1 0 0 0 0,0 0 0 0 0,-1 1 0 0 0,1-1 0 0 0,-1 0 0 0 0,1 1 0 0 0,-1-1 0 0 0,1 1 0 0 0,-1-1 0 0 0,1 1 0 0 0,-1-1 0 0 0,0 1 0 0 0,1-1 0 0 0,-2 0 0 0 0,-6 3 17 0 0,0 0 0 0 0,0 1-1 0 0,0 0 1 0 0,1 0 0 0 0,-1 1 0 0 0,1 0 0 0 0,0 0 0 0 0,0 1 0 0 0,1 0 0 0 0,-1 0 0 0 0,1 1 0 0 0,0-1 0 0 0,1 1 0 0 0,-1 1 0 0 0,1-1-1 0 0,-7 13 1 0 0,6-10-29 0 0,0 0 0 0 0,1 0 0 0 0,1 0 0 0 0,0 0 1 0 0,0 1-1 0 0,1 0 0 0 0,0 0 0 0 0,0 0 0 0 0,1 0 0 0 0,1 0 0 0 0,-1 0 0 0 0,2 1 0 0 0,0 14 0 0 0,1-21-73 0 0,-1 0 0 0 0,1 0 0 0 0,0 0 0 0 0,1 0 0 0 0,-1 0 0 0 0,1 0 1 0 0,0 0-1 0 0,0-1 0 0 0,0 1 0 0 0,0-1 0 0 0,1 1 0 0 0,-1-1 0 0 0,1 0 0 0 0,0 0 1 0 0,0 0-1 0 0,0 0 0 0 0,0-1 0 0 0,0 1 0 0 0,1-1 0 0 0,-1 0 0 0 0,7 3 0 0 0,-7-4-41 0 0,-1 0-1 0 0,1-1 1 0 0,0 1-1 0 0,0-1 1 0 0,0 1-1 0 0,-1-1 1 0 0,1 0-1 0 0,0 0 1 0 0,0-1-1 0 0,0 1 1 0 0,0 0-1 0 0,-1-1 1 0 0,1 0-1 0 0,0 0 1 0 0,-1 1-1 0 0,1-2 1 0 0,4-1-1 0 0,0-1-58 0 0,0 0 1 0 0,0 0-1 0 0,0-1 0 0 0,9-8 0 0 0,3-6 40 0 0,-1 0-1 0 0,-1-1 0 0 0,20-32 1 0 0,-37 52 36 0 0,0-1 0 0 0,0 1 0 0 0,0-1 0 0 0,0 1 0 0 0,1 0 0 0 0,-1-1 0 0 0,0 1 0 0 0,0 0 0 0 0,0-1 0 0 0,1 1 0 0 0,-1-1 0 0 0,0 1 0 0 0,0 0 0 0 0,1 0-1 0 0,-1-1 1 0 0,0 1 0 0 0,1 0 0 0 0,-1-1 0 0 0,0 1 0 0 0,1 0 0 0 0,-1 0 0 0 0,0 0 0 0 0,1-1 0 0 0,-1 1 0 0 0,0 0 0 0 0,1 0 0 0 0,-1 0 0 0 0,1 0 0 0 0,-1 0 0 0 0,0 0 0 0 0,1 0 0 0 0,-1 0 0 0 0,1 0 0 0 0,-1 0 0 0 0,1 0 0 0 0,-1 0 0 0 0,0 0 0 0 0,1 0 0 0 0,-1 0 0 0 0,1 0 0 0 0,-1 0 0 0 0,0 1 0 0 0,1-1 0 0 0,-1 0 0 0 0,0 0 0 0 0,1 0 0 0 0,-1 1 0 0 0,0-1 0 0 0,1 0 0 0 0,-1 0 0 0 0,0 1 0 0 0,1-1 0 0 0,-1 1 0 0 0,7 18 480 0 0,-2 4-729 0 0,1 0-1 0 0,1-1 1 0 0,1 0-1 0 0,18 36 1 0 0,-7-15-3254 0 0,-6-24-1662 0 0</inkml:trace>
</inkml:ink>
</file>

<file path=ppt/ink/ink6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43.21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62 138 2600 0 0,'6'-17'8454'0'0,"-3"14"-7515"0"0,0 7-552 0 0,0 1 0 0 0,0-1 0 0 0,0 1 1 0 0,-1 0-1 0 0,0 0 0 0 0,0 0 0 0 0,-1 1 0 0 0,1-1 0 0 0,-1 0 0 0 0,0 0 0 0 0,0 11 1 0 0,1 9 104 0 0,-3 30 1 0 0,1-48-373 0 0,-1 7-31 0 0,-1 0 1 0 0,0 1-1 0 0,-1-1 0 0 0,0 0 0 0 0,-1 0 0 0 0,-1-1 0 0 0,0 1 1 0 0,-13 23-1 0 0,13-28-86 0 0,-1-1-1 0 0,1 0 1 0 0,-1 0 0 0 0,0 0 0 0 0,-1-1 0 0 0,0 0 0 0 0,0 0-1 0 0,-1-1 1 0 0,0 0 0 0 0,0 0 0 0 0,0 0 0 0 0,-1-1 0 0 0,-14 6-1 0 0,22-11-40 0 0,0 1-1 0 0,0-1 1 0 0,0 1-1 0 0,0-1 1 0 0,0 0-1 0 0,0 1 1 0 0,0-1-1 0 0,0 0 1 0 0,0 0-1 0 0,-1 0 1 0 0,1 0-1 0 0,0 0 1 0 0,0 0-1 0 0,0 0 1 0 0,0 0-1 0 0,0 0 1 0 0,-1-1-1 0 0,1 1 1 0 0,0 0-1 0 0,0-1 0 0 0,0 1 1 0 0,0-1-1 0 0,0 1 1 0 0,0-1-1 0 0,0 1 1 0 0,0-1-1 0 0,0 0 1 0 0,1 1-1 0 0,-1-1 1 0 0,0 0-1 0 0,0 0 1 0 0,0 0-1 0 0,1 0 1 0 0,-1 0-1 0 0,1 0 1 0 0,-1 0-1 0 0,0 0 1 0 0,1 0-1 0 0,0 0 1 0 0,-1 0-1 0 0,1 0 1 0 0,0 0-1 0 0,-1 0 1 0 0,1 0-1 0 0,0 0 1 0 0,0-1-1 0 0,0 1 0 0 0,0 0 1 0 0,0 0-1 0 0,0 0 1 0 0,0 0-1 0 0,1 0 1 0 0,-1 0-1 0 0,0-1 1 0 0,0 1-1 0 0,2-1 1 0 0,0-2-3 0 0,0 1 0 0 0,0-1 0 0 0,0 1 0 0 0,1 0 0 0 0,0 0 0 0 0,-1 0 0 0 0,1 0 0 0 0,0 0 0 0 0,1 1 0 0 0,-1-1 0 0 0,0 1 0 0 0,1 0 0 0 0,-1 0 0 0 0,1 0 0 0 0,7-2 0 0 0,1 0-9 0 0,-1 1 0 0 0,1 0 0 0 0,18-1 0 0 0,-18 3 35 0 0,1 1-1 0 0,-1 1 0 0 0,0 0 1 0 0,0 1-1 0 0,18 4 0 0 0,2 0 13 0 0,-28-5 3 0 0,18 2 20 0 0,0 0-1 0 0,0-1 0 0 0,27-2 1 0 0,-42 0-15 0 0,0-1 0 0 0,0 0 0 0 0,0-1 0 0 0,0 1 0 0 0,0-1 0 0 0,-1-1 0 0 0,1 1 0 0 0,-1-1 0 0 0,1 0 0 0 0,-1-1 0 0 0,0 1 0 0 0,-1-1 0 0 0,1 0 0 0 0,8-8 0 0 0,-10 8 2 0 0,1-1 1 0 0,-1 0-1 0 0,0 1 0 0 0,-1-1 1 0 0,1 0-1 0 0,-1-1 1 0 0,0 1-1 0 0,0-1 1 0 0,0 1-1 0 0,-1-1 0 0 0,0 0 1 0 0,0 0-1 0 0,0 0 1 0 0,-1 0-1 0 0,0 0 1 0 0,0 0-1 0 0,0-1 0 0 0,-1 1 1 0 0,0 0-1 0 0,-1-9 1 0 0,0 14 0 0 0,0 0 0 0 0,1 0 0 0 0,-1 0 0 0 0,0 0 0 0 0,0 1 0 0 0,1-1 0 0 0,-1 0 0 0 0,0 1 1 0 0,0-1-1 0 0,0 0 0 0 0,0 1 0 0 0,0-1 0 0 0,0 1 0 0 0,0-1 0 0 0,0 1 0 0 0,0 0 0 0 0,0 0 0 0 0,0-1 0 0 0,0 1 0 0 0,0 0 0 0 0,0 0 1 0 0,-1 0-1 0 0,1 0 0 0 0,0 0 0 0 0,-1 0 0 0 0,-27 2 68 0 0,22-1-59 0 0,-1 1 1 0 0,1 1-1 0 0,0-1 1 0 0,0 1-1 0 0,0 0 1 0 0,0 0-1 0 0,1 1 1 0 0,-1 0-1 0 0,-9 8 1 0 0,14-10-8 0 0,-1-1-1 0 0,1 1 1 0 0,0 0 0 0 0,0 0 0 0 0,0 1-1 0 0,0-1 1 0 0,0 0 0 0 0,1 1 0 0 0,-1-1-1 0 0,1 1 1 0 0,-1-1 0 0 0,1 1 0 0 0,0 0-1 0 0,0-1 1 0 0,0 1 0 0 0,0 0 0 0 0,1 0-1 0 0,-1 0 1 0 0,1 0 0 0 0,-1 0 0 0 0,1-1-1 0 0,0 1 1 0 0,0 0 0 0 0,1 0 0 0 0,-1 0-1 0 0,1 0 1 0 0,0 4 0 0 0,0-5-7 0 0,0-1 1 0 0,0 1-1 0 0,0 0 1 0 0,0 0-1 0 0,1 0 1 0 0,-1-1 0 0 0,0 1-1 0 0,1-1 1 0 0,-1 1-1 0 0,1-1 1 0 0,0 0-1 0 0,-1 1 1 0 0,1-1-1 0 0,0 0 1 0 0,0 0-1 0 0,0 0 1 0 0,0 0-1 0 0,0-1 1 0 0,0 1-1 0 0,0 0 1 0 0,0-1 0 0 0,0 0-1 0 0,0 1 1 0 0,0-1-1 0 0,0 0 1 0 0,0 0-1 0 0,1 0 1 0 0,-1 0-1 0 0,0 0 1 0 0,0-1-1 0 0,0 1 1 0 0,2-1-1 0 0,5-1-66 0 0,-1 0 0 0 0,1-1 0 0 0,-1 0 0 0 0,0 0 0 0 0,0-1 0 0 0,12-6-1 0 0,40-35-359 0 0,-58 43 391 0 0,-2 2 76 0 0,1-1 0 0 0,-1 1 0 0 0,1 0 0 0 0,0-1 0 0 0,-1 1 0 0 0,1 0 0 0 0,-1 0 0 0 0,1-1 0 0 0,0 1-1 0 0,-1 0 1 0 0,1 0 0 0 0,-1 0 0 0 0,1 0 0 0 0,0 0 0 0 0,-1 0 0 0 0,1 0 0 0 0,0 0 0 0 0,0 0 0 0 0,0 7 147 0 0,1-1 0 0 0,0 0 0 0 0,0 0 0 0 0,0 0 0 0 0,1 0 1 0 0,0 0-1 0 0,0 0 0 0 0,0 0 0 0 0,1-1 0 0 0,6 8 0 0 0,-7-10-156 0 0,-1 0-1 0 0,1 0 0 0 0,0 0 1 0 0,0-1-1 0 0,0 1 0 0 0,0-1 1 0 0,0 0-1 0 0,1 0 0 0 0,-1 0 1 0 0,1-1-1 0 0,-1 1 1 0 0,1-1-1 0 0,0 1 0 0 0,-1-1 1 0 0,1-1-1 0 0,0 1 0 0 0,0 0 1 0 0,0-1-1 0 0,0 0 0 0 0,0 0 1 0 0,4 0-1 0 0,-2-1-51 0 0,0-1 0 0 0,1 0 0 0 0,-1 0 0 0 0,0 0 0 0 0,0 0 0 0 0,0-1-1 0 0,0 0 1 0 0,-1-1 0 0 0,1 1 0 0 0,-1-1 0 0 0,0 0 0 0 0,0 0 0 0 0,0-1 0 0 0,-1 0 0 0 0,1 1 0 0 0,-1-1 0 0 0,0-1-1 0 0,0 1 1 0 0,-1-1 0 0 0,0 1 0 0 0,0-1 0 0 0,0 0 0 0 0,-1 0 0 0 0,4-12 0 0 0,4-25-197 0 0,-2 0-1 0 0,5-71 1 0 0,-1 3 1855 0 0,-9 93-1206 0 0,0 16 54 0 0,3 25 315 0 0,-1 1-697 0 0,9 21 146 0 0,17 66-1759 0 0,-29-99 352 0 0,-1 1 1 0 0,0 0 0 0 0,0 23-1 0 0,-2-32 466 0 0,1 1 0 0 0,-1-1 0 0 0,0 1 0 0 0,0-1 0 0 0,-3 6 0 0 0,-2 3-3911 0 0</inkml:trace>
</inkml:ink>
</file>

<file path=ppt/ink/ink6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43.95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0 391 520 0 0,'-2'-2'1578'0'0,"0"1"-1387"0"0,1 0-1 0 0,0 1 0 0 0,0-1 1 0 0,0 0-1 0 0,-1 0 0 0 0,1 0 1 0 0,0 0-1 0 0,0-1 0 0 0,1 1 1 0 0,-1 0-1 0 0,0 0 1 0 0,0 0-1 0 0,1-1 0 0 0,-1 1 1 0 0,0 0-1 0 0,1-1 0 0 0,-1 1 1 0 0,1-1-1 0 0,0 1 0 0 0,-1-1 1 0 0,1 1-1 0 0,0 0 1 0 0,0-1-1 0 0,0-1 0 0 0,1 0-81 0 0,0 1-1 0 0,0 0 1 0 0,0 0-1 0 0,0 0 1 0 0,1 0-1 0 0,-1 0 1 0 0,1 0-1 0 0,-1 0 1 0 0,1 0-1 0 0,0 1 1 0 0,-1-1-1 0 0,1 0 1 0 0,0 1-1 0 0,0 0 1 0 0,0-1-1 0 0,3 0 0 0 0,15-10 215 0 0,1 2-1 0 0,1 0 1 0 0,0 1-1 0 0,26-7 1 0 0,95-18 651 0 0,-106 27-672 0 0,-34 6-173 0 0,1 0 1 0 0,0 0-1 0 0,1 0 0 0 0,-1 1 1 0 0,0 0-1 0 0,0-1 0 0 0,0 2 1 0 0,0-1-1 0 0,0 0 1 0 0,0 1-1 0 0,0 0 0 0 0,0 0 1 0 0,0 0-1 0 0,0 0 1 0 0,4 2-1 0 0,-8-2-93 0 0,1-1-1 0 0,-1 1 1 0 0,1-1-1 0 0,-1 1 1 0 0,0-1 0 0 0,1 1-1 0 0,-1-1 1 0 0,0 1 0 0 0,1 0-1 0 0,-1-1 1 0 0,0 1 0 0 0,0 0-1 0 0,0-1 1 0 0,1 1 0 0 0,-1-1-1 0 0,0 1 1 0 0,0 0-1 0 0,0-1 1 0 0,0 1 0 0 0,0 0-1 0 0,0-1 1 0 0,-1 1 0 0 0,1 0-1 0 0,0-1 1 0 0,0 1 0 0 0,-1 1-1 0 0,-7 20 520 0 0,5-15-128 0 0,-8 21 387 0 0,7-19-565 0 0,1 1 1 0 0,0-1 0 0 0,-4 16-1 0 0,7-24-241 0 0,0 0-1 0 0,0-1 1 0 0,0 1-1 0 0,-1 0 0 0 0,1 0 1 0 0,0-1-1 0 0,0 1 1 0 0,0 0-1 0 0,1-1 1 0 0,-1 1-1 0 0,0 0 0 0 0,0 0 1 0 0,0-1-1 0 0,0 1 1 0 0,1 0-1 0 0,-1-1 0 0 0,0 1 1 0 0,1 0-1 0 0,-1-1 1 0 0,0 1-1 0 0,1-1 1 0 0,-1 1-1 0 0,1-1 0 0 0,-1 1 1 0 0,1-1-1 0 0,-1 1 1 0 0,1-1-1 0 0,-1 1 1 0 0,1-1-1 0 0,0 1 0 0 0,-1-1 1 0 0,1 0-1 0 0,0 1 1 0 0,-1-1-1 0 0,1 0 1 0 0,0 0-1 0 0,-1 0 0 0 0,1 1 1 0 0,0-1-1 0 0,-1 0 1 0 0,1 0-1 0 0,0 0 1 0 0,0 0-1 0 0,-1 0 0 0 0,1 0 1 0 0,0 0-1 0 0,-1 0 1 0 0,1-1-1 0 0,0 1 1 0 0,0 0-1 0 0,-1 0 0 0 0,1-1 1 0 0,0 1-1 0 0,4-2-32 0 0,-1 1-1 0 0,1-1 0 0 0,-1 0 1 0 0,0 0-1 0 0,0 0 0 0 0,6-4 1 0 0,-1-2-50 0 0,-1 0 0 0 0,0-1 0 0 0,-1 0 0 0 0,0-1 1 0 0,10-16-1 0 0,-10 15 259 0 0,-6 9-113 0 0,0-5 260 0 0,2 8 381 0 0,6 12 765 0 0,-4-5-1311 0 0,-2-4-90 0 0,0-1 0 0 0,0 1 1 0 0,0 0-1 0 0,1-1 0 0 0,0 0 1 0 0,0 0-1 0 0,0 0 0 0 0,0-1 0 0 0,0 1 1 0 0,0-1-1 0 0,1 0 0 0 0,-1 0 1 0 0,8 2-1 0 0,54 2 73 0 0,-57-7-179 0 0,0 0 0 0 0,0-1 0 0 0,0 1 0 0 0,-1-2 0 0 0,1 1 0 0 0,-1-2 0 0 0,1 1 0 0 0,-1-1 0 0 0,0 0 0 0 0,0 0 0 0 0,-1-1 0 0 0,12-9 0 0 0,3-6-3 0 0,-1 0 1 0 0,27-32-1 0 0,-42 45 107 0 0,7-5-38 0 0,-12 12-29 0 0,-1-1 0 0 0,0 1 0 0 0,0 0 0 0 0,0 0 0 0 0,0 0 0 0 0,1 0 0 0 0,-1 0 0 0 0,0 0 0 0 0,0 0 0 0 0,0 0 0 0 0,1 0 0 0 0,-1 0 0 0 0,0 0 0 0 0,0 0 0 0 0,0 0 0 0 0,1 0 0 0 0,-1 0 0 0 0,0 0 0 0 0,0 0 0 0 0,0 0 0 0 0,1 0 0 0 0,-1 0 0 0 0,0 0 0 0 0,0 0 0 0 0,0 0 0 0 0,1 1 0 0 0,-1-1 0 0 0,0 0 0 0 0,0 0 0 0 0,0 0 0 0 0,0 0 0 0 0,1 0 0 0 0,-1 1 0 0 0,0-1 0 0 0,0 0 0 0 0,2 20 501 0 0,-2-16-501 0 0,0 46 514 0 0,4 140 988 0 0,-4-139-681 0 0,0-48-670 0 0,-5 2 241 0 0,-1-27-483 0 0,0-1-1 0 0,2-1 1 0 0,1 1 0 0 0,0-1-1 0 0,2 1 1 0 0,1-1-1 0 0,0 0 1 0 0,7-34 0 0 0,-5 41-32 0 0,2-1 0 0 0,0 1 0 0 0,1 0 1 0 0,1 0-1 0 0,1 1 0 0 0,0 0 0 0 0,1 0 1 0 0,0 0-1 0 0,2 1 0 0 0,-1 0 0 0 0,2 1 1 0 0,13-14-1 0 0,-24 27 109 0 0,3-2-20 0 0,0-1 0 0 0,1 1 1 0 0,-1 0-1 0 0,1 0 0 0 0,-1 0 1 0 0,1 0-1 0 0,0 1 1 0 0,0 0-1 0 0,0-1 0 0 0,0 1 1 0 0,0 1-1 0 0,0-1 0 0 0,1 1 1 0 0,-1-1-1 0 0,7 0 0 0 0,-7 2 10 0 0,1 0 0 0 0,-1 1-1 0 0,0-1 1 0 0,0 1 0 0 0,0 0-1 0 0,6 2 1 0 0,-8-2 14 0 0,-1 0 0 0 0,1-1 1 0 0,0 1-1 0 0,-1 0 0 0 0,1 0 1 0 0,0 0-1 0 0,-1 0 0 0 0,0 1 0 0 0,1-1 1 0 0,-1 0-1 0 0,0 1 0 0 0,1-1 1 0 0,-1 1-1 0 0,0-1 0 0 0,0 1 0 0 0,0-1 1 0 0,0 1-1 0 0,-1 0 0 0 0,1-1 0 0 0,0 1 1 0 0,0 3-1 0 0,-1-2 11 0 0,0 1 0 0 0,0-1 0 0 0,0 0 0 0 0,0 0 0 0 0,-1 0 0 0 0,1 0 1 0 0,-1 1-1 0 0,0-1 0 0 0,0 0 0 0 0,0 0 0 0 0,-1-1 0 0 0,1 1 0 0 0,-1 0 0 0 0,1 0 0 0 0,-1-1 0 0 0,0 1 0 0 0,0 0 0 0 0,0-1 0 0 0,0 0 0 0 0,-1 0 0 0 0,1 1 1 0 0,0-2-1 0 0,-6 4 0 0 0,-6 5-55 0 0,0-1 0 0 0,-31 14 1 0 0,45-23 41 0 0,-19 8-772 0 0,0 0-1 0 0,-23 5 0 0 0,-8-4-4574 0 0</inkml:trace>
</inkml:ink>
</file>

<file path=ppt/ink/ink6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44.31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9 42 184 0 0,'13'10'5421'0'0,"-13"-5"-4852"0"0,0 1 0 0 0,1 0 0 0 0,-2-1 0 0 0,1 1 0 0 0,-1 0 1 0 0,1-1-1 0 0,-2 1 0 0 0,1-1 0 0 0,-1 1 0 0 0,-2 5 1 0 0,1-2-147 0 0,1-1 1 0 0,0 1-1 0 0,0 0 1 0 0,0 11-1 0 0,2-14-243 0 0,1-1 1 0 0,-1 1-1 0 0,1 0 0 0 0,1-1 0 0 0,-1 0 0 0 0,1 1 0 0 0,0-1 0 0 0,0 0 1 0 0,0 0-1 0 0,1 1 0 0 0,0-2 0 0 0,6 9 0 0 0,-7-10-124 0 0,1 1 0 0 0,0-1-1 0 0,1 0 1 0 0,-1 1-1 0 0,0-2 1 0 0,1 1 0 0 0,0 0-1 0 0,-1-1 1 0 0,1 0 0 0 0,0 1-1 0 0,1-2 1 0 0,-1 1 0 0 0,0 0-1 0 0,0-1 1 0 0,1 0 0 0 0,-1 0-1 0 0,7 1 1 0 0,-6-2-39 0 0,-1 0 1 0 0,0 0-1 0 0,1 0 0 0 0,-1 0 1 0 0,0-1-1 0 0,1 0 0 0 0,-1 0 1 0 0,0 0-1 0 0,0 0 1 0 0,1-1-1 0 0,-1 1 0 0 0,4-4 1 0 0,-6 4-21 0 0,0-1 1 0 0,0 1-1 0 0,0-1 1 0 0,-1 1-1 0 0,1-1 0 0 0,-1 0 1 0 0,1 0-1 0 0,-1 0 1 0 0,1 0-1 0 0,-1 0 1 0 0,0 0-1 0 0,0 0 1 0 0,0 0-1 0 0,0-1 1 0 0,-1 1-1 0 0,1 0 1 0 0,0 0-1 0 0,-1-1 1 0 0,0 1-1 0 0,1-1 0 0 0,-1 1 1 0 0,0 0-1 0 0,0-1 1 0 0,-1 1-1 0 0,1 0 1 0 0,-1-4-1 0 0,-1-2-13 0 0,-1 0 0 0 0,0 0 0 0 0,0 1 0 0 0,-1-1 0 0 0,0 1-1 0 0,0-1 1 0 0,-1 1 0 0 0,1 0 0 0 0,-2 1 0 0 0,1-1 0 0 0,-11-8 0 0 0,10 9-587 0 0,0-1 0 0 0,0 1 1 0 0,0-1-1 0 0,1 0 1 0 0,0-1-1 0 0,1 1 0 0 0,-1-1 1 0 0,1 0-1 0 0,-5-15 0 0 0,9 22 348 0 0,0 0-1 0 0,0-1 0 0 0,0 1 1 0 0,0-1-1 0 0,0 1 1 0 0,0 0-1 0 0,0-1 0 0 0,0 1 1 0 0,1-1-1 0 0,-1 1 0 0 0,1 0 1 0 0,-1-1-1 0 0,1 1 1 0 0,-1 0-1 0 0,1 0 0 0 0,0-1 1 0 0,0 1-1 0 0,-1 0 0 0 0,1 0 1 0 0,0 0-1 0 0,2-1 1 0 0,8-6-2982 0 0</inkml:trace>
</inkml:ink>
</file>

<file path=ppt/ink/ink6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44.65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0 3984 0 0,'11'1'551'0'0,"0"0"0"0"0,0 1-1 0 0,0 1 1 0 0,0-1-1 0 0,0 1 1 0 0,12 6 0 0 0,-16-6-81 0 0,0 1 1 0 0,-1 0 0 0 0,1 0-1 0 0,-1 1 1 0 0,0-1 0 0 0,0 1-1 0 0,-1 1 1 0 0,0-1 0 0 0,1 1-1 0 0,3 7 1 0 0,1 1 265 0 0,-2 0 0 0 0,0 0 0 0 0,0 1 0 0 0,-1 0 0 0 0,-1 0 1 0 0,-1 1-1 0 0,5 21 0 0 0,-2 14-2253 0 0,-5 1-4785 0 0</inkml:trace>
</inkml:ink>
</file>

<file path=ppt/ink/ink6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44.98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5 225 1096 0 0,'-36'-82'7565'0'0,"0"2"-4103"0"0,36 80-3471 0 0,0-1 0 0 0,-1 0-1 0 0,1 1 1 0 0,0-1 0 0 0,0 0 0 0 0,-1 1-1 0 0,1-1 1 0 0,0 1 0 0 0,0-1 0 0 0,0 0 0 0 0,0 1-1 0 0,0-1 1 0 0,0 0 0 0 0,0 1 0 0 0,0-1-1 0 0,0 0 1 0 0,0 0 0 0 0,0 1 0 0 0,0-1-1 0 0,1 1 1 0 0,-1-1 0 0 0,0 0 0 0 0,0 1-1 0 0,1-1 1 0 0,-1 0 0 0 0,0 1 0 0 0,1-1-1 0 0,0 0 1 0 0,0 0-19 0 0,0 1-1 0 0,0-1 1 0 0,0 0-1 0 0,0 1 1 0 0,0-1 0 0 0,1 1-1 0 0,-1-1 1 0 0,0 1-1 0 0,0 0 1 0 0,1 0-1 0 0,-1-1 1 0 0,0 1-1 0 0,2 0 1 0 0,34 4-349 0 0,-24 0 342 0 0,-1 1 0 0 0,0 0 0 0 0,0 1 0 0 0,0 0 0 0 0,-1 1 0 0 0,0 0 0 0 0,0 1 0 0 0,-1 0 0 0 0,10 10 0 0 0,0 2 484 0 0,-1 0 0 0 0,-2 2 1 0 0,19 27-1 0 0,29 61 5236 0 0,-63-108-5203 0 0,0 1 51 0 0,-2-3-516 0 0,0 0-1 0 0,0 0 1 0 0,0 0 0 0 0,0 1 0 0 0,0-1 0 0 0,0 0 0 0 0,0 0-1 0 0,0 1 1 0 0,0-1 0 0 0,1 0 0 0 0,-1 0 0 0 0,0 0 0 0 0,0 0 0 0 0,0 1-1 0 0,0-1 1 0 0,0 0 0 0 0,1 0 0 0 0,-1 0 0 0 0,0 0 0 0 0,0 0-1 0 0,0 1 1 0 0,0-1 0 0 0,1 0 0 0 0,-1 0 0 0 0,0 0 0 0 0,0 0 0 0 0,0 0-1 0 0,1 0 1 0 0,-1 0 0 0 0,0 0 0 0 0,0 0 0 0 0,0 0 0 0 0,1 0-1 0 0,-1 0 1 0 0,0 0 0 0 0,21-19 93 0 0,-15 12-63 0 0,1 0-1 0 0,0 1 1 0 0,0 0-1 0 0,1 0 1 0 0,0 0-1 0 0,0 1 1 0 0,0 0 0 0 0,1 1-1 0 0,0 0 1 0 0,10-4-1 0 0,-1 4-114 0 0,-11 3 67 0 0,0 1 1 0 0,0 0 0 0 0,1 0 0 0 0,-1 0-1 0 0,0 1 1 0 0,0-1 0 0 0,0 2 0 0 0,0-1-1 0 0,0 1 1 0 0,-1 0 0 0 0,1 1 0 0 0,0 0-1 0 0,9 5 1 0 0,9 4 20 0 0,-7-4-62 0 0,0 0 1 0 0,1-2 0 0 0,-1 0 0 0 0,25 3 0 0 0,-41-8-39 0 0,0-1 0 0 0,-1 0 0 0 0,1 0 0 0 0,0-1 1 0 0,-1 1-1 0 0,1 0 0 0 0,0 0 0 0 0,-1-1 1 0 0,1 1-1 0 0,-1-1 0 0 0,1 1 0 0 0,-1-1 1 0 0,1 0-1 0 0,-1 0 0 0 0,1 0 0 0 0,-1 0 1 0 0,0 0-1 0 0,1 0 0 0 0,-1 0 0 0 0,0 0 1 0 0,0 0-1 0 0,0 0 0 0 0,0-1 0 0 0,0 1 1 0 0,0-1-1 0 0,0 1 0 0 0,0 0 0 0 0,-1-1 1 0 0,1 1-1 0 0,0-1 0 0 0,0-3 0 0 0,1-3-279 0 0,0-1-1 0 0,-1 1 1 0 0,0-1 0 0 0,0-14-1 0 0,-1 14 200 0 0,8-108-329 0 0,6 3 4006 0 0,-13 112-2844 0 0,0 4-579 0 0,0 1 1 0 0,1-1 0 0 0,-1 0-1 0 0,0 0 1 0 0,0 0 0 0 0,-1 1-1 0 0,1-1 1 0 0,0 1 0 0 0,0 3-1 0 0,-1-6-86 0 0,25 77 813 0 0,-18-61-1448 0 0,-1 1 1 0 0,-1 0-1 0 0,-1 1 0 0 0,0-1 0 0 0,-1 1 0 0 0,1 18 0 0 0,-9-8-2990 0 0,-5-13-2070 0 0</inkml:trace>
</inkml:ink>
</file>

<file path=ppt/ink/ink6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45.36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66 1168 0 0,'8'-16'1652'0'0,"4"-1"-152"0"0,2 1-412 0 0,4 2-183 0 0,6-2-185 0 0,2 1 20 0 0,2-1-156 0 0,2 5-64 0 0,0-1-124 0 0,2 3-92 0 0,2 1-60 0 0,-6 3-16 0 0,2 0-244 0 0,-2 1-280 0 0,-4 2-400 0 0,0 2-552 0 0,-4 0-1201 0 0,-2 0-491 0 0</inkml:trace>
</inkml:ink>
</file>

<file path=ppt/ink/ink6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47.47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05 272 1368 0 0,'-2'-2'1740'0'0,"0"1"-1544"0"0,-1 0 0 0 0,1 0 0 0 0,-1 0 0 0 0,1 0 0 0 0,-1 0 0 0 0,1 0 0 0 0,-1 1-1 0 0,1-1 1 0 0,-1 1 0 0 0,1-1 0 0 0,-1 1 0 0 0,0 0 0 0 0,1 0 0 0 0,-1 1 0 0 0,0-1 0 0 0,1 0 0 0 0,-1 1 0 0 0,1 0-1 0 0,-1-1 1 0 0,1 1 0 0 0,-1 0 0 0 0,1 0 0 0 0,-1 0 0 0 0,1 1 0 0 0,0-1 0 0 0,0 1 0 0 0,0-1 0 0 0,0 1-1 0 0,0 0 1 0 0,0 0 0 0 0,0-1 0 0 0,0 2 0 0 0,1-1 0 0 0,-1 0 0 0 0,1 0 0 0 0,-1 0 0 0 0,1 1 0 0 0,0-1-1 0 0,-1 3 1 0 0,2-4-160 0 0,0 0-1 0 0,0 0 1 0 0,0-1-1 0 0,0 1 1 0 0,0 0-1 0 0,0 0 1 0 0,1-1-1 0 0,-1 1 1 0 0,0 0-1 0 0,1 0 1 0 0,-1-1-1 0 0,0 1 0 0 0,1 0 1 0 0,-1-1-1 0 0,1 1 1 0 0,-1 0-1 0 0,1-1 1 0 0,-1 1-1 0 0,1 0 1 0 0,-1-1-1 0 0,1 1 1 0 0,0-1-1 0 0,-1 0 1 0 0,1 1-1 0 0,0-1 1 0 0,-1 1-1 0 0,1-1 1 0 0,0 0-1 0 0,0 1 1 0 0,-1-1-1 0 0,1 0 0 0 0,0 0 1 0 0,1 0-1 0 0,27 6 352 0 0,-13-6-318 0 0,1 0 0 0 0,-1-2 0 0 0,1 0 0 0 0,-1-1 0 0 0,0 0 0 0 0,0-2 0 0 0,-1 1 0 0 0,1-2 0 0 0,-1 0 0 0 0,0-1 0 0 0,0-1 0 0 0,-1 0-1 0 0,0-1 1 0 0,-1 0 0 0 0,0-1 0 0 0,14-14 0 0 0,-24 21-77 0 0,0 0 0 0 0,0 0 0 0 0,0-1 0 0 0,-1 0 0 0 0,0 1 0 0 0,1-1 0 0 0,-1 0 0 0 0,0 0 0 0 0,-1 0 0 0 0,1-1 0 0 0,-1 1-1 0 0,0 0 1 0 0,0-1 0 0 0,0 1 0 0 0,0 0 0 0 0,-1-1 0 0 0,0 1 0 0 0,0-1 0 0 0,-1-5 0 0 0,1 7-5 0 0,-2-1-1 0 0,1 0 1 0 0,0 0 0 0 0,-1 0 0 0 0,1 1 0 0 0,-1-1-1 0 0,0 1 1 0 0,0-1 0 0 0,0 1 0 0 0,-1 0 0 0 0,1 0-1 0 0,-1 0 1 0 0,0 0 0 0 0,0 0 0 0 0,0 1-1 0 0,0-1 1 0 0,0 1 0 0 0,-1 0 0 0 0,1 0 0 0 0,-1 0-1 0 0,-5-2 1 0 0,-1 0 1 0 0,0 1 0 0 0,0 1-1 0 0,0-1 1 0 0,0 1 0 0 0,0 1-1 0 0,-1 0 1 0 0,1 1 0 0 0,-1 0-1 0 0,1 0 1 0 0,0 1 0 0 0,-1 0-1 0 0,1 1 1 0 0,0 0 0 0 0,0 1-1 0 0,0 0 1 0 0,0 1 0 0 0,1 0-1 0 0,-1 0 1 0 0,-12 8 0 0 0,7-2 52 0 0,0 0-1 0 0,0 0 1 0 0,1 2 0 0 0,0 0 0 0 0,1 0 0 0 0,1 1 0 0 0,0 1 0 0 0,1 0-1 0 0,0 0 1 0 0,-12 23 0 0 0,17-25 2 0 0,1 0-1 0 0,0 1 1 0 0,1 0-1 0 0,0 0 1 0 0,1 0-1 0 0,1 0 1 0 0,0 0-1 0 0,1 0 1 0 0,0 1-1 0 0,1-1 1 0 0,0 1-1 0 0,1-1 1 0 0,1 0-1 0 0,0 0 0 0 0,1 0 1 0 0,0 0-1 0 0,1 0 1 0 0,1 0-1 0 0,8 18 1 0 0,-4-15-9 0 0,-1 1 1 0 0,2-1-1 0 0,0-1 1 0 0,1 0-1 0 0,1 0 1 0 0,0-1-1 0 0,0-1 1 0 0,2 0-1 0 0,0 0 1 0 0,0-2-1 0 0,1 0 1 0 0,0 0 0 0 0,28 13-1 0 0,-37-21-19 0 0,1 0 0 0 0,0-1 1 0 0,-1 0-1 0 0,1 0 0 0 0,0 0 0 0 0,0-1 1 0 0,0 0-1 0 0,1 0 0 0 0,-1-1 0 0 0,0 0 1 0 0,0 0-1 0 0,0-1 0 0 0,0 0 0 0 0,0 0 0 0 0,0 0 1 0 0,13-5-1 0 0,-12 2-48 0 0,0 0-1 0 0,-1 0 1 0 0,1-1 0 0 0,-1 0-1 0 0,0 0 1 0 0,0 0 0 0 0,0-1-1 0 0,-1 0 1 0 0,0 0 0 0 0,0-1-1 0 0,-1 0 1 0 0,1 0 0 0 0,5-11-1 0 0,7-19-205 0 0,-1 0 1 0 0,-1-1-1 0 0,15-61 0 0 0,11-28-204 0 0,-30 107 324 0 0,-11 19 122 0 0,-1 1-1 0 0,1-1 0 0 0,-1 1 0 0 0,1 0 1 0 0,-1-1-1 0 0,1 1 0 0 0,0 0 1 0 0,-1-1-1 0 0,1 1 0 0 0,-1 0 0 0 0,1 0 1 0 0,0-1-1 0 0,-1 1 0 0 0,1 0 0 0 0,-1 0 1 0 0,1 0-1 0 0,0 0 0 0 0,-1 0 0 0 0,1 0 1 0 0,1 0-1 0 0,0 1 15 0 0,0 0 0 0 0,-1 0 0 0 0,1 0 1 0 0,0 0-1 0 0,0 1 0 0 0,0-1 0 0 0,-1 0 0 0 0,1 1 1 0 0,-1 0-1 0 0,1-1 0 0 0,-1 1 0 0 0,0 0 0 0 0,1-1 1 0 0,-1 1-1 0 0,2 4 0 0 0,25 37 619 0 0,3-1 1 0 0,37 41-1 0 0,-12-17 988 0 0,-55-64-1492 0 0,0-1-1 0 0,-1 0 1 0 0,1 0 0 0 0,0 0-1 0 0,0 0 1 0 0,0 0 0 0 0,0 0-1 0 0,0 0 1 0 0,0 0 0 0 0,1 0 0 0 0,-1-1-1 0 0,0 1 1 0 0,0 0 0 0 0,1-1-1 0 0,-1 1 1 0 0,0-1 0 0 0,1 1-1 0 0,-1-1 1 0 0,0 0 0 0 0,1 0 0 0 0,-1 1-1 0 0,2-1 1 0 0,-2-1-55 0 0,1 1-1 0 0,-1-1 1 0 0,0 1 0 0 0,0-1-1 0 0,0 0 1 0 0,1 1-1 0 0,-1-1 1 0 0,0 0 0 0 0,0 0-1 0 0,0 0 1 0 0,0 0 0 0 0,0 0-1 0 0,-1 0 1 0 0,1 0 0 0 0,0 0-1 0 0,0 0 1 0 0,-1 0 0 0 0,2-2-1 0 0,1-4 15 0 0,0-1-1 0 0,0 0 0 0 0,-1 0 0 0 0,0 1 1 0 0,0-1-1 0 0,1-11 0 0 0,-1-47-231 0 0,-7-78 0 0 0,0 14-6010 0 0,5 129 5961 0 0,0 0 0 0 0,0 0 0 0 0,0 0 0 0 0,0-1 0 0 0,1 1 0 0 0,-1 0 0 0 0,0 0 0 0 0,0 0 0 0 0,1 0 0 0 0,-1 0 0 0 0,1 0 0 0 0,-1 0 0 0 0,1 0 0 0 0,-1 1 0 0 0,1-1 0 0 0,-1 0 0 0 0,1 0 0 0 0,0 0 0 0 0,0 0 0 0 0,-1 1 0 0 0,1-1 0 0 0,0 0 0 0 0,0 1 0 0 0,0-1 0 0 0,0 1 0 0 0,0-1 0 0 0,0 1 0 0 0,0-1 0 0 0,0 1 0 0 0,0-1 0 0 0,0 1 0 0 0,0 0 0 0 0,0 0 0 0 0,0 0 0 0 0,0 0 0 0 0,1-1 0 0 0,5 1-59 0 0,0 0 0 0 0,0 1 0 0 0,0 0 0 0 0,11 2 0 0 0,-5-1-508 0 0,6 0 565 0 0,-1-1-1 0 0,1 0 1 0 0,0-1 0 0 0,-1-1-1 0 0,1-1 1 0 0,29-7 0 0 0,-41 7 357 0 0,0 0 1 0 0,0 0-1 0 0,-1-1 1 0 0,1 0 0 0 0,-1 0-1 0 0,1-1 1 0 0,-1 0-1 0 0,0 0 1 0 0,0 0-1 0 0,-1 0 1 0 0,1-1 0 0 0,-1 0-1 0 0,0-1 1 0 0,0 1-1 0 0,-1-1 1 0 0,0 0-1 0 0,0 0 1 0 0,0 0 0 0 0,4-10-1 0 0,-8 16-148 0 0,1 0 1 0 0,-1-1-1 0 0,0 1 0 0 0,0 0 1 0 0,0 0-1 0 0,0-1 0 0 0,1 1 1 0 0,-1 0-1 0 0,0-1 0 0 0,0 1 1 0 0,0 0-1 0 0,0-1 0 0 0,0 1 1 0 0,0 0-1 0 0,0-1 0 0 0,0 1 1 0 0,0 0-1 0 0,0-1 0 0 0,0 1 1 0 0,0 0-1 0 0,0 0 0 0 0,0-1 1 0 0,0 1-1 0 0,0 0 0 0 0,-1-1 1 0 0,1 1-1 0 0,0 0 0 0 0,0-1 1 0 0,0 1-1 0 0,0 0 0 0 0,-1 0 1 0 0,1-1-1 0 0,0 1 1 0 0,0 0-1 0 0,-1 0 0 0 0,1-1 1 0 0,0 1-1 0 0,0 0 0 0 0,-1 0 1 0 0,1 0-1 0 0,0 0 0 0 0,0-1 1 0 0,-1 1-1 0 0,1 0 0 0 0,0 0 1 0 0,-1 0-1 0 0,1 0 0 0 0,0 0 1 0 0,-1 0-1 0 0,1 0 0 0 0,0 0 1 0 0,-1 0-1 0 0,0 0 0 0 0,-13 2 288 0 0,9 0-202 0 0,1 1 0 0 0,-1-1 1 0 0,0 1-1 0 0,1 0 1 0 0,0 0-1 0 0,-1 0 1 0 0,1 1-1 0 0,1 0 1 0 0,-1-1-1 0 0,0 1 1 0 0,1 1-1 0 0,0-1 1 0 0,-4 7-1 0 0,-1 3 128 0 0,1 0-1 0 0,0 0 1 0 0,-5 18-1 0 0,8-19-91 0 0,1-1-1 0 0,1 1 0 0 0,0-1 0 0 0,0 1 1 0 0,1 0-1 0 0,1 0 0 0 0,0 0 0 0 0,3 19 0 0 0,-2-21-78 0 0,1-1 0 0 0,1 0 0 0 0,0 1 0 0 0,0-1 0 0 0,0-1-1 0 0,2 1 1 0 0,-1 0 0 0 0,1-1 0 0 0,1 0 0 0 0,11 16 0 0 0,-16-23-47 0 0,1 0 1 0 0,0-1 0 0 0,0 1 0 0 0,0 0 0 0 0,0 0-1 0 0,0-1 1 0 0,0 1 0 0 0,0-1 0 0 0,0 0 0 0 0,1 1 0 0 0,-1-1-1 0 0,0 0 1 0 0,1 0 0 0 0,-1-1 0 0 0,1 1 0 0 0,-1 0-1 0 0,1-1 1 0 0,-1 0 0 0 0,1 1 0 0 0,0-1 0 0 0,-1 0-1 0 0,1 0 1 0 0,-1-1 0 0 0,1 1 0 0 0,4-2 0 0 0,-3 1-85 0 0,0-1-1 0 0,-1 1 1 0 0,1-1 0 0 0,0 0 0 0 0,-1 0 0 0 0,0-1 0 0 0,1 1 0 0 0,-1-1 0 0 0,0 0 0 0 0,0 0-1 0 0,-1 0 1 0 0,1 0 0 0 0,0 0 0 0 0,-1 0 0 0 0,3-6 0 0 0,8-17-914 0 0,16-47 0 0 0,-24 55 787 0 0,1 0 0 0 0,2 1 0 0 0,-1 0 0 0 0,2 0 0 0 0,0 1 0 0 0,19-26 1 0 0,-26 40 188 0 0,0 0 1 0 0,0 0 0 0 0,0-1 0 0 0,0 2 0 0 0,1-1 0 0 0,-1 0 0 0 0,0 0 0 0 0,1 1 0 0 0,-1-1-1 0 0,1 1 1 0 0,-1 0 0 0 0,1 0 0 0 0,0 0 0 0 0,0 0 0 0 0,-1 0 0 0 0,1 0 0 0 0,0 1 0 0 0,0-1-1 0 0,0 1 1 0 0,0 0 0 0 0,0 0 0 0 0,0 0 0 0 0,0 0 0 0 0,-1 1 0 0 0,1-1 0 0 0,0 1 0 0 0,0 0-1 0 0,0 0 1 0 0,-1 0 0 0 0,1 0 0 0 0,0 0 0 0 0,-1 0 0 0 0,1 1 0 0 0,-1-1 0 0 0,1 1 0 0 0,-1 0-1 0 0,3 2 1 0 0,2 2 69 0 0,0 1-1 0 0,0 0 0 0 0,0 1 0 0 0,0-1 1 0 0,-1 2-1 0 0,-1-1 0 0 0,1 0 1 0 0,-2 1-1 0 0,7 14 0 0 0,-5-7 118 0 0,27 76 824 0 0,-32-92-984 0 0,-1 1-1 0 0,0-1 0 0 0,0 0 1 0 0,0 1-1 0 0,0-1 0 0 0,0 1 1 0 0,0-1-1 0 0,1 1 0 0 0,-1-1 0 0 0,0 0 1 0 0,0 1-1 0 0,1-1 0 0 0,-1 0 1 0 0,0 1-1 0 0,1-1 0 0 0,-1 0 1 0 0,0 1-1 0 0,1-1 0 0 0,-1 0 1 0 0,0 0-1 0 0,1 1 0 0 0,-1-1 1 0 0,1 0-1 0 0,-1 0 0 0 0,0 0 0 0 0,1 1 1 0 0,-1-1-1 0 0,1 0 0 0 0,-1 0 1 0 0,1 0-1 0 0,-1 0 0 0 0,1 0 1 0 0,-1 0-1 0 0,0 0 0 0 0,1 0 1 0 0,-1 0-1 0 0,1 0 0 0 0,-1 0 1 0 0,1 0-1 0 0,-1-1 0 0 0,1 1 1 0 0,-1 0-1 0 0,0 0 0 0 0,1 0 0 0 0,-1 0 1 0 0,1-1-1 0 0,-1 1 0 0 0,0 0 1 0 0,1-1-1 0 0,17-14-2 0 0,-18 14 18 0 0,115-141 20 0 0,-69 81-130 0 0,-30 44-21 0 0,-14 15 362 0 0,-1 2-220 0 0,0 1 0 0 0,-1-1 0 0 0,1 1 0 0 0,0-1 1 0 0,0 1-1 0 0,-1-1 0 0 0,1 1 0 0 0,-1-1 0 0 0,1 1 0 0 0,0 0 1 0 0,-1-1-1 0 0,1 1 0 0 0,-1 0 0 0 0,1-1 0 0 0,-1 2 0 0 0,2 6 63 0 0,-1 1 0 0 0,1-1 0 0 0,0 0 0 0 0,1 0-1 0 0,0 0 1 0 0,0 0 0 0 0,1-1 0 0 0,0 1 0 0 0,0-1-1 0 0,1 0 1 0 0,0 0 0 0 0,7 9 0 0 0,-7-12-71 0 0,0 1 0 0 0,0-1 0 0 0,0 0 1 0 0,0 0-1 0 0,1 0 0 0 0,-1-1 0 0 0,1 0 0 0 0,0 0 1 0 0,0 0-1 0 0,0-1 0 0 0,0 0 0 0 0,1 0 0 0 0,-1-1 1 0 0,0 1-1 0 0,1-1 0 0 0,-1-1 0 0 0,8 1 0 0 0,-9-1-33 0 0,0-1 0 0 0,1 1-1 0 0,-1-1 1 0 0,0 0 0 0 0,0 0-1 0 0,0-1 1 0 0,0 1 0 0 0,0-1 0 0 0,0 0-1 0 0,0-1 1 0 0,0 1 0 0 0,-1-1-1 0 0,1 0 1 0 0,-1 0 0 0 0,0 0-1 0 0,0-1 1 0 0,0 0 0 0 0,-1 1-1 0 0,5-6 1 0 0,3-7-209 0 0,0 0-1 0 0,-2-1 0 0 0,16-34 0 0 0,-1 1-98 0 0,-24 50 299 0 0,1-1 1 0 0,-1 0-1 0 0,0 1 1 0 0,0-1 0 0 0,1 1-1 0 0,-1-1 1 0 0,1 0-1 0 0,-1 1 1 0 0,0-1-1 0 0,1 1 1 0 0,-1-1-1 0 0,1 1 1 0 0,-1-1-1 0 0,1 1 1 0 0,0 0-1 0 0,-1-1 1 0 0,1 1-1 0 0,-1 0 1 0 0,1-1-1 0 0,0 1 1 0 0,-1 0-1 0 0,1 0 1 0 0,0-1 0 0 0,-1 1-1 0 0,1 0 1 0 0,0 0-1 0 0,0 0 1 0 0,0 0 19 0 0,0 1 0 0 0,0-1 1 0 0,0 1-1 0 0,0-1 0 0 0,0 1 1 0 0,0 0-1 0 0,0-1 0 0 0,0 1 1 0 0,0 0-1 0 0,-1 0 0 0 0,1 0 1 0 0,0-1-1 0 0,-1 1 0 0 0,1 0 0 0 0,0 2 1 0 0,4 5 150 0 0,-1 1 1 0 0,0-1 0 0 0,2 11 0 0 0,-5-15-129 0 0,15 42 383 0 0,-3 2 0 0 0,-2 0 1 0 0,-1 0-1 0 0,3 66 1 0 0,-12-91-358 0 0,0 1 1 0 0,-2-1-1 0 0,-1 1 1 0 0,0-1-1 0 0,-2 1 1 0 0,-1-1-1 0 0,-1-1 1 0 0,0 1-1 0 0,-2-1 1 0 0,-1 0-1 0 0,-13 24 1 0 0,19-40-43 0 0,0-1 0 0 0,-1 1 0 0 0,0-1 1 0 0,0 0-1 0 0,0 0 0 0 0,-1 0 0 0 0,0-1 1 0 0,0 0-1 0 0,0 1 0 0 0,0-2 0 0 0,-1 1 1 0 0,1-1-1 0 0,-13 6 0 0 0,15-8-16 0 0,-1 0 0 0 0,1 0-1 0 0,-1-1 1 0 0,1 1 0 0 0,-1-1 0 0 0,1 0-1 0 0,-1 0 1 0 0,1 0 0 0 0,-1 0 0 0 0,1-1-1 0 0,-1 0 1 0 0,1 1 0 0 0,-1-1 0 0 0,1 0-1 0 0,-1-1 1 0 0,1 1 0 0 0,0 0 0 0 0,0-1-1 0 0,0 0 1 0 0,0 0 0 0 0,0 0 0 0 0,0 0-1 0 0,0 0 1 0 0,1-1 0 0 0,-1 1 0 0 0,1-1 0 0 0,-3-3-1 0 0,-1-2-176 0 0,1 0-1 0 0,0-1 0 0 0,0 1 1 0 0,1-1-1 0 0,0 0 0 0 0,0-1 0 0 0,1 1 1 0 0,0-1-1 0 0,1 1 0 0 0,0-1 1 0 0,1 0-1 0 0,-1 0 0 0 0,2 0 1 0 0,0 1-1 0 0,0-1 0 0 0,3-17 1 0 0,-1 8-918 0 0,2 0 1 0 0,0 1 0 0 0,1-1 0 0 0,1 1 0 0 0,0 0-1 0 0,2 0 1 0 0,16-29 0 0 0,-8 21-2346 0 0</inkml:trace>
</inkml:ink>
</file>

<file path=ppt/ink/ink6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48.49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2 34 952 0 0,'-12'-10'5612'0'0,"12"10"-5540"0"0,-1-1-1 0 0,1 1 1 0 0,-1 0-1 0 0,1 0 1 0 0,-1 0 0 0 0,1 0-1 0 0,-1 0 1 0 0,1 0-1 0 0,-1-1 1 0 0,1 1 0 0 0,-1 0-1 0 0,1 0 1 0 0,-1 1-1 0 0,1-1 1 0 0,-1 0 0 0 0,1 0-1 0 0,-1 0 1 0 0,1 0-1 0 0,-1 0 1 0 0,1 0 0 0 0,-1 1-1 0 0,1-1 1 0 0,-1 0-1 0 0,1 0 1 0 0,-1 1 0 0 0,1-1-1 0 0,0 0 1 0 0,-1 1-1 0 0,1-1 1 0 0,0 0 0 0 0,-1 1-1 0 0,1-1 1 0 0,0 1-1 0 0,-1-1 1 0 0,1 0 0 0 0,0 1-1 0 0,0-1 1 0 0,-1 1-1 0 0,1-1 1 0 0,0 1 0 0 0,0-1-1 0 0,0 1 1 0 0,0-1-1 0 0,0 1 1 0 0,0 0 0 0 0,-3 27 1355 0 0,5 3-739 0 0,0 0-1 0 0,2 0 1 0 0,2 0-1 0 0,1-1 1 0 0,12 36-1 0 0,-18-63-708 0 0,6 21 2002 0 0,-7-24-1958 0 0,0 0-1 0 0,0 0 0 0 0,0 0 1 0 0,0 1-1 0 0,0-1 0 0 0,0 0 0 0 0,0 0 1 0 0,0 1-1 0 0,0-1 0 0 0,0 0 1 0 0,0 0-1 0 0,0 1 0 0 0,0-1 1 0 0,0 0-1 0 0,0 0 0 0 0,-1 1 0 0 0,1-1 1 0 0,0 0-1 0 0,0 0 0 0 0,0 0 1 0 0,0 1-1 0 0,0-1 0 0 0,0 0 1 0 0,-1 0-1 0 0,1 0 0 0 0,0 0 0 0 0,0 1 1 0 0,0-1-1 0 0,-1 0 0 0 0,1 0 1 0 0,0 0-1 0 0,0 0 0 0 0,0 0 0 0 0,-1 0 1 0 0,1 1-1 0 0,0-1 0 0 0,0 0 1 0 0,-1 0-1 0 0,1 0 0 0 0,0 0 1 0 0,0 0-1 0 0,0 0 0 0 0,-1 0 0 0 0,1 0 1 0 0,0 0-1 0 0,0 0 0 0 0,-1 0 1 0 0,1 0-1 0 0,0 0 0 0 0,0-1 1 0 0,-1 1-1 0 0,1 0 0 0 0,0 0 0 0 0,0 0 1 0 0,0 0-1 0 0,-1 0 0 0 0,1 0 1 0 0,0 0-1 0 0,0-1 0 0 0,0 1 0 0 0,-1 0 1 0 0,1 0-1 0 0,-1-1-21 0 0,0-1-1 0 0,0 1 1 0 0,-1 0 0 0 0,1-1-1 0 0,0 1 1 0 0,1 0 0 0 0,-1-1-1 0 0,0 1 1 0 0,0-1 0 0 0,1 0-1 0 0,-1 1 1 0 0,1-1-1 0 0,-1 1 1 0 0,1-1 0 0 0,-1-2-1 0 0,0 0-13 0 0,-1-6-41 0 0,0 0 0 0 0,0 1-1 0 0,1-1 1 0 0,1 0 0 0 0,-1 0 0 0 0,3-14 0 0 0,-2 17 23 0 0,1 0 0 0 0,0 1 0 0 0,1-1 0 0 0,-1 1 0 0 0,1-1-1 0 0,1 1 1 0 0,-1-1 0 0 0,1 1 0 0 0,0 0 0 0 0,5-7 0 0 0,-7 11 22 0 0,0 1 0 0 0,0 0 0 0 0,1 0 1 0 0,-1 0-1 0 0,0 0 0 0 0,0 0 0 0 0,0 0 0 0 0,1 0 0 0 0,-1 1 0 0 0,0-1 1 0 0,1 0-1 0 0,-1 1 0 0 0,1-1 0 0 0,-1 1 0 0 0,1-1 0 0 0,-1 1 0 0 0,1 0 1 0 0,-1-1-1 0 0,1 1 0 0 0,0 0 0 0 0,-1 0 0 0 0,1 0 0 0 0,-1 0 0 0 0,1 1 1 0 0,2 0-1 0 0,1 0-1 0 0,1 1 1 0 0,-1 0 0 0 0,0 0 0 0 0,0 1-1 0 0,0 0 1 0 0,5 4 0 0 0,15 13 119 0 0,0 1 1 0 0,-2 1 0 0 0,0 1-1 0 0,22 31 1 0 0,-26-38 1302 0 0,-18-15-1373 0 0,-1-1 0 0 0,1 1 0 0 0,-1-1 0 0 0,1 0 0 0 0,-1 1 1 0 0,1-1-1 0 0,0 0 0 0 0,-1 1 0 0 0,1-1 0 0 0,0 0 0 0 0,-1 0 1 0 0,1 0-1 0 0,0 0 0 0 0,-1 0 0 0 0,1 0 0 0 0,0 0 0 0 0,-1 0 1 0 0,1 0-1 0 0,0 0 0 0 0,0 0 0 0 0,-1 0 0 0 0,1 0 1 0 0,0-1-1 0 0,-1 1 0 0 0,1 0 0 0 0,-1 0 0 0 0,1-1 0 0 0,0 1 1 0 0,-1 0-1 0 0,1-1 0 0 0,-1 1 0 0 0,2-1 0 0 0,9-16-67 0 0,-1 0 0 0 0,-1 0 0 0 0,0-1 0 0 0,-1 0 0 0 0,5-20 0 0 0,12-24-206 0 0,-13 44 44 0 0,-11 16 144 0 0,8 12-83 0 0,-5 2 136 0 0,1-1-1 0 0,0 0 1 0 0,1 0 0 0 0,0 0-1 0 0,0-1 1 0 0,1 0 0 0 0,16 18-1 0 0,-18-23 18 0 0,0 1-1 0 0,1-1 1 0 0,0 0-1 0 0,0 0 1 0 0,1-1-1 0 0,-1 0 1 0 0,1 0-1 0 0,0-1 1 0 0,0 0-1 0 0,0 0 1 0 0,1 0 0 0 0,-1-1-1 0 0,14 3 1 0 0,-16-5-43 0 0,1 1 0 0 0,0-1 1 0 0,-1 0-1 0 0,1-1 1 0 0,0 1-1 0 0,-1-1 0 0 0,1 0 1 0 0,-1-1-1 0 0,1 1 1 0 0,-1-1-1 0 0,1 0 0 0 0,-1 0 1 0 0,0-1-1 0 0,0 1 1 0 0,0-1-1 0 0,0 0 0 0 0,-1-1 1 0 0,1 1-1 0 0,-1-1 1 0 0,0 0-1 0 0,0 0 0 0 0,0 0 1 0 0,5-9-1 0 0,-4 5-60 0 0,0 0-1 0 0,-1 0 1 0 0,0 0-1 0 0,0 0 1 0 0,-1-1-1 0 0,0 0 1 0 0,0 1-1 0 0,-1-1 1 0 0,-1 0-1 0 0,1 0 1 0 0,-1 0-1 0 0,-1-1 1 0 0,-1-16-1 0 0,1 25 69 0 0,0 0 0 0 0,0 0 0 0 0,0 0 0 0 0,0 0-1 0 0,0 0 1 0 0,0 0 0 0 0,0 0 0 0 0,-1 0 0 0 0,1 0 0 0 0,-1 0-1 0 0,1 0 1 0 0,0 0 0 0 0,-1 0 0 0 0,0 0 0 0 0,1 0 0 0 0,-1 0 0 0 0,1 1-1 0 0,-1-1 1 0 0,0 0 0 0 0,0 0 0 0 0,1 1 0 0 0,-1-1 0 0 0,0 1 0 0 0,-2-2-1 0 0,2 2 3 0 0,0 0-1 0 0,-1-1 0 0 0,1 1 1 0 0,-1 0-1 0 0,1 0 1 0 0,0 0-1 0 0,-1 1 0 0 0,1-1 1 0 0,-1 0-1 0 0,1 0 0 0 0,0 1 1 0 0,-1-1-1 0 0,1 1 0 0 0,0-1 1 0 0,-3 2-1 0 0,-1 1 1 0 0,0 0-1 0 0,0 0 1 0 0,1 1-1 0 0,-1-1 1 0 0,1 1 0 0 0,0 0-1 0 0,-7 8 1 0 0,9-9 14 0 0,0 0 0 0 0,0 0 0 0 0,1 1 1 0 0,-1-1-1 0 0,1 0 0 0 0,0 1 0 0 0,0-1 0 0 0,0 0 1 0 0,0 1-1 0 0,1-1 0 0 0,-1 1 0 0 0,1 0 0 0 0,0-1 1 0 0,0 1-1 0 0,0-1 0 0 0,1 1 0 0 0,-1-1 0 0 0,1 1 1 0 0,0-1-1 0 0,0 1 0 0 0,0-1 0 0 0,0 0 0 0 0,0 1 1 0 0,1-1-1 0 0,0 0 0 0 0,-1 0 0 0 0,1 0 0 0 0,1 0 1 0 0,-1 0-1 0 0,0 0 0 0 0,1-1 0 0 0,-1 1 1 0 0,1-1-1 0 0,0 0 0 0 0,-1 0 0 0 0,1 0 0 0 0,0 0 1 0 0,1 0-1 0 0,-1 0 0 0 0,0-1 0 0 0,6 2 0 0 0,-5-1 9 0 0,0-1 0 0 0,1 0 0 0 0,-1 0 0 0 0,0-1-1 0 0,0 1 1 0 0,0-1 0 0 0,1 0 0 0 0,-1 0-1 0 0,0 0 1 0 0,0-1 0 0 0,0 1 0 0 0,1-1 0 0 0,-1 0-1 0 0,0 0 1 0 0,6-3 0 0 0,-7 2-9 0 0,-1 1 1 0 0,1 0-1 0 0,-1-1 0 0 0,0 0 0 0 0,1 0 1 0 0,-1 1-1 0 0,0-1 0 0 0,0-1 1 0 0,0 1-1 0 0,0 0 0 0 0,-1 0 0 0 0,1-1 1 0 0,0 1-1 0 0,-1-1 0 0 0,0 1 1 0 0,1-1-1 0 0,-1 0 0 0 0,0 1 1 0 0,-1-1-1 0 0,1 0 0 0 0,0 0 0 0 0,0-4 1 0 0,-1 3-14 0 0,-1 0 0 0 0,1 0 0 0 0,-1 0 1 0 0,0 1-1 0 0,0-1 0 0 0,0 0 0 0 0,0 1 1 0 0,-1-1-1 0 0,0 1 0 0 0,1 0 0 0 0,-1-1 1 0 0,0 1-1 0 0,-1 0 0 0 0,1 0 0 0 0,0 0 0 0 0,-1 0 1 0 0,0 1-1 0 0,0-1 0 0 0,1 1 0 0 0,-5-3 1 0 0,-6-5-586 0 0,-1 1 0 0 0,0 0 1 0 0,-17-7-1 0 0,-17-7-6838 0 0</inkml:trace>
</inkml:ink>
</file>

<file path=ppt/ink/ink6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48.83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80 0 0,'3'1'1904'0'0,"2"0"-1361"0"0,0 1 0 0 0,-1 0 0 0 0,1 0 1 0 0,-1 1-1 0 0,0 0 0 0 0,1-1 1 0 0,-1 2-1 0 0,-1-1 0 0 0,1 0 1 0 0,0 1-1 0 0,-1-1 0 0 0,0 1 1 0 0,1 0-1 0 0,-2 0 0 0 0,5 8 0 0 0,4 8 655 0 0,-1 2 0 0 0,10 26 0 0 0,0 4-485 0 0,16 24-389 0 0,-13-28-3439 0 0,-19-39 195 0 0</inkml:trace>
  <inkml:trace contextRef="#ctx0" brushRef="#br0" timeOffset="1">136 145 680 0 0,'0'0'512'0'0,"-4"-15"-668"0"0,0 3-436 0 0</inkml:trace>
</inkml:ink>
</file>

<file path=ppt/ink/ink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4:39.26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4 2320 0 0,'26'-13'4003'0'0,"-24"12"-3153"0"0,1 2 4 0 0,-1 0-721 0 0,0-1 0 0 0,0 2 1 0 0,-1-1-1 0 0,1 0 0 0 0,0 0 1 0 0,-1 0-1 0 0,1 1 0 0 0,-1-1 1 0 0,1 1-1 0 0,-1-1 0 0 0,0 1 1 0 0,1 0-1 0 0,-1 0 0 0 0,0-1 1 0 0,0 1-1 0 0,0 0 1 0 0,-1 0-1 0 0,1 0 0 0 0,0 0 1 0 0,0 2-1 0 0,14 55 641 0 0,-9-31-478 0 0,-6-26-300 0 0,17 57 448 0 0,15 105 1 0 0,-30-142-898 0 0,-1 0-1 0 0,-1 1 1 0 0,-3 25 0 0 0,2-34-434 0 0,-2-1 0 0 0,0 1 0 0 0,-1-1 0 0 0,0 1 0 0 0,-1-1 0 0 0,-6 13 0 0 0,-1-5-1469 0 0</inkml:trace>
</inkml:ink>
</file>

<file path=ppt/ink/ink6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49.18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1 0 1408 0 0,'0'0'1030'0'0,"-1"0"-853"0"0,0 0 0 0 0,1 0-1 0 0,-1 0 1 0 0,0 0 0 0 0,0 0-1 0 0,1 0 1 0 0,-1 0 0 0 0,0 1-1 0 0,0-1 1 0 0,0 0 0 0 0,1 0-1 0 0,-1 1 1 0 0,0-1 0 0 0,1 0-1 0 0,-1 1 1 0 0,0-1 0 0 0,1 1 0 0 0,-2 0-1 0 0,0 5 232 0 0,1 1-1 0 0,0 0 1 0 0,0 0-1 0 0,1 0 1 0 0,-1 0-1 0 0,1 0 1 0 0,1 0-1 0 0,0-1 1 0 0,2 13-1 0 0,2 3 670 0 0,14 39 0 0 0,-1-22-142 0 0,1 0 0 0 0,33 47 1 0 0,-4-5 1898 0 0,-47-80-2786 0 0,-1-1 0 0 0,0 1 0 0 0,1 0 0 0 0,-1-1-1 0 0,1 1 1 0 0,-1-1 0 0 0,1 1 0 0 0,-1-1 0 0 0,1 1-1 0 0,-1-1 1 0 0,1 1 0 0 0,-1-1 0 0 0,1 1 0 0 0,0-1-1 0 0,-1 0 1 0 0,1 1 0 0 0,0-1 0 0 0,-1 0 0 0 0,1 0-1 0 0,0 1 1 0 0,-1-1 0 0 0,1 0 0 0 0,0 0 0 0 0,0 0-1 0 0,-1 0 1 0 0,1 0 0 0 0,0 0 0 0 0,-1 0 0 0 0,1 0 0 0 0,0 0-1 0 0,0 0 1 0 0,-1-1 0 0 0,1 1 0 0 0,0 0 0 0 0,-1 0-1 0 0,1-1 1 0 0,0 1 0 0 0,-1 0 0 0 0,1-1 0 0 0,-1 1-1 0 0,1-1 1 0 0,0 1 0 0 0,0-1 0 0 0,1-1 9 0 0,0 0 0 0 0,0 0 0 0 0,0 0 0 0 0,0 0 0 0 0,0 0 0 0 0,0-1 0 0 0,-1 1 0 0 0,1 0 0 0 0,1-4 0 0 0,1-9-21 0 0,-1-1 0 0 0,-1 1 0 0 0,0-1 0 0 0,-1 0 0 0 0,0 0 0 0 0,-1 1 1 0 0,-4-26-1 0 0,2 9-38 0 0,-1-1-447 0 0,-7-37 1 0 0,2 37-2433 0 0,0 2-3638 0 0</inkml:trace>
</inkml:ink>
</file>

<file path=ppt/ink/ink6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49.80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 284 1744 0 0,'3'0'3519'0'0,"11"-2"-2325"0"0,-11 2-223 0 0,0 1 25 0 0,-1 0-711 0 0,1 1-1 0 0,-1-1 0 0 0,0 1 1 0 0,0-1-1 0 0,0 1 1 0 0,0 0-1 0 0,0 0 0 0 0,0 0 1 0 0,0 0-1 0 0,0 0 1 0 0,-1 0-1 0 0,1 1 0 0 0,-1-1 1 0 0,2 4-1 0 0,19 47 2162 0 0,-9-20-1689 0 0,3 0-342 0 0,50 115-1348 0 0,-52-115-2013 0 0,-3-15-3328 0 0</inkml:trace>
  <inkml:trace contextRef="#ctx0" brushRef="#br0" timeOffset="1">116 163 1512 0 0,'-9'-18'2067'0'0,"-1"0"0"0"0,-19-27 0 0 0,-28-27 417 0 0,46 63-2983 0 0</inkml:trace>
</inkml:ink>
</file>

<file path=ppt/ink/ink6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55.80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7 212 1028 0 0,'-2'0'2818'0'0,"-15"8"3571"0"0,35-11-6124 0 0,1-1 0 0 0,0-1 0 0 0,-1 0 0 0 0,0-1 0 0 0,32-17 0 0 0,-39 18-198 0 0,0-2 1 0 0,-1 1 0 0 0,1-1 0 0 0,-1-1 0 0 0,-1 0 0 0 0,0 0 0 0 0,0-1 0 0 0,0 0-1 0 0,-1 0 1 0 0,9-16 0 0 0,-5-4 9 0 0,-11 28-70 0 0,-1 0 1 0 0,1 0-1 0 0,-1 0 1 0 0,0 0-1 0 0,0-1 0 0 0,1 1 1 0 0,-1 0-1 0 0,0 0 0 0 0,0 0 1 0 0,0-1-1 0 0,-1 1 1 0 0,1 0-1 0 0,0 0 0 0 0,0 0 1 0 0,-1-1-1 0 0,1 1 0 0 0,0 0 1 0 0,-1 0-1 0 0,1 0 1 0 0,-1 0-1 0 0,0 0 0 0 0,1 0 1 0 0,-1 0-1 0 0,0 0 0 0 0,-1-2 1 0 0,-1 2 4 0 0,0-1 1 0 0,0 0 0 0 0,0 1-1 0 0,0-1 1 0 0,-1 1-1 0 0,1 0 1 0 0,0 0-1 0 0,-1 1 1 0 0,1-1-1 0 0,-1 1 1 0 0,1-1 0 0 0,-1 1-1 0 0,-4 1 1 0 0,0-1 12 0 0,0 1 1 0 0,1 1 0 0 0,-1 0-1 0 0,0 0 1 0 0,-12 5-1 0 0,6-1 55 0 0,1 1 0 0 0,-1 1 0 0 0,1 0-1 0 0,0 0 1 0 0,-21 20 0 0 0,27-21 28 0 0,0-1 1 0 0,1 2-1 0 0,-1-1 1 0 0,2 1-1 0 0,-1 0 0 0 0,1 0 1 0 0,0 1-1 0 0,1-1 1 0 0,0 1-1 0 0,-4 13 0 0 0,6-17-49 0 0,1 0-1 0 0,0 1 1 0 0,1-1-1 0 0,-1 0 0 0 0,1 1 1 0 0,0-1-1 0 0,0 0 1 0 0,1 1-1 0 0,0-1 0 0 0,0 0 1 0 0,0 0-1 0 0,0 0 1 0 0,1 0-1 0 0,0 0 0 0 0,0 0 1 0 0,0 0-1 0 0,1 0 1 0 0,-1 0-1 0 0,1-1 0 0 0,5 7 1 0 0,0-3 0 0 0,0 0 1 0 0,1 0 0 0 0,-1-1-1 0 0,1 0 1 0 0,1-1-1 0 0,-1 1 1 0 0,1-2 0 0 0,0 1-1 0 0,22 6 1 0 0,-12-4-569 0 0,1-2 0 0 0,1-1-1 0 0,-1 0 1 0 0,29 1 0 0 0,-37-5-667 0 0,1-1-1 0 0,0 0 0 0 0,0-1 0 0 0,-1-1 0 0 0,1 0 1 0 0,21-6-1 0 0,-9 0-2299 0 0</inkml:trace>
</inkml:ink>
</file>

<file path=ppt/ink/ink6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56.13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5 241 1512 0 0,'28'-25'7163'0'0,"-25"27"-6380"0"0,-1 0-582 0 0,1 0 0 0 0,-1 0 0 0 0,0 0-1 0 0,1 1 1 0 0,-1-1 0 0 0,0 1 0 0 0,0-1 0 0 0,-1 1 0 0 0,1 0-1 0 0,-1 0 1 0 0,1 0 0 0 0,1 4 0 0 0,14 49 842 0 0,-8-25-707 0 0,29 94 332 0 0,-20-40-3432 0 0,-12-48-3228 0 0</inkml:trace>
  <inkml:trace contextRef="#ctx0" brushRef="#br0" timeOffset="1">67 180 1096 0 0,'-6'-22'1700'0'0,"0"6"-380"0"0,0-2-304 0 0,0 4-239 0 0,0-2-149 0 0,0 1-120 0 0,-2 3-88 0 0,4-1-76 0 0,0 2-72 0 0,-2 2-348 0 0,4 0-344 0 0,-4-5-576 0 0,6 3-3189 0 0</inkml:trace>
</inkml:ink>
</file>

<file path=ppt/ink/ink6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56.57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14 21 600 0 0,'0'0'1220'0'0,"0"0"-1089"0"0,1 0-1 0 0,-1-1 1 0 0,0 1-1 0 0,0-1 0 0 0,1 1 1 0 0,-1 0-1 0 0,0-1 1 0 0,0 1-1 0 0,0-1 1 0 0,0 1-1 0 0,1-1 1 0 0,-1 1-1 0 0,0-1 0 0 0,0 1 1 0 0,0-1-1 0 0,0 1 1 0 0,0 0-1 0 0,0-1 1 0 0,0 1-1 0 0,0-1 1 0 0,0 1-1 0 0,-1-1 0 0 0,1 1 1 0 0,0-1-1 0 0,0 0 1 0 0,-3 0-8 0 0,0-1 0 0 0,0 1 0 0 0,-1 0-1 0 0,1 0 1 0 0,0 0 0 0 0,0 1 0 0 0,0-1 0 0 0,-1 1 0 0 0,1 0 0 0 0,0 0 0 0 0,-1 0 0 0 0,1 0 0 0 0,0 0 0 0 0,0 1 0 0 0,-1-1-1 0 0,-3 2 1 0 0,6-1-107 0 0,0-1 0 0 0,0 0-1 0 0,0 1 1 0 0,0-1-1 0 0,0 1 1 0 0,0-1 0 0 0,0 1-1 0 0,0-1 1 0 0,1 1-1 0 0,-1-1 1 0 0,0 1 0 0 0,0 0-1 0 0,1-1 1 0 0,-1 1-1 0 0,1 0 1 0 0,-1 0 0 0 0,0 0-1 0 0,1 0 1 0 0,-1-1-1 0 0,1 1 1 0 0,0 0 0 0 0,-1 0-1 0 0,1 0 1 0 0,0 0-1 0 0,-1 0 1 0 0,1 0 0 0 0,0 0-1 0 0,0 1 1 0 0,0 1 37 0 0,0-1 0 0 0,0 0 1 0 0,0 1-1 0 0,0-1 0 0 0,0 1 0 0 0,1-1 0 0 0,-1 0 1 0 0,2 5-1 0 0,6 8 77 0 0,1-1 0 0 0,0 0 0 0 0,1-1 0 0 0,0 0 0 0 0,1 0 0 0 0,20 18 0 0 0,13 14 34 0 0,-40-40-142 0 0,8 8 40 0 0,0 1 1 0 0,-2 0 0 0 0,1 0-1 0 0,-2 1 1 0 0,0 0 0 0 0,10 23 0 0 0,-19-36-45 0 0,1 0 0 0 0,-1 0 1 0 0,1 0-1 0 0,-1 0 1 0 0,0 0-1 0 0,0 0 1 0 0,0 0-1 0 0,0 0 0 0 0,-1 0 1 0 0,1 0-1 0 0,0-1 1 0 0,-1 1-1 0 0,0 0 1 0 0,1 0-1 0 0,-1 0 0 0 0,0 0 1 0 0,0 0-1 0 0,0-1 1 0 0,0 1-1 0 0,0 0 1 0 0,0-1-1 0 0,0 1 0 0 0,-1-1 1 0 0,1 1-1 0 0,-1-1 1 0 0,1 0-1 0 0,-1 1 1 0 0,1-1-1 0 0,-1 0 0 0 0,0 0 1 0 0,0 0-1 0 0,1 0 1 0 0,-1-1-1 0 0,0 1 1 0 0,0 0-1 0 0,0-1 1 0 0,0 1-1 0 0,0-1 0 0 0,0 0 1 0 0,0 0-1 0 0,0 0 1 0 0,0 0-1 0 0,0 0 1 0 0,-2 0-1 0 0,0-2-35 0 0,0 1 1 0 0,0-1-1 0 0,0 0 1 0 0,0 0-1 0 0,1-1 1 0 0,-1 1-1 0 0,1-1 1 0 0,0 0-1 0 0,-1 1 1 0 0,1-2-1 0 0,0 1 1 0 0,1 0-1 0 0,-5-7 1 0 0,-1-2-84 0 0,2 0 1 0 0,-7-17 0 0 0,-8-13 236 0 0,21 42-135 0 0,0-1 1 0 0,0 1-1 0 0,-1-1 1 0 0,1 0 0 0 0,0 1 0 0 0,-1-1 0 0 0,1 1 0 0 0,0-1-1 0 0,-1 1 1 0 0,1-1 0 0 0,-1 1 0 0 0,1-1 0 0 0,-1 1 0 0 0,1-1-1 0 0,-1 1 1 0 0,0 0 0 0 0,1-1 0 0 0,-1 1 0 0 0,1 0 0 0 0,-1-1-1 0 0,0 1 1 0 0,1 0 0 0 0,-1 0 0 0 0,0 0 0 0 0,-1-1 0 0 0,0 1 3 0 0,0 1 1 0 0,0-1 0 0 0,0 0-1 0 0,0 1 1 0 0,1-1-1 0 0,-1 1 1 0 0,0 0 0 0 0,0-1-1 0 0,0 1 1 0 0,0 0 0 0 0,1 0-1 0 0,-1 0 1 0 0,0 1-1 0 0,1-1 1 0 0,-1 0 0 0 0,1 0-1 0 0,0 1 1 0 0,-1-1 0 0 0,1 1-1 0 0,0 0 1 0 0,0-1-1 0 0,0 1 1 0 0,0 0 0 0 0,0-1-1 0 0,-1 3 1 0 0,-2 4 5 0 0,-3 3-1 0 0,1 0 0 0 0,1 0 0 0 0,-1 1 0 0 0,2-1 0 0 0,-6 21 0 0 0,-2 27-5908 0 0</inkml:trace>
</inkml:ink>
</file>

<file path=ppt/ink/ink6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57.31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95 39 1848 0 0,'0'-2'389'0'0,"-1"-1"0"0"0,0 1 0 0 0,1 0-1 0 0,-1-1 1 0 0,0 1 0 0 0,0 0 0 0 0,0-1 0 0 0,-1 1 0 0 0,1 0-1 0 0,-2-2 1 0 0,2 3-306 0 0,0 0 0 0 0,-1 0 1 0 0,1 0-1 0 0,0 0 0 0 0,0 0 0 0 0,-1 0 0 0 0,1 0 0 0 0,-1 0 0 0 0,1 1 0 0 0,-1-1 0 0 0,1 1 0 0 0,-1-1 0 0 0,1 1 0 0 0,-1 0 0 0 0,1-1 0 0 0,-1 1 0 0 0,0 0 1 0 0,1 0-1 0 0,-1 0 0 0 0,1 0 0 0 0,-1 1 0 0 0,0-1 0 0 0,1 0 0 0 0,-1 1 0 0 0,1-1 0 0 0,-3 2 0 0 0,-5 1 76 0 0,1 0 0 0 0,0 0-1 0 0,0 1 1 0 0,0 1 0 0 0,0 0 0 0 0,0 0 0 0 0,1 0-1 0 0,0 1 1 0 0,0 0 0 0 0,1 0 0 0 0,-1 0 0 0 0,1 1-1 0 0,1 0 1 0 0,-1 1 0 0 0,1-1 0 0 0,1 1-1 0 0,-6 10 1 0 0,8-12-92 0 0,-1 1-1 0 0,1-1 1 0 0,0 1-1 0 0,1-1 1 0 0,0 1-1 0 0,0 0 1 0 0,0 0 0 0 0,1 0-1 0 0,-1 0 1 0 0,2-1-1 0 0,-1 1 1 0 0,1 0-1 0 0,0 0 1 0 0,1 0-1 0 0,-1-1 1 0 0,1 1-1 0 0,1-1 1 0 0,-1 1-1 0 0,1-1 1 0 0,0 0 0 0 0,0 0-1 0 0,1 0 1 0 0,5 6-1 0 0,-5-6-5 0 0,1 0 0 0 0,0-1 0 0 0,1 1 0 0 0,-1-1 0 0 0,1 0 0 0 0,0 0-1 0 0,12 6 1 0 0,-16-10-48 0 0,0 0 1 0 0,0 0-1 0 0,0 0 0 0 0,0 0 0 0 0,0 0 0 0 0,1-1 0 0 0,-1 1 1 0 0,0-1-1 0 0,1 0 0 0 0,-1 1 0 0 0,0-1 0 0 0,0 0 0 0 0,1 0 0 0 0,-1-1 1 0 0,0 1-1 0 0,1 0 0 0 0,-1-1 0 0 0,0 0 0 0 0,0 1 0 0 0,1-1 0 0 0,-1 0 1 0 0,0 0-1 0 0,0 0 0 0 0,0 0 0 0 0,0 0 0 0 0,0-1 0 0 0,0 1 0 0 0,-1-1 1 0 0,1 1-1 0 0,3-4 0 0 0,-2 0-6 0 0,0 1 1 0 0,0-1-1 0 0,-1 0 0 0 0,1 1 0 0 0,-1-1 1 0 0,0 0-1 0 0,0-1 0 0 0,0 1 1 0 0,-1 0-1 0 0,0 0 0 0 0,0-1 0 0 0,0-9 1 0 0,0-7 175 0 0,-4-38 1 0 0,1 43-19 0 0,1 9 320 0 0,11 25-200 0 0,18 36-73 0 0,-9-19-2073 0 0,23 60 1 0 0,-29-62-3174 0 0,-10-17 866 0 0</inkml:trace>
</inkml:ink>
</file>

<file path=ppt/ink/ink6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58.68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32 111 788 0 0,'-6'-24'6727'0'0,"9"26"-6045"0"0,1 0-468 0 0,1 1 1 0 0,-1 1 0 0 0,0-1 0 0 0,0 1-1 0 0,0-1 1 0 0,-1 1 0 0 0,1 0-1 0 0,-1 1 1 0 0,0-1 0 0 0,0 0 0 0 0,2 6-1 0 0,28 58 1042 0 0,-33-67-1239 0 0,14 29 433 0 0,-2 2 0 0 0,-1-1 0 0 0,-2 1 1 0 0,7 36-1 0 0,-15-55-316 0 0,1-1 0 0 0,-2 1 0 0 0,0 0 0 0 0,0-1-1 0 0,-1 1 1 0 0,0 0 0 0 0,-1-1 0 0 0,-1 1 0 0 0,0-1 0 0 0,-1 0 0 0 0,0 0 0 0 0,-1 0 0 0 0,-12 21-1 0 0,9-20-4 0 0,0 0 0 0 0,-1-1 0 0 0,-1 0-1 0 0,-18 17 1 0 0,22-23-62 0 0,0-1-1 0 0,0 0 1 0 0,-1 0-1 0 0,1-1 1 0 0,-1 0-1 0 0,0 0 1 0 0,-1-1-1 0 0,1 0 1 0 0,0 0-1 0 0,-11 2 1 0 0,16-5-61 0 0,1 1-1 0 0,-1-1 1 0 0,0 0 0 0 0,0 0 0 0 0,0 0 0 0 0,0 0-1 0 0,1 0 1 0 0,-1 0 0 0 0,0-1 0 0 0,0 1-1 0 0,0 0 1 0 0,1-1 0 0 0,-4-1 0 0 0,-1 0-6 0 0,4 1-13 0 0,-1 0-1 0 0,0 0 0 0 0,1-1 1 0 0,-1 1-1 0 0,0-1 0 0 0,1 0 1 0 0,0 1-1 0 0,-1-1 0 0 0,1 0 1 0 0,0-1-1 0 0,0 1 1 0 0,0 0-1 0 0,0 0 0 0 0,0-1 1 0 0,1 1-1 0 0,-1-1 0 0 0,1 0 1 0 0,0 1-1 0 0,0-1 0 0 0,-1 0 1 0 0,2 0-1 0 0,-1 0 1 0 0,-1-4-1 0 0,1-1-35 0 0,-1-1 1 0 0,1 1-1 0 0,1-1 1 0 0,0 0-1 0 0,0 0 1 0 0,2-12 0 0 0,0 9-8 0 0,0-1 1 0 0,1 1 0 0 0,1 0 0 0 0,0 0 0 0 0,0 1-1 0 0,2-1 1 0 0,-1 1 0 0 0,1 0 0 0 0,11-14 0 0 0,-14 21 40 0 0,0 0 1 0 0,1 0-1 0 0,-1 0 0 0 0,1 0 1 0 0,0 1-1 0 0,0 0 0 0 0,0-1 1 0 0,1 2-1 0 0,-1-1 1 0 0,1 0-1 0 0,0 1 0 0 0,0 0 1 0 0,-1 0-1 0 0,1 0 0 0 0,0 1 1 0 0,1 0-1 0 0,-1 0 1 0 0,0 0-1 0 0,0 0 0 0 0,0 1 1 0 0,1 0-1 0 0,-1 0 0 0 0,0 0 1 0 0,8 2-1 0 0,17 6-15 0 0,0 1 1 0 0,0 1-1 0 0,34 18 0 0 0,42 14-18 0 0,-85-36 53 0 0,0 0-1 0 0,1-1 1 0 0,-1-1-1 0 0,1-1 0 0 0,41 1 1 0 0,-55-4-44 0 0,0-1 1 0 0,-1 0 0 0 0,1 0 0 0 0,0 0 0 0 0,-1-1 0 0 0,0-1 0 0 0,1 1 0 0 0,-1-1-1 0 0,0 0 1 0 0,0 0 0 0 0,0-1 0 0 0,-1 0 0 0 0,1-1 0 0 0,-1 1 0 0 0,0-1-1 0 0,-1 0 1 0 0,1-1 0 0 0,-1 1 0 0 0,0-1 0 0 0,6-8 0 0 0,-5 6-37 0 0,-1-1-1 0 0,0 0 1 0 0,0 0 0 0 0,3-11 0 0 0,-7 17 58 0 0,0 0 0 0 0,0 1-1 0 0,0-1 1 0 0,-1 1 0 0 0,1-1 0 0 0,-1 0 0 0 0,0 0 0 0 0,0 1 0 0 0,0-1-1 0 0,0 0 1 0 0,0 1 0 0 0,-1-1 0 0 0,1 0 0 0 0,-1 1 0 0 0,0-1-1 0 0,0 0 1 0 0,1 1 0 0 0,-2-1 0 0 0,1 1 0 0 0,-2-3 0 0 0,2 4 4 0 0,0-1 1 0 0,-1 1 0 0 0,1 0-1 0 0,-1 0 1 0 0,1 0 0 0 0,-1 0-1 0 0,0 0 1 0 0,1 0 0 0 0,-1 0-1 0 0,0 0 1 0 0,0 1 0 0 0,1-1-1 0 0,-1 1 1 0 0,0-1-1 0 0,0 1 1 0 0,0 0 0 0 0,0 0-1 0 0,0 0 1 0 0,0 0 0 0 0,-2 0-1 0 0,-40 8-64 0 0,34-5 61 0 0,0 1-1 0 0,0 0 1 0 0,0 1-1 0 0,1 0 1 0 0,0 0 0 0 0,-15 12-1 0 0,19-14 5 0 0,1 1 0 0 0,-1 0 0 0 0,1 0 0 0 0,0 0 1 0 0,0 1-1 0 0,0 0 0 0 0,1-1 0 0 0,0 1 0 0 0,0 1 0 0 0,0-1 0 0 0,0 0 0 0 0,1 1 0 0 0,-3 6 0 0 0,5-10 13 0 0,0-1 0 0 0,-1 1 0 0 0,1 0 0 0 0,0-1 1 0 0,0 1-1 0 0,-1-1 0 0 0,1 1 0 0 0,0 0 0 0 0,1-1 0 0 0,-1 1 0 0 0,0-1 0 0 0,0 1 0 0 0,1 0 1 0 0,-1-1-1 0 0,1 1 0 0 0,-1-1 0 0 0,1 1 0 0 0,2 2 0 0 0,-3-3 7 0 0,1 0 0 0 0,1 0-1 0 0,-1-1 1 0 0,0 1 0 0 0,0 0 0 0 0,0 0-1 0 0,0-1 1 0 0,0 1 0 0 0,1-1 0 0 0,-1 1-1 0 0,0-1 1 0 0,1 1 0 0 0,-1-1 0 0 0,0 0-1 0 0,1 0 1 0 0,-1 0 0 0 0,0 0-1 0 0,2 0 1 0 0,2 0 20 0 0,0 0-1 0 0,0-1 1 0 0,0 0-1 0 0,0 0 1 0 0,-1-1-1 0 0,1 1 1 0 0,0-1-1 0 0,-1 0 1 0 0,1 0-1 0 0,-1-1 0 0 0,7-4 1 0 0,-5 2-4 0 0,-5 4-25 0 0,1-1 0 0 0,-1 0 0 0 0,1 1 0 0 0,0 0-1 0 0,0-1 1 0 0,-1 1 0 0 0,1 0 0 0 0,0 0 0 0 0,0 0 0 0 0,0 0-1 0 0,0 0 1 0 0,0 1 0 0 0,0-1 0 0 0,0 1 0 0 0,0-1 0 0 0,1 1-1 0 0,-1 0 1 0 0,4 0 0 0 0,6 16 20 0 0,0 3 319 0 0,-8-17-287 0 0,0 1-1 0 0,0 0 0 0 0,0-1 0 0 0,0 0 0 0 0,0 0 0 0 0,0 0 1 0 0,1 0-1 0 0,-1-1 0 0 0,0 0 0 0 0,1 0 0 0 0,0 0 0 0 0,-1 0 1 0 0,1-1-1 0 0,-1 0 0 0 0,1 1 0 0 0,0-2 0 0 0,-1 1 0 0 0,1-1 1 0 0,-1 1-1 0 0,1-1 0 0 0,-1 0 0 0 0,8-4 0 0 0,-5 3-31 0 0,-2 0 1 0 0,1-1-1 0 0,0 0 0 0 0,0 0 0 0 0,-1-1 0 0 0,0 1 1 0 0,0-1-1 0 0,0-1 0 0 0,0 1 0 0 0,0 0 0 0 0,-1-1 1 0 0,0 0-1 0 0,0 0 0 0 0,0-1 0 0 0,-1 1 0 0 0,6-12 0 0 0,-5 6-16 0 0,-1 0-1 0 0,0 0 0 0 0,-1-1 1 0 0,0 0-1 0 0,0 1 0 0 0,-2-1 0 0 0,1 0 1 0 0,-3-20-1 0 0,-3-10-4 0 0,-12-45 1 0 0,4 25 307 0 0,8 34 528 0 0,-15-45-1 0 0,19 71-695 0 0,1 5-102 0 0,2 7-11 0 0,0-1 0 0 0,0 1 0 0 0,1-1 0 0 0,0 0 0 0 0,1 0 0 0 0,4 10 0 0 0,35 54 97 0 0,-14-24-285 0 0,19 33-2127 0 0,7-5-3582 0 0,-41-60 2333 0 0</inkml:trace>
</inkml:ink>
</file>

<file path=ppt/ink/ink6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59.09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 405 2080 0 0,'-2'-13'1961'0'0,"1"9"-1791"0"0,1 1 1 0 0,0-1-1 0 0,1 0 0 0 0,-1 0 0 0 0,1 0 1 0 0,-1 0-1 0 0,1 1 0 0 0,0-1 0 0 0,0 0 1 0 0,1 1-1 0 0,-1-1 0 0 0,1 1 1 0 0,0-1-1 0 0,0 1 0 0 0,0 0 0 0 0,0 0 1 0 0,0 0-1 0 0,1 0 0 0 0,0 0 0 0 0,4-4 1 0 0,8-5-21 0 0,0 0 0 0 0,0 1 0 0 0,18-9 0 0 0,-16 10 132 0 0,103-58 703 0 0,-75 45-403 0 0,-1-1 1 0 0,71-55-1 0 0,-108 73-464 0 0,0 0 0 0 0,-1-1 0 0 0,10-12 0 0 0,-16 18-112 0 0,0 1 0 0 0,1 0 0 0 0,-1-1-1 0 0,0 1 1 0 0,0 0 0 0 0,0-1 0 0 0,0 1 0 0 0,0-1 0 0 0,0 1 0 0 0,0 0-1 0 0,0-1 1 0 0,0 1 0 0 0,0-1 0 0 0,0 1 0 0 0,0 0 0 0 0,0-1-1 0 0,-1 1 1 0 0,1-1 0 0 0,0 1 0 0 0,0 0 0 0 0,0-1 0 0 0,0 1-1 0 0,-1 0 1 0 0,1-1 0 0 0,0 1 0 0 0,0 0 0 0 0,-1-1 0 0 0,1 1 0 0 0,0 0-1 0 0,-1 0 1 0 0,1-1 0 0 0,0 1 0 0 0,-1 0 0 0 0,1 0 0 0 0,0 0-1 0 0,-1-1 1 0 0,0 1 10 0 0,0-1-1 0 0,0 1 1 0 0,0-1-1 0 0,-1 1 1 0 0,1-1-1 0 0,0 1 1 0 0,0 0-1 0 0,0-1 1 0 0,0 1-1 0 0,-1 0 1 0 0,1 0-1 0 0,0 0 1 0 0,0 0-1 0 0,-2 0 1 0 0,-12 3 65 0 0,0 1 0 0 0,0 1 0 0 0,1 0 1 0 0,-1 1-1 0 0,1 1 0 0 0,0 0 0 0 0,1 1 0 0 0,-16 11 1 0 0,19-12-35 0 0,1 1 0 0 0,0-1 0 0 0,1 1 0 0 0,0 1 0 0 0,0-1 1 0 0,1 1-1 0 0,0 1 0 0 0,1-1 0 0 0,0 1 0 0 0,0 0 1 0 0,1 1-1 0 0,-4 12 0 0 0,8-22-13 0 0,1 1 0 0 0,-1-1 0 0 0,1 0 0 0 0,0 1 0 0 0,-1-1 0 0 0,1 1 0 0 0,0-1 0 0 0,0 1 0 0 0,0-1 0 0 0,0 0 0 0 0,0 1 0 0 0,1-1 0 0 0,-1 1 0 0 0,0-1-1 0 0,1 1 1 0 0,-1-1 0 0 0,1 0 0 0 0,-1 1 0 0 0,1-1 0 0 0,-1 0 0 0 0,1 0 0 0 0,0 1 0 0 0,0-1 0 0 0,0 0 0 0 0,0 0 0 0 0,0 0 0 0 0,0 0 0 0 0,0 0 0 0 0,0 0 0 0 0,0 0 0 0 0,0 0 0 0 0,0-1 0 0 0,1 1 0 0 0,-1 0 0 0 0,0-1 0 0 0,1 1 0 0 0,-1-1 0 0 0,0 1 0 0 0,1-1 0 0 0,-1 0 0 0 0,2 1 0 0 0,3 0 20 0 0,0 0 0 0 0,0 0 0 0 0,0-1 0 0 0,0 0 0 0 0,0 0 1 0 0,0 0-1 0 0,0-1 0 0 0,10-2 0 0 0,-3-1-6 0 0,0-2 1 0 0,-1 0-1 0 0,1 0 0 0 0,-1-1 1 0 0,0 0-1 0 0,-1-1 0 0 0,0-1 1 0 0,20-19-1 0 0,21-15 693 0 0,-50 42-678 0 0,0 1-58 0 0,0 0 1 0 0,-1 0-1 0 0,1 1 1 0 0,0-1 0 0 0,-1 1-1 0 0,1-1 1 0 0,-1 1-1 0 0,1 0 1 0 0,0 0-1 0 0,-1 0 1 0 0,0-1-1 0 0,1 1 1 0 0,-1 1-1 0 0,0-1 1 0 0,1 0 0 0 0,-1 0-1 0 0,0 0 1 0 0,2 3-1 0 0,19 31-24 0 0,-12-15-323 0 0,-6-15-144 0 0,0 1-1 0 0,1-1 0 0 0,-1 0 0 0 0,1 0 0 0 0,0 0 0 0 0,0-1 1 0 0,1 0-1 0 0,9 6 0 0 0,-10-7-389 0 0,1 0 1 0 0,-1-1 0 0 0,0 0-1 0 0,1 0 1 0 0,0 0-1 0 0,6 1 1 0 0,4-1-2605 0 0</inkml:trace>
</inkml:ink>
</file>

<file path=ppt/ink/ink6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59.50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83 1052 0 0,'20'-18'5438'0'0,"-7"26"-3452"0"0,-11-6-1740 0 0,0 0 0 0 0,1 0 1 0 0,-1 0-1 0 0,0 1 0 0 0,-1-1 0 0 0,1 1 0 0 0,0 0 0 0 0,-1-1 0 0 0,1 1 1 0 0,1 6-1 0 0,9 33 1224 0 0,-7-24-1011 0 0,69 265 3328 0 0,-46-174-2728 0 0,-28-108-994 0 0,1 0 0 0 0,-1 0 0 0 0,0 0 0 0 0,1 0 0 0 0,-1 0 0 0 0,0 0-1 0 0,0 0 1 0 0,1 0 0 0 0,-1 0 0 0 0,0 0 0 0 0,0 0 0 0 0,0 0 0 0 0,0 0 0 0 0,0 0 0 0 0,-1 0 0 0 0,1 0 0 0 0,0 0 0 0 0,0 0 0 0 0,-1 0-1 0 0,1 0 1 0 0,-1 1 0 0 0,0-2-52 0 0,0 0-1 0 0,0 0 0 0 0,1 0 0 0 0,-1 0 0 0 0,0 0 1 0 0,0 0-1 0 0,1 0 0 0 0,-1-1 0 0 0,0 1 1 0 0,1 0-1 0 0,-1-1 0 0 0,0 1 0 0 0,1 0 0 0 0,-1-1 1 0 0,0 1-1 0 0,1 0 0 0 0,-1-1 0 0 0,0 1 0 0 0,1-1 1 0 0,-1-1-1 0 0,-35-36-365 0 0,21 15 127 0 0,0 0 1 0 0,1 0-1 0 0,2-1 1 0 0,0-1-1 0 0,2 0 0 0 0,1-1 1 0 0,0 0-1 0 0,2 0 0 0 0,1-1 1 0 0,2 0-1 0 0,-3-32 0 0 0,6 39 140 0 0,1 0-1 0 0,1 0 0 0 0,0 0 1 0 0,2-1-1 0 0,0 1 0 0 0,1 1 1 0 0,1-1-1 0 0,1 1 0 0 0,1 0 1 0 0,0 0-1 0 0,2 0 0 0 0,0 1 1 0 0,1 1-1 0 0,0-1 0 0 0,23-26 1 0 0,-27 37 61 0 0,1 0 1 0 0,0 1-1 0 0,0 0 1 0 0,1 0-1 0 0,0 0 0 0 0,0 1 1 0 0,0 0-1 0 0,1 1 1 0 0,15-7-1 0 0,-21 10 22 0 0,0 0 0 0 0,0 0 0 0 0,0 0 0 0 0,0 1 0 0 0,0-1 0 0 0,0 1 0 0 0,0 0 0 0 0,0 0-1 0 0,0 0 1 0 0,1 0 0 0 0,-1 0 0 0 0,0 0 0 0 0,0 1 0 0 0,0 0 0 0 0,0-1 0 0 0,0 1 0 0 0,0 0 0 0 0,-1 1-1 0 0,1-1 1 0 0,0 0 0 0 0,0 1 0 0 0,-1 0 0 0 0,1-1 0 0 0,-1 1 0 0 0,1 0 0 0 0,-1 0 0 0 0,0 1 0 0 0,0-1 0 0 0,0 0-1 0 0,0 1 1 0 0,0-1 0 0 0,0 1 0 0 0,1 4 0 0 0,-1-3 7 0 0,-1 0 0 0 0,0 0 0 0 0,0 0 0 0 0,0 0 0 0 0,0 0 0 0 0,-1 0 0 0 0,0 0 1 0 0,0 0-1 0 0,0 0 0 0 0,0 0 0 0 0,0 0 0 0 0,-1 0 0 0 0,0-1 0 0 0,0 1 0 0 0,0 0 0 0 0,0 0 0 0 0,0 0 0 0 0,-1-1 0 0 0,0 1 0 0 0,0 0 0 0 0,-3 4 0 0 0,-6 8 25 0 0,0-1-1 0 0,0-1 0 0 0,-16 16 0 0 0,26-29-27 0 0,-17 16-179 0 0,0 0 1 0 0,-22 13 0 0 0,-13 7-3586 0 0,42-31-716 0 0</inkml:trace>
</inkml:ink>
</file>

<file path=ppt/ink/ink6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4:59.86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0 18 792 0 0,'1'1'259'0'0,"0"1"0"0"0,0-1-1 0 0,0 0 1 0 0,-1 0 0 0 0,1 1 0 0 0,0-1-1 0 0,-1 0 1 0 0,1 1 0 0 0,-1-1-1 0 0,1 1 1 0 0,-1-1 0 0 0,0 1 0 0 0,1-1-1 0 0,-1 1 1 0 0,0-1 0 0 0,0 1 0 0 0,0-1-1 0 0,0 1 1 0 0,-1-1 0 0 0,1 0 0 0 0,0 1-1 0 0,0-1 1 0 0,-1 1 0 0 0,0 2 0 0 0,-3 26 1898 0 0,5-25-2029 0 0,-1 0 0 0 0,1 0-1 0 0,0 0 1 0 0,1 0 0 0 0,-1-1-1 0 0,1 1 1 0 0,0-1 0 0 0,0 1-1 0 0,0-1 1 0 0,1 0 0 0 0,-1 0-1 0 0,1 0 1 0 0,0 0 0 0 0,0 0 0 0 0,1 0-1 0 0,-1-1 1 0 0,1 0 0 0 0,-1 1-1 0 0,1-1 1 0 0,0-1 0 0 0,0 1-1 0 0,1-1 1 0 0,-1 1 0 0 0,0-1-1 0 0,1 0 1 0 0,0-1 0 0 0,-1 1 0 0 0,7 0-1 0 0,-4 0-28 0 0,0-1-1 0 0,0 0 1 0 0,-1 0 0 0 0,1-1-1 0 0,0 0 1 0 0,0 0 0 0 0,0-1-1 0 0,11-2 1 0 0,-16 3-78 0 0,0 0 0 0 0,-1-1 0 0 0,1 1 0 0 0,0-1 0 0 0,0 0 0 0 0,-1 0 0 0 0,1 1 0 0 0,0-1 0 0 0,-1 0 0 0 0,1 0 1 0 0,-1-1-1 0 0,0 1 0 0 0,1 0 0 0 0,-1 0 0 0 0,0-1 0 0 0,1 1 0 0 0,-1-1 0 0 0,0 1 0 0 0,0-1 0 0 0,0 1 0 0 0,-1-1 0 0 0,1 0 0 0 0,0 1 0 0 0,-1-1 1 0 0,1 0-1 0 0,0 0 0 0 0,-1 1 0 0 0,0-1 0 0 0,0 0 0 0 0,1 0 0 0 0,-1 0 0 0 0,0 0 0 0 0,0 0 0 0 0,-1 1 0 0 0,0-5 0 0 0,0 2-15 0 0,0 0-1 0 0,-1 0 0 0 0,1 0 1 0 0,-1 0-1 0 0,0 1 0 0 0,0-1 1 0 0,-1 1-1 0 0,1-1 0 0 0,-1 1 1 0 0,0 0-1 0 0,0-1 0 0 0,0 1 1 0 0,0 1-1 0 0,0-1 1 0 0,-1 0-1 0 0,1 1 0 0 0,-1 0 1 0 0,1 0-1 0 0,-1 0 0 0 0,-4-2 1 0 0,-11-4-4 0 0,-1 1 0 0 0,-34-8 0 0 0,52 14 0 0 0,-24-4-964 0 0,-38-3-1 0 0,51 7 9 0 0,10 1 244 0 0,33-19-5844 0 0,-25 18 5763 0 0,12-5-759 0 0</inkml:trace>
</inkml:ink>
</file>

<file path=ppt/ink/ink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4:39.65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4 221 1316 0 0,'-1'-1'238'0'0,"-1"-1"0"0"0,1 0 0 0 0,0 0 1 0 0,-1 0-1 0 0,1 0 0 0 0,0 0 0 0 0,0 0 0 0 0,1-1 0 0 0,-1 1 0 0 0,0 0 0 0 0,1 0 0 0 0,-1-1 1 0 0,1 1-1 0 0,0 0 0 0 0,0-1 0 0 0,0 1 0 0 0,0 0 0 0 0,0-1 0 0 0,0 1 0 0 0,1-5 0 0 0,1 5-139 0 0,-1-1 0 0 0,0 1 0 0 0,1-1 0 0 0,-1 1 0 0 0,1 0 0 0 0,0 0 0 0 0,0-1-1 0 0,0 1 1 0 0,0 0 0 0 0,0 1 0 0 0,0-1 0 0 0,1 0 0 0 0,-1 1 0 0 0,0-1 0 0 0,1 1 0 0 0,4-2-1 0 0,22-9 362 0 0,0 2-1 0 0,0 0 0 0 0,39-5 0 0 0,95-9 426 0 0,-53 9-200 0 0,19 0 752 0 0,-128 14-1423 0 0,-1 1-1 0 0,1 0 0 0 0,0 0 1 0 0,0 0-1 0 0,0 0 0 0 0,0 0 1 0 0,-1 1-1 0 0,1-1 0 0 0,0 0 1 0 0,0 0-1 0 0,-1 1 0 0 0,1-1 1 0 0,0 0-1 0 0,0 1 0 0 0,-1-1 1 0 0,1 0-1 0 0,0 1 0 0 0,-1-1 1 0 0,1 1-1 0 0,0-1 1 0 0,-1 1-1 0 0,1 0 0 0 0,-1-1 1 0 0,1 1-1 0 0,-1-1 0 0 0,1 1 1 0 0,-1 0-1 0 0,1 0 0 0 0,-1-1 1 0 0,0 1-1 0 0,1 0 0 0 0,-1 0 1 0 0,0-1-1 0 0,0 1 0 0 0,0 0 1 0 0,0 0-1 0 0,0 0 0 0 0,1 0 1 0 0,-1 6 45 0 0,0-1 0 0 0,0 1-1 0 0,-1-1 1 0 0,-1 8 0 0 0,0 3-6 0 0,3-10 63 0 0,-1-1 1 0 0,1 0-1 0 0,0 1 0 0 0,1-1 1 0 0,-1 0-1 0 0,1 0 1 0 0,1 0-1 0 0,-1 0 1 0 0,1 0-1 0 0,0 0 1 0 0,0-1-1 0 0,8 10 1 0 0,-5-7 62 0 0,1-1 1 0 0,0 1-1 0 0,0-2 1 0 0,0 1-1 0 0,1-1 1 0 0,0 0-1 0 0,0-1 1 0 0,13 7-1 0 0,-14-9-57 0 0,1 1-1 0 0,-1-2 0 0 0,1 1 0 0 0,0-1 0 0 0,0 0 0 0 0,0 0 0 0 0,0-1 1 0 0,0 0-1 0 0,0-1 0 0 0,10 0 0 0 0,-12 0-82 0 0,-1-1 0 0 0,0 0 0 0 0,1 0 0 0 0,-1 0 0 0 0,0-1 1 0 0,0 0-1 0 0,0 0 0 0 0,0 0 0 0 0,-1-1 0 0 0,1 1 0 0 0,0-1 0 0 0,-1 0 0 0 0,0-1 0 0 0,0 1 1 0 0,0-1-1 0 0,5-4 0 0 0,-6 3-60 0 0,1 1 0 0 0,-1-1 0 0 0,0 0 1 0 0,0 0-1 0 0,0 0 0 0 0,-1 0 0 0 0,0 0 0 0 0,0-1 0 0 0,0 1 1 0 0,-1-1-1 0 0,1 1 0 0 0,-1-1 0 0 0,-1 0 0 0 0,1 1 1 0 0,-1-1-1 0 0,0 0 0 0 0,0 0 0 0 0,-1 1 0 0 0,1-1 1 0 0,-1 0-1 0 0,-1 1 0 0 0,1-1 0 0 0,-1 1 0 0 0,0-1 1 0 0,0 1-1 0 0,0 0 0 0 0,-1 0 0 0 0,0 0 0 0 0,0 0 1 0 0,0 0-1 0 0,-1 1 0 0 0,1-1 0 0 0,-1 1 0 0 0,0 0 1 0 0,-1 0-1 0 0,1 1 0 0 0,-1-1 0 0 0,-7-4 0 0 0,0 2-477 0 0,0 0-1 0 0,-1 1 1 0 0,1 0-1 0 0,-1 1 1 0 0,0 0-1 0 0,-1 1 1 0 0,1 1-1 0 0,0 0 1 0 0,-20 0 0 0 0,23 2-527 0 0,-1 1 0 0 0,1 0 1 0 0,0 0-1 0 0,0 1 1 0 0,0 0-1 0 0,0 1 1 0 0,-17 7-1 0 0</inkml:trace>
</inkml:ink>
</file>

<file path=ppt/ink/ink6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5:00.19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5 2556 0 0,'11'-3'664'0'0,"0"0"0"0"0,0 0-1 0 0,0 1 1 0 0,0 1-1 0 0,0-1 1 0 0,0 2 0 0 0,14 0-1 0 0,-19 1-384 0 0,0 0-1 0 0,1 1 0 0 0,-1-1 0 0 0,0 1 0 0 0,-1 1 1 0 0,1-1-1 0 0,0 1 0 0 0,-1 0 0 0 0,1 0 0 0 0,-1 0 1 0 0,0 1-1 0 0,0 0 0 0 0,0 0 0 0 0,6 7 0 0 0,6 9 313 0 0,0 0-1 0 0,-1 1 1 0 0,20 36-1 0 0,-2 7-1763 0 0,-3 0-6766 0 0</inkml:trace>
</inkml:ink>
</file>

<file path=ppt/ink/ink6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5:00.58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5 342 948 0 0,'-54'-97'7138'0'0,"27"51"-5435"0"0,27 45-1713 0 0,-1 1 0 0 0,1-1 0 0 0,0 0 0 0 0,-1 1-1 0 0,1-1 1 0 0,0 0 0 0 0,-1 0 0 0 0,1 0 0 0 0,0 1 0 0 0,0-1 0 0 0,0 0 0 0 0,-1 0 0 0 0,1 0 0 0 0,0 1-1 0 0,0-1 1 0 0,0 0 0 0 0,0 0 0 0 0,1 0 0 0 0,-1 1 0 0 0,0-1 0 0 0,0 0 0 0 0,0 0 0 0 0,1 0 0 0 0,-1 1 0 0 0,0-1-1 0 0,1 0 1 0 0,-1 1 0 0 0,1-1 0 0 0,-1 0 0 0 0,1 0 0 0 0,1-1-44 0 0,0 1-1 0 0,0 0 1 0 0,0-1 0 0 0,0 1-1 0 0,0 0 1 0 0,0 1 0 0 0,0-1-1 0 0,0 0 1 0 0,0 1 0 0 0,5-2-1 0 0,2 1-99 0 0,0 0 0 0 0,0 1 0 0 0,14 0-1 0 0,-12 2 179 0 0,0 1-1 0 0,-1 0 1 0 0,1 1-1 0 0,-1 0 1 0 0,0 0-1 0 0,0 1 1 0 0,0 1-1 0 0,0-1 1 0 0,-1 2-1 0 0,0-1 0 0 0,-1 1 1 0 0,1 0-1 0 0,-1 1 1 0 0,9 12-1 0 0,0 0 411 0 0,-2 1-1 0 0,0 1 0 0 0,-2 0 1 0 0,20 44-1 0 0,8 19 3850 0 0,-40-85-4255 0 0,0-1 0 0 0,0 1 0 0 0,0 0-1 0 0,-1-1 1 0 0,1 1 0 0 0,0-1 0 0 0,0 0 0 0 0,-1 1 0 0 0,1-1 0 0 0,0 1 0 0 0,-1-1 0 0 0,1 0 0 0 0,0 0 0 0 0,-1 1 0 0 0,1-1 0 0 0,-1 0 0 0 0,1 0 0 0 0,0-1 0 0 0,8-19-145 0 0,-8 19 114 0 0,5-15-156 0 0,2 1-1 0 0,0 0 1 0 0,1 0 0 0 0,19-26-1 0 0,-27 41 150 0 0,0 1-1 0 0,0-1 1 0 0,0 0-1 0 0,0 0 1 0 0,1 0-1 0 0,-1 1 1 0 0,0-1-1 0 0,0 1 1 0 0,1-1-1 0 0,-1 1 1 0 0,0-1-1 0 0,1 1 1 0 0,-1 0 0 0 0,0-1-1 0 0,1 1 1 0 0,-1 0-1 0 0,0 0 1 0 0,1 0-1 0 0,-1 0 1 0 0,1 0-1 0 0,-1 1 1 0 0,3 0-1 0 0,25 10-60 0 0,31 33 86 0 0,-6-4 164 0 0,-47-36-96 0 0,0 0 0 0 0,0 0 0 0 0,0-1 0 0 0,0 0 0 0 0,0 0 1 0 0,13 3-1 0 0,-18-6-63 0 0,-1 0 1 0 0,1 1 0 0 0,0-1-1 0 0,-1 0 1 0 0,1 0 0 0 0,0 0-1 0 0,-1-1 1 0 0,1 1 0 0 0,-1 0-1 0 0,1-1 1 0 0,0 1 0 0 0,-1-1-1 0 0,1 1 1 0 0,-1-1 0 0 0,1 0-1 0 0,1-1 1 0 0,-2 1-34 0 0,1-1 0 0 0,-1 1 1 0 0,0-1-1 0 0,1 1 0 0 0,-1-1 0 0 0,0 0 0 0 0,0 0 0 0 0,0 1 1 0 0,0-1-1 0 0,0 0 0 0 0,-1 0 0 0 0,1 0 0 0 0,-1 0 1 0 0,1 0-1 0 0,-1 0 0 0 0,1-3 0 0 0,1-32-344 0 0,-1 0-1 0 0,-2 0 0 0 0,-10-72 1 0 0,4 55 626 0 0,0 2 922 0 0,2 25 368 0 0,0-38-1 0 0,5 62-1007 0 0,2 5-461 0 0,-1 0-1 0 0,1 0 1 0 0,-1-1 0 0 0,1 1-1 0 0,-1 0 1 0 0,0 0-1 0 0,0 1 1 0 0,0-1-1 0 0,0 0 1 0 0,0 0-1 0 0,0 3 1 0 0,0-3 9 0 0,37 86 625 0 0,26 66-459 0 0,-30-48-6333 0 0,-30-79-366 0 0</inkml:trace>
</inkml:ink>
</file>

<file path=ppt/ink/ink6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5:00.93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10 244 1792 0 0,'3'-9'970'0'0,"0"0"0"0"0,1 0 0 0 0,0 0 1 0 0,0 1-1 0 0,1-1 0 0 0,0 1 0 0 0,10-13 0 0 0,-5 11-365 0 0,0 0 0 0 0,0 0 1 0 0,1 1-1 0 0,19-14 0 0 0,-5 8-548 0 0,1 1 1 0 0,0 1-1 0 0,1 2 0 0 0,41-13 1 0 0,-9 9-1942 0 0,-18 10-2601 0 0,-19 3 392 0 0</inkml:trace>
  <inkml:trace contextRef="#ctx0" brushRef="#br0" timeOffset="1">82 910 1784 0 0,'-16'15'2002'0'0,"6"-7"-404"0"0,1 1 0 0 0,0 0 1 0 0,0 1-1 0 0,1 0 1 0 0,-12 19-1 0 0,20-28-1488 0 0,0-1 0 0 0,0 1 0 0 0,1-1 1 0 0,-1 1-1 0 0,0-1 0 0 0,1 1 0 0 0,-1-1 0 0 0,0 1 1 0 0,1-1-1 0 0,-1 1 0 0 0,1-1 0 0 0,-1 0 0 0 0,1 1 0 0 0,-1-1 1 0 0,1 0-1 0 0,-1 1 0 0 0,1-1 0 0 0,-1 0 0 0 0,1 0 1 0 0,-1 1-1 0 0,1-1 0 0 0,1 0 0 0 0,5 1 171 0 0,0 0 1 0 0,0-1-1 0 0,0 0 0 0 0,0 0 1 0 0,0-1-1 0 0,0 1 0 0 0,12-4 1 0 0,1 0 67 0 0,264-52-533 0 0,-190 31-3123 0 0,-1 0-3332 0 0,-60 15 663 0 0</inkml:trace>
</inkml:ink>
</file>

<file path=ppt/ink/ink6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5:01.30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0 206 3456 0 0,'-42'40'6378'0'0,"24"-22"536"0"0,19-19-6775 0 0,1 0 0 0 0,-1 0 0 0 0,1 0 0 0 0,-1 0 0 0 0,1 0 1 0 0,-1 1-1 0 0,1-1 0 0 0,0 0 0 0 0,-1 1 0 0 0,1 0 0 0 0,2-1 1 0 0,7-2 159 0 0,279-131 3846 0 0,-179 86-3768 0 0,26-11-4516 0 0,-115 48 965 0 0</inkml:trace>
</inkml:ink>
</file>

<file path=ppt/ink/ink624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767" units="cm"/>
          <inkml:channel name="Y" type="integer" max="32767" units="cm"/>
          <inkml:channel name="F" type="integer" max="8191" units="dev"/>
          <inkml:channel name="T" type="integer" max="2.14748E9" units="dev"/>
        </inkml:traceFormat>
        <inkml:channelProperties>
          <inkml:channelProperty channel="X" name="resolution" value="1290.03943" units="1/cm"/>
          <inkml:channelProperty channel="Y" name="resolution" value="2064.71338" units="1/cm"/>
          <inkml:channelProperty channel="F" name="resolution" value="0" units="1/dev"/>
          <inkml:channelProperty channel="T" name="resolution" value="1" units="1/dev"/>
        </inkml:channelProperties>
      </inkml:inkSource>
      <inkml:timestamp xml:id="ts0" timeString="2021-12-11T13:20:27.287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25889 12090 20 0,'0'0'96'0,"0"0"23"0,8-6-64 16,-8 6 28-16,0 0-56 0,6-5 31 0,-6 5-51 15,0 0 41-15,8-2-50 0,-8 2 34 0,0 0-42 16,11-4 38-16,-11 4-52 0,0 0 20 0,11-2-81 16,-11 2-59-16,8-3 40 0</inkml:trace>
  <inkml:trace contextRef="#ctx0" brushRef="#br0" timeOffset="2641.72">6772 11728 154 0,'0'0'233'0,"0"0"-51"0,-13-3-39 0,13 3-34 16,0 0-21-16,0 0-22 0,-9-1-14 0,9 1-16 16,0 0-7-16,0 0-4 0,0 0-5 0,0 0 3 15,15-2-6-15,-15 2-3 0,27 2-3 0,-9-1 2 16,1 2-3-16,8-1-3 0,-1 1-4 0,2 1-15 16,1-1-23-16,4 1 2 0,3 0-2 0,-2-1-19 0,1 1 1 15,0-1-3-15,-6-1 0 0,0-1 11 0,-1 0-33 16,-1 1 14-16,-5-1 12 0,1 0 5 15,-4-1 14-15,-1 0 5 0,-1-1 10 0,-2 1 0 16,-2-1 12-16,-3-1 11 0,-10 2 14 0,19-2 48 16,-19 2-25-16,12-4-10 0,-12 4-12 0,6-5-12 0,-6 5-29 15,0 0-17-15,4-7-12 0,-4 7-139 0,0 0 54 16</inkml:trace>
  <inkml:trace contextRef="#ctx0" brushRef="#br0" timeOffset="3388.37">15591 5563 61 0,'36'-18'67'0,"3"2"-17"0,0 0 2 16,-2-1-17-16,0 3-8 0,1 0-14 0,-7 5-25 0,-2 0-88 15,-4 4 34-15</inkml:trace>
  <inkml:trace contextRef="#ctx0" brushRef="#br0" timeOffset="18495.5">12418 6471 263 0,'-8'-6'276'0,"-1"0"-50"16,2 3-29-16,0-3-21 0,2 3-22 0,-1-1-32 0,6 4-11 16,-13-5 1-16,13 5-2 0,-9-6-16 15,9 6-5-15,-8-3-10 0,8 3-19 0,-6-4-10 16,6 4-8-16,0 0-18 0,-9-3-12 0,9 3-3 15,0 0 3-15,0 0-11 0,0 0 2 0,-9 3 5 16,9-3-4-16,-1 7-5 0,1-7 8 0,4 9-1 0,-4-9-2 16,11 11 3-16,-3-5 1 0,3 1 2 15,3-1-5-15,6 2 4 0,1-1 0 0,5 0-4 16,-1-1 3-16,7 1-2 0,0-2 0 0,3-1 1 0,1 1-1 16,-1 0 0-16,1-3-3 0,4 2 1 0,-5-1 2 15,1 0 0-15,0-2-3 0,-5 1-1 16,-2 0 5-16,-1-1-8 0,-6 0 3 0,-3 0-2 0,2-1 6 15,-6 0-3-15,0 0 4 0,-3 1-4 0,-1-1-4 16,-11 0-4-16,12 4-37 0,-12-4-69 0,-3 6-70 16,-2-1-69-16,-5-1-312 0,-4 4-78 0</inkml:trace>
  <inkml:trace contextRef="#ctx0" brushRef="#br0" timeOffset="20055.28">8686 5646 4 0,'-14'3'233'16,"14"-3"-49"-16,-11 2-33 0,11-2-28 0,-9 1-34 15,9-1-15-15,0 0-15 0,-11 4-12 0,11-4 19 16,0 0-2-16,-5 5-5 0,5-5 4 0,0 0 18 15,9 3 2-15,-9-3-20 0,17 5 0 0,-5-4-18 16,4 2 6-16,3-1-16 0,2 2 3 0,4-2-18 16,5 2 18-16,4-1-3 0,3 1-10 0,3 1-2 15,5 0 0-15,2-1-6 0,-2 2 0 0,2 0-1 16,-1 0 0-16,0-1-5 0,-1 2-5 0,0-1 0 16,-1 0 0-16,2 0-1 0,-9-1 2 0,0 1-3 0,0 0-3 15,-1 0 5-15,1-1-3 0,-5 1 5 16,0 0-9-16,-4-3 1 0,-5 2 6 0,3-1-9 15,-6 0 0-15,-2-2 1 0,1 0 10 0,-4 1 23 0,-2-1 23 16,-1 0 16-16,-1 1 11 0,-11-3 5 16,18 3-5-16,-18-3 8 0,14 3-1 0,-14-3-12 0,12 1-1 15,-12-1-19-15,0 0-6 0,14 0-17 16,-14 0-2-16,0 0-13 0,9-2 9 0,-9 2-21 0,0 0-55 16,0 0-64-16,0 0-67 0,0 0-78 0,0 0-143 15,0 0-203-15,-7 6-115 0</inkml:trace>
  <inkml:trace contextRef="#ctx0" brushRef="#br0" timeOffset="21449.38">9414 10094 63 0,'0'0'246'0,"-6"-9"-69"15,6 9 17-15,-5-9-83 0,5 9-18 0,-2-8-19 16,2 8-13-16,-3-9-15 0,3 9-11 0,-1-9-2 15,1 9-11-15,-2-8 0 0,2 8-7 0,2-7 0 16,-2 7-6-16,1-6-2 0,-1 6 3 0,6-6-5 16,-6 6-4-16,9-5 1 0,-9 5 1 15,9-4-3-15,-9 4 1 0,12-3 1 0,-12 3-1 0,20-4 29 16,-7 3-35-16,5 0 32 0,2 0-34 0,2 1 31 16,8 0-31-16,1 0 30 0,10 1-27 0,0 1 41 15,11-1-25-15,1 1 2 0,2 1 13 0,4-2 6 16,-1 2 9-16,4-1 35 0,2 1-42 0,0-1 26 15,10 2-16-15,-13-2 24 0,3 0-13 0,-3 1-17 0,-3-1 0 16,-2 1 4-16,-1-1-6 0,-4 0-4 16,-10 0-6-16,-1-1 11 0,-2-1-6 0,-9 1 1 15,-3-1 13-15,-3 1 9 0,-1-1 22 0,-6 0-1 0,1 0 0 16,-4 0-10-16,-1 0-8 0,0 0-10 0,-12 0-10 16,19 0-5-16,-19 0-14 0,12-1-34 15,-12 1-59-15,0 0-60 0,0 0-62 0,0 0-57 16,0 0-125-16,0 0-153 0,-2 6-37 0</inkml:trace>
  <inkml:trace contextRef="#ctx0" brushRef="#br0" timeOffset="22767.47">15266 5171 212 0,'0'0'176'0,"0"0"-49"16,-10 2-27-16,10-2-26 0,0 0-13 16,0 0 12-16,-5 4 28 0,5-4 5 0,0 0-16 15,8 5-12-15,-8-5 14 0,20 3-14 0,-4 0-12 0,2-1-9 16,6 0 9-16,5 1-2 16,6-2-5-16,2 2-7 0,4-1-10 0,-2 0-5 0,9 1-2 0,0 0-25 15,1 1 31-15,-8-3-29 0,0 2 24 16,-1-1-33-16,-1-1 30 0,-2 0-33 0,-7 1 27 0,1-1-33 15,-3 0 33-15,-1-1-35 0,-6 1 34 0,-2-1-32 16,-3 1 28-16,-2-1-24 0,-1 0 29 0,1 0-30 16,-14 0 27-16,21 0-27 0,-21 0 14 15,14 0-101-15,-14 0-65 0,0 0-86 0,0 0-270 0,6 4-8 16</inkml:trace>
  <inkml:trace contextRef="#ctx0" brushRef="#br0" timeOffset="24798.22">22597 6597 191 0,'-23'-8'298'0,"-1"1"-65"0,0 0-55 0,-1 2 12 0,4-1-27 16,0 3-26-16,4-2-17 0,2 2-25 0,1 0-22 16,3 1-3-16,11 2 1 0,-14-2 4 0,14 2 11 15,0 0-9-15,7 3 29 0,7 0-6 0,8-1-33 16,13 3 1-16,9 0-22 0,7 2 3 0,1 0-17 15,4-1 6-15,3 1-15 0,8 2 5 0,0 0-10 16,-10-1 3-16,-2-1-11 0,-1-2 5 0,-4 2-8 16,-2 0 7-16,-11-3-8 0,-1 2 6 0,-6-2-6 15,-5-1-1-15,-1 0-40 0,-6-1-6 0,0 0-36 0,-4-1 0 16,-1 0-65-16,-13-1-9 0,10 1-45 16,-10-1-63-16,0 0-39 0,-11-3-160 0,-2-1 65 15</inkml:trace>
  <inkml:trace contextRef="#ctx0" brushRef="#br0" timeOffset="25380.82">20485 4435 112 0,'0'0'229'0,"0"0"-37"0,16 4-24 0,0-4-19 0,5 1-20 16,9-1 0-16,9 0-6 0,14 1-16 0,4 0-4 16,3-1 14-16,7 0-4 0,10 1 4 0,2-1-17 15,1 0-20-15,-1-1-8 0,1 0-12 0,-5-1-11 16,-12 1-3-16,-2-2-2 0,-3 0-12 0,-6 0-4 15,-3 1 1-15,-9-2-3 0,-5 1-8 0,-6 0 1 16,-4 1 0-16,-5-1-3 0,0 2 2 0,-3-1-12 16,-3 0-53-16,-14 2-52 0,17 0-76 0,-17 0-77 15,0 0-335-15,-3 10-102 0</inkml:trace>
  <inkml:trace contextRef="#ctx0" brushRef="#br0" timeOffset="26242.52">23740 8471 35 0,'2'-6'371'0,"2"0"-100"15,4 1-64-15,6-2-34 0,5 1-5 0,5-2-32 16,8 0-27-16,2 2-15 0,4-1-13 0,5 0-18 15,2 2-8-15,2-1-8 0,-2 1-57 0,-5 2-32 16,-3 0-80-16,-2 1-89 0,-4-1-238 0,-3 2 74 16</inkml:trace>
  <inkml:trace contextRef="#ctx0" brushRef="#br0" timeOffset="26948.56">17903 9066 137 0,'72'6'211'16,"-2"0"-32"-16,-9-1-23 0,1-2-27 0,-2 3-13 0,-2-2-12 15,1-1-14-15,-4 0 15 0,0-1-19 16,-4 2-16-16,-10-2-14 0,-4-1-4 0,-6 0-15 0,-3 0-4 16,-5-1-2-16,-1 1-2 0,-4-1 13 0,-2 0-28 15,-3 0 2-15,1 1-45 0,-14-1-52 0,18 0-56 16,-18 0-56-16,0 0-205 0,8 4 144 0</inkml:trace>
  <inkml:trace contextRef="#ctx0" brushRef="#br0" timeOffset="28742.43">9647 14009 137 0,'21'-2'368'16,"4"-2"-84"-16,7-2-40 0,5 2-62 0,5-4 1 16,8 0-55-16,1 2 9 0,2-1-49 0,3-2 13 0,1 1-43 15,10-2 17-15,-1 0-38 0,-9 1 30 16,-1 0-30-16,-1 0 23 0,-4 0-30 0,-1-1 16 15,-4 1-27-15,-3 1 21 0,-11 2-31 0,-5 1-5 0,-2 0-56 16,-5 1-64-16,-1 1-11 0,-6 3-60 0,-2 2-77 16,-11-2-234-16,10 5 9 0</inkml:trace>
  <inkml:trace contextRef="#ctx0" brushRef="#br0" timeOffset="30100.16">8351 14520 190 0,'-7'-11'212'15,"0"0"20"-15,-3-1-52 0,1 0-70 0,0-1 5 0,-5-2-8 16,3 3 23-16,-2-1-31 0,-1 0-18 0,0 1-19 16,0 1-13-16,-1 2-5 0,2-1-10 0,0 2-7 15,-1-1-4-15,0 3-7 0,-2 0-4 16,2 1-4-16,-5 3-1 0,4-1-6 0,-4 1-6 0,-1 2-9 16,0 1-5-16,-4 2 1 0,-2 0 2 0,-1 4 3 15,-1-1-3-15,-1 3-28 0,-1 1 30 0,1 0-27 16,-2 2 38-16,-2 4-31 0,-3 2 40 0,3 2-25 15,0 2 24-15,1 3-33 0,-1 3 39 0,1 1-3 16,-4 8-3-16,1 1-1 0,2 3-2 0,1 1 2 16,0 0-3-16,4 1 1 0,4-4 3 0,1 0-2 15,1 1-2-15,4 2-2 0,-2-1-32 0,3 2 46 16,3 0-37-16,0 2 34 0,0-1-2 0,5 2 1 16,-1 0-9-16,2 1 7 0,2 1-10 0,2-2-2 15,4 2 8-15,0-1-5 0,4-1 5 0,2 1 8 16,2 1 5-16,1-2 9 0,2-1 0 0,5 1 3 15,-1-3-1-15,8 9-7 0,1-4-5 0,0 0 6 0,3-3-10 16,3 0-4-16,0-3 3 0,2-3-3 0,4 2-1 16,1-1-13-16,0-1 14 0,4-3-11 0,0-1 12 15,1-1-13-15,3 1 13 0,-2-3-12 0,3 1 12 16,0-3-10-16,2 0 6 0,-1-2 5 16,3 1-4-16,-3-3 0 0,-5-2 2 0,4 1-4 0,-5-4 4 15,3 0-39-15,-1-2 44 0,-1-1-3 0,3-1 2 16,2-2-6-16,-2-1 2 0,2-4-5 0,2 1 8 15,-2-3-8-15,2 0 1 0,1-2-2 0,-1-2 5 16,0-1-1-16,2-2 0 0,-2-1 2 0,2-1 8 0,-3 0-5 16,1-3-39-16,3-1 47 0,1 0-7 0,-2-2-2 15,1 0 4-15,0-1-6 0,1-2 3 0,-1-1-2 16,2 1 1-16,7-4-2 0,-9 1 1 0,8-2 3 16,-3-3-5-16,2 1 1 0,-3 0 4 0,2-2-5 15,-2 0-3-15,-2-3 0 0,1 1 0 0,-2 2 4 16,2-2-8-16,-1-1 3 0,-3 1 1 0,3-2-3 15,-11 4 2-15,2-2 3 0,5-3-4 0,-1 0-1 16,-6 3 1-16,-1-2 5 0,-1 0-4 0,-3 0-3 16,3-1-32-16,-4 0 46 0,0-1-43 0,-2 1 46 15,-1-3-37-15,-1 1 39 0,-2 0-38 0,0-2 42 16,-3-1-41-16,-1-2 36 0,-2 0-2 0,-1-3-3 16,-3-1-6-16,1-2 0 0,-3-3 2 0,-3-2-3 15,1 1 0-15,-4-4-3 0,-2-1-34 0,-2-1 38 16,-2 1-32-16,-2-1 59 0,0-1-24 0,-1 0 18 15,-4 0-37-15,-2 1 41 0,-1-1-26 0,-2 3 33 16,-2-3-37-16,-2 3 23 0,-2 0-28 0,-1 0 32 16,-1 0-37-16,-6 1 31 0,-2-6-34 0,-5 1 32 15,-2-1-30-15,-5 4 27 0,-3 0-20 0,-4 0-9 16,-2 2 30-16,-8-1-33 0,-2 0 34 0,-3 0-32 16,-5 3 24-16,-3 1-30 0,-3-2 30 0,-3 5-28 15,0 1 33-15,-4 2-31 0,-4 3 27 0,0 0-35 0,-2 6 20 16,-4 1-51-16,-1 4 13 0,-2 4-71 15,2 5 26-15,-2 2-63 0,-2 5-6 0,4 3-48 16,-2 2-223-16,-1 2 105 0</inkml:trace>
  <inkml:trace contextRef="#ctx0" brushRef="#br0" timeOffset="32695.2">15259 14462 124 0,'0'0'198'0,"0"0"-2"0,0 0-70 15,0 0-26-15,7 3-18 0,4-2 19 0,4 2-55 16,3 1 30-16,6-1-48 0,6 1 32 0,4 0-47 15,11 3 34-15,5-1-42 0,2-1 36 0,6 2-43 16,-2-1 36-16,17-2-41 0,-2 4 39 0,5-2-35 16,-1 0 31-16,3 2-40 0,-1-2 34 0,1-1-41 15,-3 0 25-15,2 0-19 0,-2-2 20 0,-3-1-39 16,-8-2 40-16,-2 2-34 0,1-2 39 0,2-2-37 16,-2 0 37-16,-2-1-33 0,0-1 36 0,-3-2-36 0,2 1 37 15,-2 0-35-15,-2-3 36 0,-1 1-37 0,-2-3 42 16,-3 1-28-16,0-4 22 0,-4 2-37 15,1-3 39-15,-6 0-38 0,1-3 39 0,-3 0-33 0,-3-1 39 16,-5-1-20-16,0-3 45 0,-4 2-13 0,-7 0-2 16,-3-2-4-16,0-1 1 0,-5-1-10 15,-1-2 0-15,-3-1-1 0,-2 2-35 0,-4-1 35 0,0-2-36 16,-2 0 39-16,-4-5-41 0,-3-1 36 0,0-5-36 16,-5 0 11-16,-1 1-5 0,-3-2 26 0,-2 2-21 15,-4-2 32-15,-5-7-34 0,-6 3 31 0,-2 1-3 16,-4 0-6-16,-3 1-3 0,-3 2-1 0,-5 0-1 15,-3 2-31-15,-2 1 38 0,0-1-33 0,-4 3 36 16,-3 2-36-16,0 2 39 0,-3 1-26 0,-4 2 17 16,-3 2-34-16,-1 3 32 0,-3 3-34 0,-2 0 33 15,-3 5-29-15,-3 1-8 0,-1 5 6 0,-3 2 30 16,-3 3-31-16,-3 4 29 0,-2 1-36 0,-5 6 36 16,4 1-37-16,0 2 14 0,2 2-41 0,1 4 10 15,4 1-9-15,2 3-32 0,3 3-25 0,4 4-86 0,3-1-110 16,4 3 232-16</inkml:trace>
  <inkml:trace contextRef="#ctx0" brushRef="#br0" timeOffset="33784.33">18639 11624 145 0,'0'0'315'0,"0"0"-59"0,0 0-28 16,-5-5-18-16,5 5-21 0,0 0-29 0,0 0-18 15,0 0-24-15,-1-7-13 0,1 7-15 0,2-5-8 0,-2 5-20 16,11-10-10-16,-1 3 7 0,0-1-8 0,3-2-32 15,-2 2 33-15,2-2-43 0,4 0 32 0,-3 1-37 16,-2 0 31-16,0 0-36 0,0 1 31 0,0 1-34 16,-4 1 29-16,1 0-52 0,-1-1-14 0,-1 3-66 15,-2-1-25-15,-5 5-43 0,11-8-36 0,-11 8-22 16,7-4-2-16,-7 4-181 0,0 0 120 0</inkml:trace>
  <inkml:trace contextRef="#ctx0" brushRef="#br0" timeOffset="35187.67">22863 14308 78 0,'9'-15'190'0,"-3"0"-38"0,-1 2-40 15,-1 1-23-15,0-2-19 0,-1 1-17 0,-2 2-12 16,-1-2-11-16,-1 5 0 0,-2-4-10 0,-3 4-4 16,-1-3-4-16,-2 4-3 0,-2 2-1 0,-1-2-4 15,-4 3 5-15,0 2-7 0,-1 1-1 0,-3 4-3 16,-3 2 4-16,-5 5-1 0,-8 4-4 0,1 6 7 16,-5 5 2-16,-6 9 13 0,-2 5 27 0,0 4-8 15,1 6 50-15,2 4-35 0,2 4 35 0,3-1 13 16,4 3-12-16,4-1 1 0,3 0-21 0,3-2 7 0,6 1-34 15,5-3 42-15,4-8-37 0,1 1 25 16,5-1 2-16,5 1 14 0,1-3-47 0,5 2 25 16,2-3-37-16,3 1 21 0,3-4-36 0,4 0 24 0,3-3-7 15,1-2-10-15,6-1 6 0,2-4-7 0,2-2-30 16,2-2-28-16,4-1-12 0,-1-4-25 0,3-3-21 16,2-1-37-16,2-3-24 0,-2-3-28 0,1-1 9 15,-6-3-62-15,-1-5-168 0,0 2 136 0</inkml:trace>
  <inkml:trace contextRef="#ctx0" brushRef="#br0" timeOffset="48387.55">15157 6439 394 0,'4'-17'360'16,"-2"4"-39"-16,2-1-21 0,1 1-81 0,-3 3 21 16,1-1-24-16,0 2-48 0,-1 1-43 0,-2 2-35 15,0 6-19-15,3-7-11 0,-3 7-11 0,0 0-8 16,-7 9-2-16,2 1 3 0,-4 3-4 0,-1 3 14 16,-3 7 2-16,-5 0 15 0,3 2 1 0,-4 4-23 15,-1 1 32-15,0-1-28 0,1 1 4 0,0-1-15 16,5-4 20-16,-4-1-7 0,4 2-13 0,-3-3-23 15,3 2 18-15,-1-4-46 0,5-2 18 0,-2-1-24 0,2-1-16 16,1-2-42-16,3-3-8 0,-1 0 15 16,0-4 4-16,2-2-84 0,5-6-70 0,-8 4-16 15,8-4-69-15,-7-6-14 0,6-4-288 0,1-2-120 16</inkml:trace>
  <inkml:trace contextRef="#ctx0" brushRef="#br0" timeOffset="48556.61">14869 6500 264 0,'4'-19'375'16,"-2"3"-66"-16,1 3-67 0,-2 2-71 0,3 2-38 15,-1 2 11-15,-3 7 9 0,11-4-16 0,-11 4-28 0,16 4-5 16,-4 3 19-16,0 1-23 0,6 4-10 0,2 2-13 16,1 3-19-16,2 1-5 0,1 3-11 0,4 2-3 15,-2 0-9-15,-1 0-6 0,1 2 0 0,-1-1-6 16,-7-2-1-16,3 1 1 0,-6-2 1 0,3 3-5 16,-5-2-42-16,-2-3-73 0,-2-1-101 0,-1 0-37 15,-2-4-126-15,-3 0-248 0,-2-3-125 0</inkml:trace>
  <inkml:trace contextRef="#ctx0" brushRef="#br0" timeOffset="48801.62">14741 6756 450 0,'-21'-3'560'0,"3"0"-100"16,2 1-89-16,4-1-61 0,5-2-78 0,7 5-43 0,0-10-28 15,10 3 22-15,7-1-19 0,11-4 11 16,12 1-7-16,6-2 2 0,4 1-28 0,11-2 6 15,4 3-28-15,-1-2-16 0,-10 5-22 0,3 0-11 16,-2-1-19-16,-1 3-2 0,-6-2-18 0,0 2 1 0,-11 1-11 16,-4 0 4-16,-6 2-12 0,-3-1 5 15,-6 1-22-15,1 1-22 0,-2-1-59 0,-6 0-67 16,-11 3-43-16,11-3-28 0,-11 3-3 0,0 0-11 0,-9-3-30 16,9 3-26-16,-23 0-10 0,8 2-36 0,-2 0-349 15,-1 0-195-15</inkml:trace>
  <inkml:trace contextRef="#ctx0" brushRef="#br0" timeOffset="49328.69">15325 6250 119 0,'-6'-25'298'0,"1"-5"-107"0,-5 3-13 0,-6 2-23 16,1 1-39-16,-7 4-14 0,-5-2-18 0,-3 4-5 0,-5 4 10 15,2 4-6-15,-2 3-14 0,-2 2 17 16,0 5-12-16,-2 2-32 0,-5 6 40 0,-3 4-4 0,4 4 34 16,-10 11-28-16,4 3 16 0,2 5-3 0,4 4-7 15,-1 3-2-15,6 3-20 0,5-1-7 16,5 3 8-16,6-6 0 0,4 0-22 0,4 1 1 0,5 0-18 15,5 1 20-15,3-6-11 0,2 5 4 16,8-1-16-16,4 0 8 0,2-3-16 0,6-1 16 0,4 0-5 16,1-3 11-16,6-3-21 0,2-2 10 0,7 3-16 15,-1-11 12-15,3 0-22 0,-1-5 15 0,6-1-12 16,-1-6 13-16,4 0-19 0,-2-7 20 0,2-1-2 16,0-3 25-16,0-5-17 0,-1-3 18 0,0-2 13 15,-3-4 9-15,0 0-14 0,-3-5 2 0,-3-2-8 16,5-4 35-16,-12 0-20 0,1-1-15 0,-6-2 15 15,-1-3-14-15,-4-2-8 0,-3-2-12 0,-4-1 1 16,-6-3 3-16,-1-1 3 0,-6-1 1 0,-1-2 0 16,-7 0-13-16,-5 0-2 0,-1 1-6 0,-4 0-5 15,-7 4 1-15,-7-6-1 0,-4 3-4 0,-4 3-6 16,-2 3 3-16,-5 4-3 0,-2 3-3 0,-2-1 0 16,-2 8 0-16,6 3-14 0,-1 4-31 0,-2 1-29 15,4 3-49-15,0 4-54 0,5 4-30 0,1 3-41 16,0 3-80-16,2 4-37 0,-4 6-75 0,3 4-307 0,-1 3-259 15</inkml:trace>
  <inkml:trace contextRef="#ctx0" brushRef="#br0" timeOffset="51185.32">16111 4323 74 0,'-1'-9'128'0,"1"2"-34"0,0-1-21 15,-1 1-22-15,-2-1 13 0,3 1-19 0,-2-2 1 16,-1 1-19-16,-1 1-2 0,3-2-9 0,-2 2 3 15,-3 0-10-15,4 0 3 0,-2 0-7 16,-1-1 0-16,-2 2-1 0,1 0-6 0,-4 1 8 0,-1-1-3 16,0 2 1-16,-5-1-3 0,2 0-1 0,-2 1-1 15,-3 1 2-15,-1-1-5 0,-4 1 6 0,-1 0-4 16,-3 2 4-16,-2-2-1 0,-7 2 0 0,0 1-3 16,-3 0 0-16,0 0 2 0,-1 1-4 0,1-1 8 15,-2 3-10-15,1-2 8 0,1 2 0 0,-1-1-4 16,2 2 0-16,-1-2 2 0,2 1 1 0,-7 3 0 15,0 1-1-15,2-3 2 0,-1 4 0 0,1 0-1 16,1-1 0-16,1 3-3 0,0-1-3 0,1 2 6 16,2-1 1-16,1 1 0 0,-1 2-3 0,3 0 3 15,-1 0-2-15,7 0 7 0,-2 0-7 0,3-2 5 16,-1 4-5-16,2-1 5 0,3 1-10 0,-2 0 9 16,2 1-7-16,1 1-2 0,2 1 5 0,-3 0-1 15,2 1 11-15,2 0-12 0,-1 3 7 0,1-2 0 16,3 3-1-16,-2-1 1 0,0 1-4 0,4 0 0 15,-2 0 1-15,3 1-1 0,0 0 6 0,2-1 10 0,2 1 50 16,-2 0-13-16,3-2-16 0,1-1-4 16,-1 1-2-16,4 1-6 0,-2-1-3 0,4 2 3 15,0-1-11-15,-1 1-1 0,4 0 3 0,0 1 0 0,3-2-2 16,-1 2 61-16,2 2-18 0,3 2-35 0,3 0 27 16,-1-1-14-16,2 3-5 0,3 2-4 0,2 0-8 15,0 0 2-15,2-1-6 0,1 2-2 16,2-3-2-16,-1-1-1 0,3 2-5 0,0-3 7 0,3 2-15 15,-2-4 10-15,4 2-3 0,-1-3 5 0,1 2-9 16,3-4 7-16,-2 1-4 0,2-1 6 0,-1-2-1 16,2-1-4-16,0 0 5 0,2-2-4 0,0-1-3 15,-1-1 11-15,2 0-7 0,1-2-1 0,-2 2 1 16,3-4-2-16,-4 1 3 0,-2-1-2 0,1-3-26 16,5 2 32-16,3-1-27 0,-2 0 31 0,2 0-30 15,-2-3 28-15,4 2-26 0,0-3 26 0,1 0-29 16,0 0 32-16,1-1-31 0,0-1 29 0,0 1-31 15,2-2 31-15,0-1-27 0,1 1 29 0,-5-3-28 16,0-1 30-16,9 0-30 0,2-1 26 0,-2-2-28 16,1 0 32-16,1 1-30 0,2-4 28 0,-3 1-6 15,4-1-1-15,1-2 0 0,-1-1-4 0,0 0 1 16,8-4 1-16,0 0-7 0,-3-2 0 0,0-2 1 16,-1-1-2-16,1-1 2 0,-1-2 8 0,-4-1-1 0,4 1-8 15,-2-3 6-15,-1-1-11 0,1-2 15 0,-2 2-12 16,-1-4 20-16,-3 2-3 0,3-1 1 15,-4 1 0-15,-1-1 9 0,1 2-3 0,-6-2-7 16,-2 5 2-16,-4 1-20 0,-1 0 28 0,3 0-25 0,-3-2 27 16,-2 2-27-16,1 0 22 0,1 0 9 15,-3-1-7-15,-2-1-4 0,2 1-10 0,-3 0 4 0,-2-3-5 16,1 2-6-16,-3-1-11 0,0 0 29 0,-1-2-17 16,-4 4 10-16,-1-4-18 0,-4 4 17 0,-4 0-22 15,-4-1 17-15,-2 3-19 0,-5-2 20 0,-3 1-22 16,-3-3 21-16,-8-3-4 0,-1-4-6 0,-9-1 4 15,1 0-9-15,-7 1 7 0,-3-1-7 0,-7-4-15 16,-3 1 24-16,-5 0 0 0,-6 0-4 0,-4 3-13 16,-8 0 9-16,-1 1-14 0,-9 0 17 0,-3 2-8 15,-5 1 12-15,-16-4-11 0,-5 3 8 0,-2 1-10 16,-3 4 17-16,0 1-15 0,-5 2 11 0,18 7-19 16,-3 0 7-16,-2 2-58 0,-2 4-8 0,-1 0-43 15,1 6-42-15,0 0-41 0,3 4-217 0,-2 3 116 0</inkml:trace>
  <inkml:trace contextRef="#ctx0" brushRef="#br0" timeOffset="52271.94">12401 7868 150 0,'-42'-19'129'0,"1"0"-27"0,-5 1-25 16,-5-2-9-16,-4-1-22 0,0 0 27 0,-4 2-25 16,1 1 10-16,-5 1-33 0,-1 2 36 0,-2 1-32 15,-5 0 29-15,0 4-29 0,-5 1 29 0,2 3-42 16,-4 1 5-16,3 3-1 0,-4 2 36 0,2 1-39 0,-1 3 25 16,1 2-29-16,1 0 24 0,-1 3-38 15,-1 2 29-15,1 2-24 0,-2 2 24 0,4 2 2 16,-2 0 5-16,3 2-3 0,0 1-5 0,2 2-2 0,-1 0 0 15,2 2-2-15,2 2-2 0,0 0 13 16,2 1-8-16,5 0-5 0,0 2 0 0,2-1-6 16,4 4 14-16,2-1-31 0,3 0 31 0,4 4-23 15,0-1 33-15,3-1-36 0,3 5 8 0,2-1 29 0,2 1-34 16,1 1 13-16,3 1-14 0,1 1 29 0,0 0-3 16,1 0-5-16,7-4 0 0,-6 7-7 0,2 1 3 15,1-1-3-15,1 2-23 0,1 0 27 0,0 0-22 16,-1 1 27-16,3 4-22 0,-1-2 2 0,3 1 25 15,1 2-29-15,3-9 29 0,1 3-31 0,3-2 25 16,-1-1-29-16,1 2 28 0,2-2-21 0,0 0 23 16,1 0-28-16,1-1 35 0,2-1-24 0,0-1 20 15,5-6-24-15,-1 1-3 0,3-1-2 0,3 0 14 16,2-1 1-16,4 5 10 0,5-3-9 0,1 1 0 16,3 1-6-16,4-1 20 0,2-1-23 0,7 6 15 15,4-3-17-15,1 1 20 0,5-1-28 0,0-2 21 16,5-1-18-16,3-2-1 0,3-2 20 0,4 0-20 15,4-4 20-15,4-1-20 0,3-3 17 0,2-3-19 16,5-2 1-16,1-2 2 0,-1-3 6 0,4-4-3 0,1-5 1 16,1-1 9-16,3-5 2 0,1-3 13 15,2-5 12-15,-2-5 4 0,2-3-1 0,-2-5 3 16,16-10-6-16,-2-4-6 0,-2-5-1 0,0-4-6 0,-4-1-9 16,0-3-21-16,-5 0 30 0,-8-2 1 0,-15 6-5 15,-5 1-2-15,-8-4-22 0,-3 1 1 0,-7-3 0 16,-5-1 8-16,-9 1-13 0,-4-2 11 0,-8 7 4 15,-6 0-7-15,-5 0-2 0,-4 0-12 0,-3 2-17 16,-2 1 18-16,-2 2-15 0,-6 1 4 0,-1 2-54 16,-3 2 7-16,-2 1-52 0,-1 1-35 0,-5 3-71 15,0 4 3-15,-3-1-63 0,-3 4-72 0,-2 1-139 16,-3 2 12-16</inkml:trace>
  <inkml:trace contextRef="#ctx0" brushRef="#br0" timeOffset="53591.03">8313 6749 30 0,'-19'-20'301'0,"-2"1"-66"16,2 1-44-16,-1 1-26 0,3 3-39 0,1 2-11 15,0 1-32-15,3 1-12 0,3 3-23 0,1 0-7 16,3 1-26-16,6 6-46 0,-5-8-16 0,5 8-57 15,9-5-61-15,0 1-174 0,2 2 205 0</inkml:trace>
  <inkml:trace contextRef="#ctx0" brushRef="#br0" timeOffset="57966.01">8147 6593 338 0,'-3'-7'265'0,"3"7"-77"16,0 0-47-16,0 0-30 0,0 0-29 0,0 0-12 15,0 0-14-15,4 12 65 0,-3-3-19 0,3 2 7 16,0 2 33-16,1 1-43 0,2 1-2 0,-1 3-24 16,4-1 48-16,0 1-21 0,1 1-3 0,0-1-36 15,-1-1-2-15,3 1-16 0,-3-2 8 0,1 1-17 16,0-3 10-16,-3 0-12 0,-1-4-2 0,1 1-13 15,-2-3 6-15,-1 1 11 0,1-2 44 0,-3 0 49 16,-3-7-17-16,8 8-5 0,-8-8-41 0,0 0 5 16,0 0-26-16,0 0 3 0,-1-14-24 0,-3 5 11 15,1-4-21-15,0-3 8 0,-1-1-18 0,-1-1 5 16,1 0-16-16,-1 0 12 0,1 1-13 0,0 1 3 16,3 1-4-16,-3 3 1 0,3 1-15 0,-2 2 7 0,3 1 3 15,0 8 1-15,0-7 14 0,0 7-8 0,0 0 8 16,4 7-6-16,0 0 16 0,1 2-11 15,0 1 65-15,4 3-4 0,-1 1-11 0,2 1-18 16,1 0 6-16,2 2-16 0,-1 0 9 0,3-1-11 0,-1 0 8 16,3 0-7-16,-3-2 8 0,2 1-2 15,1-2 10-15,0-2-4 0,2 0 0 0,-4-3-11 16,3-1 3-16,-1-3-5 0,-1-1 2 0,2-2-8 0,0-2 4 16,0-1-4-16,-2-3 0 0,2-3-3 0,-2-3 0 15,0-3 2-15,-3-4-5 0,-1 0-13 0,-1-3 6 16,-2 0-13-16,-1 2 4 0,1-2-8 0,-6 4 12 15,3 0-6-15,-4 2 3 0,2 1-2 0,-1 4 4 16,-1 0-11-16,-2 2 5 0,0 8-6 0,0-9 9 16,0 9-4-16,0 0 11 0,0 0-8 0,-9 7 9 15,7 0-3-15,-1 2 7 0,2 0-2 0,-1 2 9 16,2 0-10-16,3 1 7 0,0 2-4 0,0 1 4 16,4-1-8-16,-1 0 8 0,3 0-3 0,0-2 5 15,0 1-5-15,5-1 6 0,-2-2-5 0,2 0 6 0,0-4-5 16,1-1 4-16,-1 0-5 0,4-2 6 15,-4-2-3-15,5-2 1 0,-2-3-4 0,-1-1 2 16,2-3 2-16,0-3-26 0,-2-1-8 0,0-3-23 0,-4-3 15 16,-1-1-7-16,-2-1 15 0,-2 1-10 0,-5 1 17 15,1 1-11-15,-3 4 3 0,-3 0 7 16,-3 1-2-16,-2 2 2 0,-3 3 2 0,-4 3 1 0,3 2 10 16,-4 3-10-16,2 2 16 0,-4 1-13 0,3 3 10 15,1 2-9-15,1 0 21 0,2 1-16 0,2 1 15 16,2 0 5-16,3 0-12 0,3-1 8 15,1 1-10-15,3-1 16 0,1-1-11 0,2 1 14 0,4 0-19 16,3-3 21-16,-1-2-16 0,2 1 11 0,-3-4-10 16,2 0 10-16,0-2-9 0,-13 0 5 0,24-1-2 15,-14-2 2-15,1-1 1 0,-1-2-11 0,-3-1 6 16,0-3-13-16,-3 1 3 0,-2-4-5 0,1 2 13 16,-3-1-14-16,-2-2 10 0,1 2-20 0,-3-2-43 15,-1 1-19-15,1 0-42 0,-1 2-1 0,0 1-30 16,-2 1-41-16,0 0-39 0,1 1-24 0,-1 1-24 15,1 0-40-15,1 2-16 0,1-2-152 0,0 1 19 16</inkml:trace>
  <inkml:trace contextRef="#ctx0" brushRef="#br0" timeOffset="58213.07">9135 6554 122 0,'11'6'279'0,"2"-2"6"0,0 5-51 16,-3 2-42-16,5 0-7 0,-1 2-5 15,2 1-15-15,-5 2-52 0,3-2 30 0,0 1 21 0,-1-1-37 16,1 0-18-16,-1 1-13 0,2-2 5 15,-5-2-5-15,1 0 3 0,0-3 14 0,-2 0 4 0,0-1 37 16,0 0 31-16,-1-4-27 0,-8-3-29 0,14 4-24 16,-14-4-24-16,15-3-13 0,-7 0-11 0,-2-2-9 15,1-3-10-15,0-3-13 0,1-2-1 0,-3-3-11 16,0-3-3-16,3-1-7 0,-3-1 2 16,0-2 0-16,-1 3-4 0,0-2 0 0,-3 4-8 0,4 0-41 15,-5 0-34-15,3 1-32 0,-2 2-27 0,-1 2-23 16,4 2-59-16,-4-1-31 0,2 2-49 0,-2 1-40 15,0 1-42-15,3-1-233 0,1 1-129 0</inkml:trace>
  <inkml:trace contextRef="#ctx0" brushRef="#br0" timeOffset="58374.07">9617 6407 183 0,'8'7'340'16,"-1"1"-10"-16,-1 1-63 0,-1 2-23 0,2 1 6 0,-1 2-44 16,-1 0-53-16,0 1-15 0,0 0-33 15,1 1-10-15,-1 0-31 0,0 1-5 0,-1-3-19 16,-2 2-8-16,1 0 1 0,-1-2 2 0,1 0-10 0,-2-2 4 15,2 1-5-15,-2-3-30 0,0 0-104 16,1-1-22-16,0-1-61 0,-1-2-21 0,2 0-90 16,-3-6-226-16,10 6-32 0</inkml:trace>
  <inkml:trace contextRef="#ctx0" brushRef="#br0" timeOffset="59005.13">9724 6303 198 0,'-10'-13'352'0,"2"2"-93"0,0-1-55 16,1 2-40-16,-1 2-36 0,4 1-23 0,-2-1-22 16,2 1-22-16,0 1-29 0,4 6-22 0,-4-10-42 15,4 10-53-15,0 0-20 0,5-4-10 0,-5 4-14 16,0 0-8-16,17 2 8 0,-7 0 4 0,-2 3 31 16,2-2 5-16,1 3 28 0,2-2 1 0,3 4 16 15,-4-1 11-15,4-1 34 0,-2 1 12 0,0 0 18 16,3-2 10-16,-3 1 22 0,2 0 26 0,-3-2 11 15,2 0 25-15,-2-1-19 0,0-2 6 0,-3 1-19 16,3-2-14-16,-3-2-11 0,-1-1-9 0,0-1-7 16,1 0-9-16,-3-1-15 0,-4-3-1 0,0 2-5 15,-2-1 23-15,1 1-14 0,-5 0-4 0,-1 1-6 16,-5 1 5-16,-1 1 11 0,0 3 8 0,-2 3 16 0,-4 1 25 16,0 3 3-16,-2 4 26 0,3 4 11 0,-3 4-21 15,2 1-21-15,3 2 35 0,4-1-23 0,0 1-11 16,5-1-17-16,2 3-6 0,3-4 20 15,1 3 20-15,5-2-21 0,0 1 3 0,4-2-23 0,-1-1 12 16,5-1-12-16,-2-1 16 0,4-1-18 0,-2-4 2 16,4-1-18-16,0-3 4 0,2-1-12 0,-2-3 0 15,0-1-11-15,-1-3 2 0,1-3-13 0,-1-1 4 16,1-4-6-16,2-3 4 0,-3-5-8 16,1-3 4-16,-4-3-14 0,-1-2 3 0,-1-2-2 0,-3 1 3 15,-1-2-8-15,-4 4 8 0,-1 0-5 0,-1 1 5 16,-1 3-7-16,-2 2 7 0,-1 0-4 0,0 3 5 15,-1 1-12-15,1 2 6 0,0 0-14 0,-2 3 10 16,2 1-9-16,1 7 13 0,-4-8-14 0,4 8 17 16,0 0-9-16,-4 8 9 0,4-1-10 0,1 3 10 15,2 1-5-15,2 3 2 0,0 1 0 0,3 3 1 16,1 2 1-16,-1-1-3 0,1 1 4 0,1 1 13 16,-3 0-15-16,1-1 10 0,-1 1-11 0,-2-2 15 0,0-2-12 15,-3-2 13-15,-2-1-9 0,-1 0 17 0,-5 0-13 16,1-1 9-16,-3-1-10 0,-1-2 7 15,-1 0-8-15,-2-2-29 0,0-1-71 0,1-2-10 16,2-1-40-16,-1-1-37 0,10-3 6 0,-17 2-72 0,17-2-10 16,-10-3-38-16,10 3-70 0,-4-10-238 0,4 2-116 15</inkml:trace>
  <inkml:trace contextRef="#ctx0" brushRef="#br0" timeOffset="59178.13">10622 6228 115 0,'13'-2'383'0,"-13"2"-90"0,19 3 11 16,-12 3-64-16,-2 1 23 0,-3 1-35 0,2 3-41 0,-4 1-34 16,0 1-25-16,-2 3-31 0,-1 0-18 0,1 1-17 15,-2 0-14-15,0 0-4 0,-1 3-5 0,-2 0-6 16,1-2-2-16,-3 1-1 0,1-1-48 0,-1-1-47 16,-2-2-59-16,-2 1-70 0,-1-2-96 0,1-2-362 15,0-4-161-15</inkml:trace>
  <inkml:trace contextRef="#ctx0" brushRef="#br0" timeOffset="59347.13">10474 6394 56 0,'5'-6'462'15,"-5"6"-132"-15,12-6-34 0,-12 6-29 0,11-4-11 16,-11 4-34-16,19-1-37 0,-19 1-23 16,26 0-32-16,-10 2-26 0,4 3-18 0,-1-1-14 15,4 2-12-15,-2 0-10 0,0 3-12 0,1-2-29 0,-2 1-37 16,-2 2-74-16,3-1-52 0,-6 0-92 0,0-1-113 15,-1 0-235-15,0 0-107 0</inkml:trace>
  <inkml:trace contextRef="#ctx0" brushRef="#br0" timeOffset="60374.26">10677 5909 9 0,'-11'-5'229'0,"-1"0"-36"16,2-1-35-16,-7 2-29 0,3-2-32 15,-5 1-13-15,1 1-15 0,-4 0-7 0,-2-1-7 0,-3 1-2 16,1 0-8-16,-5 2 2 0,-5-1-14 0,-1 1 1 16,0 1-9-16,-6 0 0 0,-7 0-10 0,-4 2 3 15,-2-1-11-15,-4 1 4 0,-4 0-4 0,-10 1 3 16,-6 0-6-16,1 1 2 0,0 1 1 0,0 1-1 16,-2 0-9-16,-2-1 6 0,3 3-7 0,-2-1 3 15,0-1-2-15,-1 4 4 0,5-1 1 0,0 1-3 16,3-1 9-16,3 1 2 0,2 1 7 0,2 0 0 15,13-2-4-15,-1 2 1 0,2 0 1 0,-1 1-3 16,3-1 3-16,3 2 12 0,-2-1 0 0,3 1-3 16,4 1-7-16,1-1-4 0,2 1 2 0,1 2 2 15,3-1 5-15,0 2 8 0,3-1 0 0,-1 2 3 16,3 1-5-16,2 0-4 0,0 1-1 0,1 0 38 0,6-1-7 16,-2-1-8-16,2 3-8 0,2-1-13 0,0 0 0 15,2 1-4-15,0 2-6 0,1 1-3 0,1 1 34 16,2 0 0-16,1 2-9 0,1 3-7 15,4 1-7-15,-1 0 35 0,4 4-22 0,2 2 12 0,1 1-17 16,2 8 9-16,4-1 21 0,0 0-12 0,5 2-5 16,2-2-10-16,3-2-4 0,2 1 1 15,2-1 19-15,2-1-16 0,3-1 4 0,1-1-19 0,9 2 12 16,1-1-20-16,2-3 14 0,4-3-4 0,-3-7 38 16,9 2-11-16,5-5 11 0,-6-5-29 0,14-1 10 15,-6-6-14-15,12 1 12 0,5-6-23 0,4-3 11 16,1-1-20-16,5-5 13 0,3-1-21 0,1-2 18 15,0-2-19-15,4-1 17 0,-2-3-12 0,1 1 9 16,3-3-14-16,-1 1 8 0,1-1-9 0,1-2 11 16,-3 2-12-16,1-1 19 0,-3 0-22 0,1-3 23 15,-2 1-17-15,1-1 16 0,-1-1-20 0,-1 0 15 16,-1-1-16-16,1 0 18 0,-4-2-15 0,-2 0 15 16,-2 1-20-16,-3-2 28 0,-2-1-18 0,-6 1 15 0,1 0-20 15,-2-1 16-15,-3 0-14 0,0 0 14 0,-2 0-1 16,-2 2-12-16,-4-2 22 0,-7 4-9 15,-3 0 15-15,-5-2-10 0,0 0 11 0,-5 2 8 16,-4-2 21-16,-4 3-16 0,-3-3 7 0,-2 1-11 0,0 0-5 16,-5-3 11-16,2 0 5 0,-5-2 3 0,-3-1-10 15,-3-2-8-15,1-4-9 0,-4 4-6 0,-4-5-5 16,-3-2-2-16,-2-4-5 0,-5-2 0 0,-3 2-4 16,-5 1 3-16,-4 1-2 0,-8-2-3 0,-2 0-4 15,-3 3 2-15,-3 4-1 0,-1-1-1 0,-2 3 0 16,-4 3-3-16,-2 0 4 0,-1 3 0 0,-5 1 1 15,2 3-1-15,-5 2-5 0,-2 0-57 0,1 3-48 16,7 4-22-16,-3 1-47 0,-1 4-32 0,-2 0-63 16,4 3-50-16,-3 3-71 0,1 1-383 0,-1 4-302 15</inkml:trace>
  <inkml:trace contextRef="#ctx0" brushRef="#br0" timeOffset="61727.86">8438 5736 174 0,'-9'4'223'0,"2"1"-60"0,2-1-20 0,-1 1-13 0,4 0 15 16,2-5 10-16,-3 11-12 0,7-5-3 15,4 0 17-15,7 1-15 0,7-1-9 0,10 1-8 16,11 1-10-16,11-4-10 0,6 0-16 0,14-1 6 0,9 0-17 15,5-2-34-15,4 1 19 0,5-2-23 0,4 0-2 16,3-3-8-16,5 1-6 0,-2 0 4 16,3 0-8-16,23-3 3 0,0-2-9 0,-3 0 1 15,2-1 8-15,-3-2-11 0,-4 0 4 0,-2-2 2 0,-3-2-11 16,-3-3 5-16,0-2-6 0,-5-4-4 0,-3-1 1 16,-4-5 0-16,-3 0 0 0,-23 0-6 0,17-5 9 15,-22 4-7-15,-4-2 7 0,-3 0-7 0,-3-1 15 16,-7 3-7-16,-2-4-2 0,-6 0-8 0,-7-1-2 15,-2 2 1-15,-10 2 1 0,-3-2 2 0,-1-1 20 16,-5 2-4-16,-1-2-6 0,-3-5 1 0,-3 1-3 16,-1-1-5-16,-5-2-1 0,-3 2-6 0,-2 3 5 15,-5-2 2-15,-3-2-1 0,-1-1-2 0,-7 0-1 16,0 2-6-16,-6 1-4 0,0 0 8 0,-5 0 0 16,-3 2-3-16,-5-3 0 0,-5-1 3 0,-4 2-28 15,-5 2 29-15,-5 0-22 0,-3 2 27 0,-6 0-28 16,-5 1 31-16,-5 2-26 0,-1-1 27 0,-4 0-4 15,-4 2 2-15,-3 2-16 0,-18-4 12 0,-2 2-3 16,-4 2-11-16,-4 2 1 0,-3 2-2 0,0 4 5 16,-4 0 5-16,-3 3-16 0,-5 2-6 0,-4 4 5 15,-1 2 5-15,-3 4 6 0,-3 1 1 0,-4 5-9 16,-5 4 10-16,1 2 5 0,-2 6 3 0,2-1-12 0,2 8-6 16,1 2 7-16,8 3-7 0,3 3 15 0,12 0-3 15,10 5 29-15,11 0-31 0,20-2 31 0,9 3-27 16,8 2 19-16,5 4-65 0,7 0-17 0,8 4-65 15,3 2-20-15,11 5-58 0,2-1-79 0,9-4-239 16,4 2-32-16</inkml:trace>
  <inkml:trace contextRef="#ctx0" brushRef="#br0" timeOffset="62772.06">10229 7918 74 0,'-22'-8'168'0,"-5"-4"-35"0,-6 2-19 0,-7-3-15 16,-3 0-10-16,-4 0-13 0,-3 2-11 0,-4 2 10 16,-1 0-20-16,0 1-7 0,0 2-2 0,-2 2 2 15,-4 4-9-15,1 1-7 0,-12 4-4 16,-1 5-2-16,-1 2-4 0,-4 3 4 0,2 6-4 0,-3 3-1 15,4 2 23-15,-2 5-3 0,1 3-2 0,5 3-4 16,-10 11-8-16,16-3-29 0,-6 11 40 0,16-4-40 16,-9 14 32-16,15-9-9 0,2 3-6 0,6 4 0 15,4 1-3-15,2 1 0 0,5 0-2 0,3 0-25 16,7 1 32-16,3-1-29 0,3 1 29 0,8 2-29 0,2-3 47 16,1 3-5-16,7 0-5 0,1-2 7 15,5 2-5-15,6-2-34 0,0-1 36 0,6 0-32 0,5 1 12 16,2-2 7-16,4 1 23 0,6-1-33 15,2-2 36-15,11 11-30 0,-3-15 31 0,-1-1-29 0,15 6 21 16,-7-11-24-16,2-3 47 0,-1-1-31 0,6-3-2 16,-2-3 4-16,2-2-1 0,2-3 2 0,3-2-3 15,3-3-3-15,2-2-2 0,5-5 0 0,1-2-1 16,7-5 9-16,1-2-14 0,2-4-4 0,2 0-4 16,3-8-1-16,4 0-3 0,0-3 1 0,2-3 0 15,1-2-21-15,0-2 37 0,-3-2-30 0,1-4 32 16,-1-2 0-16,18-4-6 0,-3-3-1 0,-6-3-3 15,-16 3-2-15,15-10 8 0,-5 1-15 0,-4-6 13 16,-5-1-23-16,-14 2 17 0,11-8-24 0,-4-1 22 16,-14 3-25-16,6-9 3 0,-12 5 10 0,9-12 4 15,-2 0-23-15,-6-4 48 0,0-3 9 0,-4-2-2 16,-2-5 12-16,-1-3 6 0,-3-3 2 0,2-1-6 16,-5-2 4-16,0 0-26 0,-1 1 25 0,-2 0-1 0,-12 12-7 15,-1-3 3-15,-1-2-14 0,-5 1 13 0,-4-1-20 16,-4-2 3-16,-8 1-5 0,-5-1 1 15,-10-2-11-15,-5 0-14 0,-11-1 9 0,-10-2-12 16,-12-15 8-16,-12 2-13 0,-11 2 10 0,-10 5-17 0,-12 6 20 16,-11 4 2-16,-10 4-11 0,-11 7-41 0,-13 4-35 15,-15 7-55-15,-10 7-108 0,-15 7-103 16,-18 7-406-16,-61 1-263 0</inkml:trace>
  <inkml:trace contextRef="#ctx0" brushRef="#br0" timeOffset="68565.89">12647 15500 309 0,'-7'-7'273'16,"2"0"-50"-16,3 1-21 0,-2 1-24 0,4 5-48 15,-7-7-39-15,7 7-30 0,-5-6-15 0,5 6-12 16,0 0 3-16,0 0 37 0,-4 8-11 0,4-1-16 16,0 3 15-16,2 2-2 0,-2 1-5 0,1 4-3 15,-1 2 8-15,0 1 32 0,0 0-15 0,0 1-9 16,-1 3-13-16,1 1 10 0,-2-4 2 0,1 2-10 15,1-3-4-15,-2 1 1 0,0-2 8 0,1 0-20 16,1-2-4-16,-1-2 7 0,0 0 2 0,-1-3-22 16,2-1 16-16,-1 0 8 0,0-3 24 15,-1-1 1-15,2-7 2 0,-1 10-29 0,1-10-8 0,0 0-14 16,0 0-52-16,5-8 4 0,-2-2-39 0,1-3 1 16,2-3-23-16,0-5-18 0,2-5-9 0,1-3 7 15,1-1-1-15,-1-1 19 0,0 0 15 0,1 2 11 16,-1 1 13-16,-1 6 5 0,-2 0 10 0,3 4 15 15,-5 2-2-15,1 3-7 0,-1 2 3 0,-1 4 7 16,1 2-2-16,-4 5 12 0,0 0 62 0,0 0-12 0,5 5-9 16,-5-5-10-16,3 11-1 0,-1-2-7 0,0 0 36 15,2-1-7-15,0 2-8 0,1-2 15 0,4 2 13 16,1-1-16-16,2 0 2 0,3-2-1 16,0-1-11-16,4-1 6 0,2-1-8 0,1-3-4 0,1-1-15 15,2-1 2-15,2-4 1 0,-1-1-6 0,3-4 0 16,1-1-5-16,-2-2 3 0,-2-1-5 0,1-2-1 15,-4 0-1-15,-1 1 6 0,-3 2-12 0,-1 2 12 16,-5 2-12-16,-2-1 14 0,2 3-18 0,-4 0 1 16,-1 2-8-16,-1 1 14 0,-7 4-13 0,0 0 12 15,11 2-6-15,-11-2-1 0,1 11 0 0,-2-2 1 16,-1 0 1-16,1 2 7 0,-2 1-15 0,2 1 9 16,0 1 6-16,1 2-5 0,0-1 2 0,1 2 2 15,-1-1-8-15,4 1 4 0,0-2 0 0,1 2-25 16,0-2-31-16,5-1-43 0,-1 2-3 0,0-3-12 0,3-2-36 15,-1 0 5-15,0-2-1 0,1 1-2 16,1-4 6-16,2 0 22 0,-4-1 18 0,0-3 26 16,2 1 13-16,-3-3 15 0,4 0 6 0,-4-2 14 0,1 1 13 15,1-3 24-15,-1 1 16 0,0-2 25 0,2-1-24 16,-2 0 28-16,2-2-7 0,1 1 6 0,-2-2-1 16,0 1 17-16,0-2-13 0,2 1 4 15,-4-1-25-15,2-1 15 0,-1 1-27 0,-1 1 9 0,0-2-4 16,0 2-6-16,-3-1-2 0,0 1 1 0,-1 1 10 15,-2 1 20-15,2-2-13 0,-2 1-12 0,-1 1-7 16,-1-1-5-16,-2 1-1 0,2 1-1 0,-2 6-7 16,-2-10-5-16,2 10 1 0,-9-7-4 0,9 7-6 15,-12 0 5-15,3 3 2 0,0 2 0 0,-5 1 1 16,2 3 17-16,-3 2 23 0,2 1-4 0,-2 1 0 16,3 2-15-16,1-1 5 0,2 0-1 0,1 0-4 15,2-1 13-15,2 1 21 0,1-1-4 0,2-1-8 16,1 0-3-16,1 0 25 0,4-3 2 15,3 2-15-15,5-4-2 0,1 0-10 0,1-1-6 0,3-2-7 16,1-1-10-16,1-1 5 0,0-2-4 0,-1-3 1 16,-2 1-3-16,0-4-4 0,0 0-2 0,-2-2-2 15,0-3-6-15,-3-1 13 0,-3-1-6 0,-4-2-1 16,-2 0-1-16,0 1-1 0,-6-1-9 0,-1-1 5 0,0 3-1 16,-5-1 0-16,-1 3 0 0,-4 0 2 15,0 3-3-15,1 0 5 0,-2 2-6 0,1 2 16 16,1 0-16-16,-1 3-25 0,2 1-22 0,0 2-12 15,1 1-40-15,2 0-15 0,1 2-25 0,1 0 0 16,2 1-17-16,4 0-1 0,1-6 3 0,0 11-5 16,1-7 3-16,4 1 10 0,2 0 12 0,0-1 19 15,2-2 20-15,3 0 20 0,-1-1 13 0,1 1 13 0,2-4 11 16,-3 1 39-16,1-1 27 0,-1 1 46 0,2-2 23 16,-4 2 36-16,-9 1-36 0,19-3-14 0,-19 3-41 15,17-1 31-15,-17 1 24 0,15 5 0 0,-6-1-35 16,1 2 48-16,-1 0 10 0,0 0-18 0,1 2-9 15,-1 1-14-15,-1-2-25 0,1 0 2 0,1 0 23 16,-2-1-9-16,0 1-6 0,-2-2-20 0,3 1 10 16,-3-1 36-16,-6-5 38 0,11 7 50 0,-11-7 42 15,6 5 2-15,-6-5-43 0,11-1-35 0,-11 1-30 16,11-6-19-16,-5 1-21 0,0-3-16 0,-2 1-10 16,1-4-10-16,-1-2-8 0,1 1-16 0,-1-3-33 15,1 1-45-15,0-2-27 0,0 1-2 0,1 1-53 16,-1 0-22-16,0 2-42 0,2 0-22 0,0 1-16 15,-1 3 9-15,3-1 10 0,1 2 9 0,-2 4 8 16,1-1 26-16,1 1 21 0,2 1 31 0,-2 2 26 16,4-1 6-16,-3 1 34 0,1 1 10 0,1 0 11 15,-3 0 8-15,3 0 12 0,-4 1 14 0,0 0 30 16,0 1 17-16,1-1 12 0,-10-2 3 0,13 5 0 0,-7-2 28 16,2 2 38-16,-2 0 35 0,-1 1-19 15,0 3-8-15,1-2-1 0,0 2-7 0,-1 2-15 0,-1 1 12 16,1 1-20-16,-1 0-18 0,0 2-14 0,-2-1-10 15,2 0-14-15,2 1-5 0,-3-1 0 0,1 1-2 16,-2-3-2-16,1 1-5 0,-1-2 0 16,2 0-7-16,-2-2-32 0,-1 0-17 0,0-2 6 0,-1-7 3 15,3 11-20-15,-3-11-69 0,0 0-20 0,0 0-35 16,0 0-34-16,0 0-18 0,-7-5 10 0,2-4 12 16,3-1 37-16,-4-5 31 0,2-1 26 0,1-2 25 15,-5-2 32-15,4-3 70 0,-1 1 29 0,0-1 23 16,0-1 28-16,0-1 14 0,-1 2 8 0,0-1-7 15,1 2-15-15,1 1-1 0,0 3-36 0,1 1 6 16,-1 2-28-16,0 1 8 0,2 2-35 0,0 2-63 16,1 3-19-16,0 1 33 0,1 6-47 0,2-7 9 15,-2 7-19-15,0 0-3 0,0 0 15 0,17 2 15 16,-10 3 11-16,3 1 10 0,0 0 8 0,-1 3 0 16,1 0 8-16,1 0 7 0,1 1 0 0,-2 0 2 15,3 1 1-15,-3-2 21 0,5 1 26 0,-3 0 10 16,-1-1 16-16,3 0 3 0,-1-2-6 0,1 0 20 0,-1-1 8 15,2-1 35-15,-4-1-44 0,0-3 15 16,2 0-12-16,0-2 19 0,-2-2-15 0,3-1-17 0,-2-3-8 16,0 2-14-16,0-5-4 0,-3 0-4 0,1-1-10 15,-2 0 1-15,0 0-1 0,-5 2 17 0,1 0-23 16,1 0 5-16,-5 1-18 0,0 8 11 0,-6-10-20 16,6 10 15-16,-13-4-7 0,13 4 20 0,-18 4 27 15,8 1-7-15,1 2-6 0,-2 2 37 16,0 4 4-16,4-2-32 0,0 3 2 0,0 0-6 0,4 1 11 15,2-2 21-15,2 4 5 0,3-3-4 0,2 2-14 16,5-2-7-16,0 1-1 0,4-1-5 16,2-2-7-16,2-2-7 0,1-1-2 0,1-3-4 0,2-1-3 15,-1-1-1-15,-3-3-5 0,0-1 2 0,1-4-8 16,-3 1 2-16,4-6-1 0,-6 0-1 0,2-5-6 16,-5 0 3-16,1-3-3 0,-4-1 13 0,-2 0-18 15,-2 3 9-15,0-2-15 0,-3 1 13 0,-2 3-10 16,3 1 11-16,-3 0-16 0,1 2 8 0,-1 2-17 15,0 8 14-15,-1-11-12 0,1 11 13 0,0 0-10 16,0 0 13-16,-13 3-12 0,11 3 1 0,-1 2 1 16,-1 3 4-16,2 1-2 0,-2 1 4 0,1 1-1 0,-1 2 4 15,-1 1-1-15,1-1 4 0,-1 0 1 0,-1 2 0 16,-2 0 1-16,-2-1 2 0,1 0-4 16,-1 0-76-16,-2-3-25 0,2 2-21 0,0-5-53 0,-2 0-49 15,2 2-65-15,1-3-48 0,-1 0-400 0,4-4-238 16</inkml:trace>
  <inkml:trace contextRef="#ctx0" brushRef="#br0" timeOffset="68803.96">15419 15369 111 0,'7'-8'489'0,"1"3"-170"0,-8 5 21 16,0 0-51-16,0 0-38 0,0 0-35 0,-4 11-17 16,-4-2-32-16,1 5-44 0,-3-2-26 0,-1 5-21 15,1 1-10-15,-1 1-13 0,-1-1-7 0,1 1-7 0,2 0-11 16,-3-1-31-16,2 0-39 0,1-1-64 0,-1-2-78 16,0-2-79-16,-1-2-116 0,1-2-227 15,-1-2-119-15</inkml:trace>
  <inkml:trace contextRef="#ctx0" brushRef="#br0" timeOffset="68956.96">15161 15459 182 0,'0'-7'612'0,"0"7"-158"0,1-9-104 15,-1 9-76-15,1-9-35 0,-1 9-20 0,0 0-14 16,10-2-51-16,-10 2-7 0,12 5-25 0,-3 1-10 16,2-1-34-16,2 4-11 0,3 2-15 0,3 1-20 15,2 1-56-15,2 4-41 0,-2-1-74 0,2 0-93 16,-3 2-98-16,-1 0-127 0,0-1-190 0,-3-1-157 15</inkml:trace>
  <inkml:trace contextRef="#ctx0" brushRef="#br0" timeOffset="69193.55">14593 16059 384 0,'-23'7'518'16,"8"-4"-56"-16,-1 2-78 0,6-4-70 0,10-1-79 15,0 0-44-15,0 0-24 0,8-6 2 0,10 0-22 16,6 0 2-16,13-1-42 0,8-2 6 0,5 0-37 0,2-2-21 16,3 2-20-16,0-1-21 0,-2 2-48 0,0-1-60 15,-2 1-58-15,-4 0-104 0,-10 4-111 16,-1-1-459-16,-9 3-364 0</inkml:trace>
  <inkml:trace contextRef="#ctx0" brushRef="#br0" timeOffset="69391.55">14878 16198 43 0,'-22'9'628'0,"6"1"-75"0,2-3-128 16,3-2-60-16,11-5-68 0,-5 4-27 0,5-4-6 15,0 0-31-15,23-2 13 0,-2 0-37 0,6-3-14 16,7 0-33-16,11-2-26 0,0 0-21 0,3-1-31 15,-2-1-14-15,3 2-17 0,-3-2-48 0,0 2-11 16,-5-1-37-16,-7 2-50 0,-1 0-55 0,-4 1-47 0,-5 0-26 16,-1 0-59-16,-5 3-71 0,0 0-59 15,-7-1-59-15,0 2-207 0,-11 1-184 0</inkml:trace>
  <inkml:trace contextRef="#ctx0" brushRef="#br0" timeOffset="73393.71">13226 14761 56 0,'0'0'363'0,"5"-5"-66"0,-5 5-50 15,2-5-33-15,-2 5-46 0,4-6-43 0,-4 6-15 16,0 0-7-16,3-8-8 0,-3 8 0 0,0 0-11 15,1-8-28-15,-1 8 17 0,0 0-28 0,1-9 11 16,-1 9-33-16,-1-7 22 0,1 7-24 0,-1-8 23 16,1 8-27-16,-3-5 8 0,3 5-25 0,-4-7 1 15,4 7-8-15,-10-7 24 0,4 5-18 0,-3 0 10 16,-4 0-19-16,-1 1 22 0,0 0-23 0,-5 1 22 0,0 1-22 16,-1-1 24-16,0 3-19 0,-2-1 14 15,0 0-18-15,-3 3 20 0,1 0-20 0,-2 1 21 16,-2 3-10-16,0 0 3 0,-2 2-17 0,2 1 21 0,0 2-22 15,-5 3 24-15,5 1-4 0,-2 1 1 16,2 0-14-16,0 3-6 0,1-1-5 0,6-1-37 16,0 0-6-16,1 2-10 0,1 0-21 0,1 0-20 15,0 1-27-15,2-2-10 0,1 1-25 0,2 0-48 0,2-4-186 16,1 0 133-16</inkml:trace>
  <inkml:trace contextRef="#ctx0" brushRef="#br0" timeOffset="74161.72">14180 14507 60 0,'-14'-7'300'0,"3"4"-29"0,-1-1-83 16,3 1-5-16,1-1-65 0,8 4 3 0,-13-5-64 15,13 5 18-15,-7-2-45 0,7 2 25 0,0 0-36 16,19 1 34-16,-3 0-21 0,9 1 32 0,7 5-36 16,12-2 25-16,8 1-39 0,15 4 34 0,5 1-35 15,6 1 24-15,7 0-31 0,0 1 27 0,6 1-39 16,0 2 31-16,3 0-2 0,18 3-6 16,1 0 5-16,-2 2-11 0,-17-5 3 0,16 5 0 0,-20-3-4 0,1-1 6 15,-1-1-5-15,0 1 2 0,-2 0-2 0,2-2 2 16,-1 1 5-16,0-1-2 0,-2-1 3 15,-2-1-5-15,1-1-1 0,-3-1 0 0,-3-2-5 16,2 0-5-16,-1-3 1 0,-1 0-6 0,2-3-2 0,-3 0 4 16,-1-3 0-16,-1-1-5 0,-1-1 0 15,-1-2 1-15,-3-2-1 0,-1-1 2 0,-4-3-6 0,1-1 4 16,-4-1-5-16,-1-1 2 0,-2-3-2 0,-1 1 8 16,-4-3-4-16,-7 2 2 0,-4-2 1 0,-1-1-21 15,-4-2 26-15,-3-3-25 0,-1 2 30 0,-4-4-27 16,-4-1 32-16,-4-3-23 0,-1-1 30 0,-6-4-29 15,-3-2 26-15,-6-4 0 0,-6-2 8 0,-6-4 0 16,-5-5 3-16,-7-8-25 0,-9-2 22 0,-4-2-24 16,-7 1 21-16,-5-1-19 0,-16-11 1 0,-6 3-44 15,-6 2 2-15,-9-1-50 0,-4 1 4 0,-8 2-22 16,-7 1-19-16,-2 0 0 0,-3 4-58 0,-8 1-10 16,-4 6-186-16,-7 4 166 0</inkml:trace>
  <inkml:trace contextRef="#ctx0" brushRef="#br0" timeOffset="75256.11">9208 14593 119 0,'-3'-13'223'0,"-2"1"-23"0,-3-2-39 0,1 0-42 15,-5 1-18-15,-3-3-14 0,-2 2-15 0,-3-3-12 16,-3 2-13-16,0 0-3 0,-4 1-1 0,-1-2-7 16,-4 0-2-16,1 4-8 0,-5-2-5 0,-2 0 5 15,0 0-8-15,-2 3 0 0,-1 2-3 0,-2-1-4 16,-1 2 1-16,-2 2-3 0,0 2-5 0,3 3 0 15,-6 0 0-15,-1 1-12 0,2 2-4 0,-1 3 4 0,-2 1 2 16,4 3 1-16,-3-1 2 0,3 2 3 16,-2 0-2-16,3 6-1 0,-1-3 5 0,1 1-2 15,0 1-31-15,2 2 38 0,0 1-26 0,0 1 26 0,2 0 1 16,1 0-5-16,3 4 6 0,-2 0-2 0,1 0-1 16,0 2-12-16,-4 6 7 0,-2 1-2 0,3 1 1 15,0 0-8-15,2 1 4 0,2 1 4 0,-1 1 13 16,2 1 2-16,3 2 3 0,-1 0-8 0,2 2 1 15,1-2 4-15,4 5 21 0,4-6-7 0,2 1-7 16,0 1-8-16,3 1-3 0,5 3 0 0,0 0-10 16,2 0 7-16,3 1 6 0,3 0 8 0,1 0-13 15,5 0 12-15,1 0-15 0,3 0 11 0,2 1-12 16,2 0 5-16,5-2 2 0,1 3 6 0,4 6-10 16,1 1-8-16,5 0 9 0,3-2-9 0,1 1 18 15,4 1-19-15,3-1 20 0,2-1-12 0,1-2 13 16,4 2-15-16,3-3 22 0,5-1-16 0,0-1 15 15,5-3-21-15,2 1 18 0,7-4-2 0,1-2-27 16,6-3 28-16,3-2-16 0,4-6 29 0,3-1-21 0,5-4 38 16,6-4-33-16,5-3 31 0,22-2-33 15,6-5 34-15,3-2-19 0,-17-5 32 0,26-3-8 0,2-3-16 16,1-2-2-16,1-1-3 0,0-4-5 0,1-2-20 16,-4-4 14-16,3-1-11 0,-3-4-15 0,0-1-8 15,-5-7-2-15,-7-3-11 0,-3-6 6 0,-8-5-32 16,-5-6 32-16,-11-6-24 0,-7-6 29 0,-7-5 3 15,-11-4 16-15,-10-4-22 0,-12-6 4 0,-12-4 13 16,-17 8-14-16,-12-6-1 0,-12-5-23 0,-12 1-65 16,-18-19 21-16,-16 3-49 0,-19 2-15 0,-21 2-79 15,-21-1-293-15,-44-18-16 0</inkml:trace>
</inkml:ink>
</file>

<file path=ppt/ink/ink6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5:32.02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9 1 2572 0 0,'-4'21'10573'0'0,"0"-14"-9473"0"0,18-10-2816 0 0,2-3-3248 0 0</inkml:trace>
</inkml:ink>
</file>

<file path=ppt/ink/ink6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5:33.36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6 131 200 0 0,'0'-3'2149'0'0,"-1"-4"-1462"0"0,1 1 0 0 0,1 0 0 0 0,-1 0 1 0 0,1-1-1 0 0,0 1 0 0 0,1 0 0 0 0,-1 0 0 0 0,1 0 0 0 0,0 0 0 0 0,1 0 1 0 0,0 1-1 0 0,0-1 0 0 0,7-9 0 0 0,-9 12-591 0 0,1 0 0 0 0,0 1-1 0 0,0 0 1 0 0,1-1 0 0 0,-1 1 0 0 0,0 0-1 0 0,1 0 1 0 0,0 0 0 0 0,-1 0 0 0 0,1 1-1 0 0,0-1 1 0 0,0 1 0 0 0,0 0 0 0 0,0-1-1 0 0,0 1 1 0 0,0 1 0 0 0,0-1 0 0 0,0 0-1 0 0,0 1 1 0 0,0-1 0 0 0,1 1 0 0 0,-1 0-1 0 0,0 0 1 0 0,0 1 0 0 0,0-1 0 0 0,1 1-1 0 0,-1-1 1 0 0,0 1 0 0 0,0 0 0 0 0,5 2-1 0 0,-5-2-33 0 0,0 1 0 0 0,1-1 0 0 0,-1 1 0 0 0,0 0 0 0 0,0 0 1 0 0,0 0-1 0 0,0 0 0 0 0,0 1 0 0 0,0-1 0 0 0,-1 1 0 0 0,1 0 0 0 0,-1-1 0 0 0,0 1 0 0 0,0 0 0 0 0,0 1 0 0 0,0-1 0 0 0,0 0 0 0 0,1 5 0 0 0,-1-2-5 0 0,-1-1 1 0 0,0 1-1 0 0,-1-1 1 0 0,1 1-1 0 0,-1-1 0 0 0,0 1 1 0 0,0-1-1 0 0,-1 1 1 0 0,0-1-1 0 0,0 1 1 0 0,-2 5-1 0 0,-3 6 42 0 0,0 0 0 0 0,-1 0 1 0 0,-1 0-1 0 0,-1-1 0 0 0,-1-1 0 0 0,-14 20 1 0 0,-3-2 246 0 0,-60 58 0 0 0,86-90-327 0 0,0 1 0 0 0,0-1 0 0 0,0 0 0 0 0,0 0 0 0 0,0 0 1 0 0,0 1-1 0 0,1-1 0 0 0,-1 0 0 0 0,0 1 0 0 0,1-1 0 0 0,-1 0 0 0 0,1 1 1 0 0,-1-1-1 0 0,1 1 0 0 0,0-1 0 0 0,0 1 0 0 0,0-1 0 0 0,0 1 1 0 0,0-1-1 0 0,0 1 0 0 0,0-1 0 0 0,0 1 0 0 0,1 2 0 0 0,1 3 89 0 0,0-1 0 0 0,1 0 0 0 0,0 1 0 0 0,3 5 0 0 0,2 3 54 0 0,52 99 45 0 0,-51-98-1383 0 0,-1 3-2929 0 0</inkml:trace>
</inkml:ink>
</file>

<file path=ppt/ink/ink6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5:33.75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 0 1848 0 0,'-4'24'14113'0'0,"4"-18"-13735"0"0</inkml:trace>
</inkml:ink>
</file>

<file path=ppt/ink/ink6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5:34.46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34 93 892 0 0,'-13'-19'2348'0'0,"3"3"-678"0"0,0 1 1 0 0,-13-14 0 0 0,21 28-1606 0 0,0-1-1 0 0,0 1 1 0 0,0 0-1 0 0,1 0 1 0 0,-1-1-1 0 0,0 1 1 0 0,0 1-1 0 0,0-1 1 0 0,-1 0-1 0 0,1 0 1 0 0,0 1-1 0 0,0-1 1 0 0,0 1-1 0 0,0 0 1 0 0,-1 0-1 0 0,1 0 1 0 0,0 0-1 0 0,0 0 1 0 0,-1 0-1 0 0,1 0 1 0 0,0 1-1 0 0,-4 1 1 0 0,-2 0 137 0 0,-1 1-1 0 0,1 0 1 0 0,-15 8 0 0 0,0 3 33 0 0,0 1 0 0 0,2 0 0 0 0,0 2 0 0 0,1 0 0 0 0,0 2 0 0 0,2 0 0 0 0,0 1 0 0 0,1 1 0 0 0,2 0 0 0 0,-17 29 1 0 0,7-6 69 0 0,2 2 0 0 0,2 1 0 0 0,3 0 0 0 0,-19 70 0 0 0,29-85-171 0 0,1 1-1 0 0,2 0 1 0 0,1 1-1 0 0,2-1 1 0 0,3 53-1 0 0,0-66-25 0 0,2 1-1 0 0,0-1 1 0 0,1 0-1 0 0,1 0 0 0 0,1 0 1 0 0,0-1-1 0 0,2 0 1 0 0,0 0-1 0 0,2-1 0 0 0,14 23 1 0 0,-13-26-56 0 0,1 0 1 0 0,1-1-1 0 0,0 0 1 0 0,1-1-1 0 0,0-1 1 0 0,1 0-1 0 0,1-1 1 0 0,0 0-1 0 0,0-1 1 0 0,1-1-1 0 0,0-1 1 0 0,1 0-1 0 0,0-2 1 0 0,0 0-1 0 0,0 0 1 0 0,1-2-1 0 0,31 4 1 0 0,-36-7-11 0 0,1-1-1 0 0,0 0 1 0 0,0-1 0 0 0,0 0 0 0 0,0-1 0 0 0,0-1 0 0 0,-1 0 0 0 0,1-1 0 0 0,-1-1 0 0 0,0 0 0 0 0,0-1 0 0 0,14-8 0 0 0,-10 4-25 0 0,-1-1 0 0 0,0-1 0 0 0,0 0 0 0 0,-1-1 0 0 0,-1-1 0 0 0,0 0 0 0 0,-1-1 0 0 0,14-20 0 0 0,-18 20 51 0 0,-1 0 0 0 0,-1 0 0 0 0,0-1 1 0 0,-1 0-1 0 0,-1 0 0 0 0,0-1 0 0 0,3-19 0 0 0,-3 6 107 0 0,-1-1 0 0 0,-2 0 0 0 0,0-37 0 0 0,-4 44-61 0 0,0 0 0 0 0,-2 0 0 0 0,-1 0 0 0 0,-1 0 0 0 0,-1 1 0 0 0,0 0 0 0 0,-2 0 0 0 0,-1 0 0 0 0,-20-36 0 0 0,19 42-180 0 0,-1 1 0 0 0,0 0 1 0 0,-1 0-1 0 0,0 1 1 0 0,-2 0-1 0 0,0 2 0 0 0,0-1 1 0 0,-1 2-1 0 0,-1 0 1 0 0,0 0-1 0 0,-1 2 0 0 0,-25-13 1 0 0,27 17-602 0 0,0 1 1 0 0,-1 0 0 0 0,1 1-1 0 0,-25-2 1 0 0,-29 0-6773 0 0,41 6 802 0 0</inkml:trace>
</inkml:ink>
</file>

<file path=ppt/ink/ink6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6:14.50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5 341 600 0 0,'-10'-4'2242'0'0,"0"-1"0"0"0,-19-11 0 0 0,24 13-1513 0 0,3 2-65 0 0,-24-9 1759 0 0,24 9-1912 0 0,5 2-447 0 0,-1-1 0 0 0,1 1 1 0 0,-1-1-1 0 0,1 0 0 0 0,0 0 0 0 0,-1 0 0 0 0,1 0 1 0 0,4-1-1 0 0,6 0 85 0 0,1296 25 1573 0 0,-1096-21-1532 0 0,370-40 0 0 0,-506 26 265 0 0,-74 11-384 0 0,-2-1-61 0 0,-1 0 0 0 0,1 1 0 0 0,-1-1 0 0 0,1 0 0 0 0,-1 1 0 0 0,1-1 0 0 0,-1 0 0 0 0,1 0 0 0 0,-1 1 0 0 0,1-1 1 0 0,-1 0-1 0 0,0 0 0 0 0,0 0 0 0 0,1-1 0 0 0,-8-8-11 0 0,0 0 1 0 0,-1 0 0 0 0,0 1 0 0 0,-1 0-1 0 0,-16-13 1 0 0,11 11-7 0 0,2-1 1 0 0,-15-17-1 0 0,15 14 13 0 0,2 1 0 0 0,-10-18 0 0 0,17 27-21 0 0,0-1 0 0 0,1 0 0 0 0,0 0 0 0 0,0 1 0 0 0,0-1 0 0 0,1-1 0 0 0,0 1 0 0 0,0 0 0 0 0,0-9 0 0 0,1 14 12 0 0,0 0 0 0 0,0 1-1 0 0,0-1 1 0 0,0 0 0 0 0,1 1-1 0 0,-1-1 1 0 0,0 0 0 0 0,0 1-1 0 0,1-1 1 0 0,-1 1 0 0 0,0-1-1 0 0,1 0 1 0 0,-1 1 0 0 0,1-1-1 0 0,-1 1 1 0 0,1-1 0 0 0,-1 1-1 0 0,1-1 1 0 0,-1 1 0 0 0,1 0-1 0 0,-1-1 1 0 0,1 1 0 0 0,0-1-1 0 0,-1 1 1 0 0,1 0 0 0 0,-1 0-1 0 0,1-1 1 0 0,0 1 0 0 0,-1 0-1 0 0,1 0 1 0 0,0 0 0 0 0,0 0-1 0 0,-1 0 1 0 0,1 0 0 0 0,0 0-1 0 0,-1 0 1 0 0,1 0 0 0 0,0 0 0 0 0,-1 0-1 0 0,1 0 1 0 0,0 0 0 0 0,-1 1-1 0 0,1-1 1 0 0,0 0 0 0 0,0 1-1 0 0,28 11-61 0 0,-23-8 61 0 0,0 1-1 0 0,0 0 1 0 0,0 1 0 0 0,-1 0 0 0 0,0-1 0 0 0,0 2 0 0 0,0-1 0 0 0,-1 0 0 0 0,0 1 0 0 0,0 0 0 0 0,0 0 0 0 0,-1 0-1 0 0,0 1 1 0 0,-1-1 0 0 0,0 1 0 0 0,0-1 0 0 0,0 1 0 0 0,-1 0 0 0 0,0-1 0 0 0,-1 1 0 0 0,0 8 0 0 0,0-4 24 0 0,-1-1 1 0 0,-1 1-1 0 0,0-1 1 0 0,0 1-1 0 0,-1-1 1 0 0,-1 0-1 0 0,0 0 1 0 0,0 0-1 0 0,-1-1 1 0 0,0 1-1 0 0,-1-1 1 0 0,0 0 0 0 0,-11 13-1 0 0,-1-4-241 0 0,-21 20 0 0 0,-2-7-4229 0 0</inkml:trace>
</inkml:ink>
</file>

<file path=ppt/ink/ink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4:40.11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18 416 0 0,'26'-10'1336'0'0,"-1"-1"1"0"0,0-2-1 0 0,37-23 1 0 0,20-11 1949 0 0,-85 47-3277 0 0,1 1 26 0 0,0-1 0 0 0,-1 1 1 0 0,1-1-1 0 0,0 1 0 0 0,0 0 0 0 0,0-1 1 0 0,0 1-1 0 0,0 0 0 0 0,0 1 0 0 0,1-1 1 0 0,-1 0-1 0 0,0 0 0 0 0,0 1 1 0 0,1-1-1 0 0,-1 1 0 0 0,1 0 0 0 0,0-1 1 0 0,-1 1-1 0 0,1 0 0 0 0,0 0 0 0 0,0 0 1 0 0,0 0-1 0 0,-2 4 0 0 0,2-3 64 0 0,0-1-41 0 0,0 1 1 0 0,0-1-1 0 0,0 0 1 0 0,0 0-1 0 0,0 1 1 0 0,1-1-1 0 0,-1 0 1 0 0,1 1-1 0 0,0-1 1 0 0,0 1-1 0 0,0-1 1 0 0,0 1-1 0 0,0-1 1 0 0,0 0 0 0 0,0 1-1 0 0,1-1 1 0 0,-1 0-1 0 0,1 1 1 0 0,0-1-1 0 0,0 0 1 0 0,0 0-1 0 0,0 1 1 0 0,2 2-1 0 0,0 0 80 0 0,1 0 0 0 0,0 1-1 0 0,0-1 1 0 0,0-1-1 0 0,1 1 1 0 0,-1-1 0 0 0,7 5-1 0 0,-5-5-78 0 0,1 0-1 0 0,0 0 1 0 0,0-1-1 0 0,1 0 1 0 0,-1 0-1 0 0,0-1 1 0 0,1 1-1 0 0,0-2 0 0 0,-1 1 1 0 0,1-1-1 0 0,0 0 1 0 0,0-1-1 0 0,0 0 1 0 0,0 0-1 0 0,14-3 1 0 0,-14 2-44 0 0,-1-1 0 0 0,1 0 0 0 0,0 0 0 0 0,-1 0 0 0 0,1-1 0 0 0,-1 0 0 0 0,0-1 0 0 0,0 1 0 0 0,0-1 1 0 0,-1-1-1 0 0,1 1 0 0 0,-1-1 0 0 0,0-1 0 0 0,0 1 0 0 0,9-12 0 0 0,-14 16-16 0 0,1-1 0 0 0,-1 1 0 0 0,0-1 0 0 0,0 1 0 0 0,0-1 1 0 0,-1 1-1 0 0,1-1 0 0 0,0 0 0 0 0,0 1 0 0 0,-1-1 0 0 0,1 0 0 0 0,-1 1 0 0 0,0-1 1 0 0,1 0-1 0 0,-1 0 0 0 0,0 0 0 0 0,0 1 0 0 0,0-1 0 0 0,0 0 0 0 0,0 0 0 0 0,-1 0 0 0 0,1 1 1 0 0,-1-1-1 0 0,1 0 0 0 0,-1 1 0 0 0,1-1 0 0 0,-1 0 0 0 0,0 1 0 0 0,0-1 0 0 0,0 1 0 0 0,-1-2 1 0 0,-1 0-6 0 0,1 1 1 0 0,-1-1 0 0 0,0 1-1 0 0,0 0 1 0 0,0 1 0 0 0,0-1-1 0 0,0 0 1 0 0,-1 1 0 0 0,1 0-1 0 0,0-1 1 0 0,-1 1 0 0 0,1 1 0 0 0,-1-1-1 0 0,-7 0 1 0 0,-2 0-8 0 0,-1 2-1 0 0,1-1 1 0 0,-1 2 0 0 0,1-1-1 0 0,0 2 1 0 0,0 0 0 0 0,-1 1-1 0 0,2 0 1 0 0,-1 0 0 0 0,0 2-1 0 0,-14 8 1 0 0,19-10 13 0 0,1 1 0 0 0,-1 0 0 0 0,1 1 0 0 0,1 0 0 0 0,-1 0 0 0 0,1 0-1 0 0,0 1 1 0 0,-6 8 0 0 0,9-10-1 0 0,0 0-1 0 0,0 0 1 0 0,1 0-1 0 0,-1 0 1 0 0,1 1-1 0 0,0-1 1 0 0,1 1-1 0 0,-1-1 1 0 0,1 1-1 0 0,0 0 1 0 0,1 0 0 0 0,-1 0-1 0 0,2 7 1 0 0,0-6 7 0 0,0 0 1 0 0,1 1 0 0 0,0-1-1 0 0,0 0 1 0 0,0 0 0 0 0,1 0 0 0 0,1 0-1 0 0,-1-1 1 0 0,1 1 0 0 0,0-1-1 0 0,0 0 1 0 0,1 0 0 0 0,0 0 0 0 0,0-1-1 0 0,0 0 1 0 0,8 6 0 0 0,0 0-320 0 0,0-1 0 0 0,1-1 1 0 0,0 0-1 0 0,1-1 1 0 0,0 0-1 0 0,20 6 0 0 0,-21-9-693 0 0,0-1-1 0 0,0-1 1 0 0,1-1-1 0 0,-1 0 1 0 0,25 0-1 0 0,-10-3-1870 0 0</inkml:trace>
</inkml:ink>
</file>

<file path=ppt/ink/ink6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6:15.49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5 524 0 0,'31'-33'6836'0'0,"-30"31"-6295"0"0,0 2-470 0 0,0 0 0 0 0,-1 0 1 0 0,1 0-1 0 0,0 0 0 0 0,-1 0 0 0 0,1 0 1 0 0,-1 1-1 0 0,1-1 0 0 0,0 0 0 0 0,-1 0 1 0 0,1 0-1 0 0,-1 0 0 0 0,1 1 1 0 0,-1-1-1 0 0,1 0 0 0 0,-1 1 0 0 0,1-1 1 0 0,-1 0-1 0 0,1 1 0 0 0,-1-1 1 0 0,1 1-1 0 0,-1-1 0 0 0,0 1 0 0 0,1-1 1 0 0,-1 1-1 0 0,1-1 0 0 0,-1 2 0 0 0,10 11 636 0 0,-3-1-137 0 0,-1 0 0 0 0,-1 1 0 0 0,0 0 0 0 0,6 26 0 0 0,4 57 781 0 0,-13-81-1182 0 0,17 294 1732 0 0,-19-178-4256 0 0,-1-49-1996 0 0,7-111-3413 0 0</inkml:trace>
</inkml:ink>
</file>

<file path=ppt/ink/ink6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7:46:15.82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52 62 640 0 0,'0'-2'131'0'0,"-3"-4"589"0"0,0-1-1 0 0,0 0 0 0 0,0 1 0 0 0,-8-10 0 0 0,10 14-561 0 0,0 1 0 0 0,-1-1 0 0 0,1 1 0 0 0,-1 0 1 0 0,1-1-1 0 0,-1 1 0 0 0,0 0 0 0 0,1 0 0 0 0,-1 0 0 0 0,0 1 1 0 0,0-1-1 0 0,0 0 0 0 0,0 1 0 0 0,1-1 0 0 0,-1 1 0 0 0,0-1 1 0 0,0 1-1 0 0,0 0 0 0 0,-4 0 0 0 0,4 0-20 0 0,-1 1 0 0 0,0 0 0 0 0,0-1 0 0 0,0 1 0 0 0,1 0 0 0 0,-1 1 0 0 0,0-1 0 0 0,1 0 0 0 0,-1 1-1 0 0,1-1 1 0 0,-1 1 0 0 0,1 0 0 0 0,-4 4 0 0 0,1-1 108 0 0,-1 0-1 0 0,1 1 0 0 0,-7 11 0 0 0,9-12-123 0 0,0 0 1 0 0,0 1-1 0 0,1-1 0 0 0,-1 1 0 0 0,1 0 0 0 0,1 0 0 0 0,-1 0 0 0 0,1 0 0 0 0,0 0 0 0 0,0 0 0 0 0,1 0 1 0 0,0 0-1 0 0,1 7 0 0 0,0-4-5 0 0,0-1-1 0 0,1 0 1 0 0,0 1 0 0 0,1-1 0 0 0,0 0 0 0 0,0 0 0 0 0,1 0-1 0 0,7 11 1 0 0,-3-6 75 0 0,1-2-1 0 0,0 1 1 0 0,1-2-1 0 0,0 1 1 0 0,0-1-1 0 0,1-1 1 0 0,1 0-1 0 0,-1 0 1 0 0,1-1 0 0 0,24 12-1 0 0,12-5 820 0 0,-46-14-983 0 0,-1 0 0 0 0,1-1-1 0 0,0 0 1 0 0,-1 1-1 0 0,1-1 1 0 0,0 0-1 0 0,0 0 1 0 0,-1 0-1 0 0,1 0 1 0 0,0 0-1 0 0,-1-1 1 0 0,1 1-1 0 0,0 0 1 0 0,2-2-1 0 0,1 1 39 0 0,1 0-6 0 0,-1-1 0 0 0,1 1-1 0 0,-1-1 1 0 0,0 0 0 0 0,1-1 0 0 0,-1 1-1 0 0,-1-1 1 0 0,1 0 0 0 0,0 0-1 0 0,-1-1 1 0 0,1 1 0 0 0,-1-1 0 0 0,0 0-1 0 0,0 0 1 0 0,-1 0 0 0 0,1-1-1 0 0,-1 1 1 0 0,0-1 0 0 0,4-7 0 0 0,3-9-49 0 0,-1 0 0 0 0,0 0 0 0 0,6-30 0 0 0,-12 41-48 0 0,9-37-4866 0 0</inkml:trace>
</inkml:ink>
</file>

<file path=ppt/ink/ink632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767" units="cm"/>
          <inkml:channel name="Y" type="integer" max="32767" units="cm"/>
          <inkml:channel name="F" type="integer" max="8191" units="dev"/>
          <inkml:channel name="T" type="integer" max="2.14748E9" units="dev"/>
        </inkml:traceFormat>
        <inkml:channelProperties>
          <inkml:channelProperty channel="X" name="resolution" value="1290.03943" units="1/cm"/>
          <inkml:channelProperty channel="Y" name="resolution" value="2064.71338" units="1/cm"/>
          <inkml:channelProperty channel="F" name="resolution" value="0" units="1/dev"/>
          <inkml:channelProperty channel="T" name="resolution" value="1" units="1/dev"/>
        </inkml:channelProperties>
      </inkml:inkSource>
      <inkml:timestamp xml:id="ts0" timeString="2021-12-11T13:23:13.868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9367 7931 154 0,'-2'-10'221'0,"2"10"-53"0,-3-8 14 16,3 8-20-16,0-10-22 0,0 10-21 0,-2-10-20 16,2 10 4-16,0-11-36 0,0 11 16 0,0-10-23 15,0 10 31-15,-2-12-42 0,2 12 13 0,-2-11-33 16,-2 6 15-16,4 5-34 0,-9-8 25 0,3 2-33 16,-1 1 34-16,-2 1-20 0,-1 2 23 15,1-2-31-15,-1 2 26 0,-3 0-32 0,-1 1 19 0,0-1-16 16,-1 2 25-16,-2 0-28 0,-1 2 24 0,-1-1-9 15,0 0-5-15,-3 2-1 0,-1 1-1 0,0-1-2 16,1 2-6-16,-2 3 3 0,1-3 1 0,0 3-3 16,1 0-2-16,-2 1 3 0,0 3 4 0,-3-1-8 15,3 1-1-15,1 3 3 0,-2-2-1 0,1 2 1 16,2-1 2-16,2 1 0 0,2 0-5 0,0-2 3 16,1 2-22-16,1 0 30 0,2 1-30 0,1-1 32 15,-1 2-27-15,1-1 27 0,3 1-26 0,0-2 31 0,1 2-31 16,-1 0 33-16,1 1-19 0,1-1-9 15,1-2 7-15,0 0-4 0,3 0 1 0,-1 1 1 16,0 1 4-16,1-2 26 0,0 2-23 16,2-1 15-16,-1-1-23 0,2 1 25 0,-2 0-32 0,2 1 28 15,0-2-27-15,1 0 42 0,0 1 37 0,1 1 3 0,-1-1-31 16,5-1 3-16,-2 1-21 0,-1 0 12 0,2 0-20 16,1-1 8-16,-1 0-15 0,1 1 11 15,3 0-18-15,-3-1 12 0,0-1-15 0,1 1 15 0,1-1-12 16,2 0 13-16,0 0-15 0,0 1 17 15,2 0 23-15,2 1 4 0,-2-4-6 0,3 2-13 0,1-1 0 16,0 2-4-16,-1-5-4 0,1 2-6 0,1 1 3 16,0-3-5-16,2 0 4 0,-1-2-6 0,1 3 5 15,1-3-3-15,1 0 4 0,-2 0-13 0,3-1 8 16,0 1-8-16,-1-4 10 0,1 1-4 0,2 1 0 16,-1-2-6-16,-2-2 4 0,5 2 1 0,-4-3-1 15,0 1 3-15,0-1-1 0,1-1-5 0,0 1 9 16,2-1-11-16,-1-1 1 0,0 1 4 0,4-1-6 0,-1 0 3 15,-2 0-2-15,3-2-2 0,-2 1-6 16,1 1 13-16,-3-1-5 0,3-1 8 0,-1-1-9 16,-1 1 8-16,0-1-7 0,0 2 6 0,1-3-3 0,-2 0 4 15,3 0-9-15,-2 2 9 0,-1-2-7 0,0-2 5 16,3 2 2-16,-4-1-1 0,2-1-5 16,0 1 7-16,-1 0 6 0,-2-2 32 0,0 1-22 15,2 1 7-15,-4-1-19 0,2 0 13 0,-2-2-15 0,-3 2 7 16,0 1-16-16,-1-2 14 0,-1 1-13 15,-1-3 17-15,1 2-19 0,0-2 10 0,-1 1-9 0,-3-2 12 16,2 0-7-16,-1-1 35 0,-2-1-18 0,0 0 7 16,1-2-3-16,-1 1-7 0,-2-2-2 0,-1 0-4 15,0 1 0-15,-2-2-4 0,1 0-4 0,-1 1 0 16,-1-2 1-16,-1 1-4 0,1 0 2 0,-2 0 33 16,-1 0-6-16,0 1-8 0,0 0 0 0,-1 0-6 15,-2 0-5-15,2 1-3 0,-2-1 1 0,1 2-19 16,-1-2 17-16,-1 2-18 0,0 0 17 0,2-1-18 15,-3 2 17-15,1-2-14 0,-1 1 15 0,1 1-15 16,0-2 17-16,-1 1-22 0,1 1 17 0,-3 0-12 16,0-2 18-16,0 2-17 0,-1 0 18 0,-1 1-21 15,3-2 20-15,-2 4-26 0,-1-1 26 0,-1 2-20 0,1-1 19 16,-1 2-16-16,-2 0 20 0,3 2-21 16,-1 0 13-16,-1 3-47 0,0-2-18 0,-4 3-27 15,3 0-49-15,-1 2-15 0,0 1-72 0,-3 2-11 16,1-1-49-16,1 3-115 0,-1 1-147 0,0 0-56 15</inkml:trace>
  <inkml:trace contextRef="#ctx0" brushRef="#br0" timeOffset="1017.09">9622 8493 244 0,'0'0'365'15,"0"0"-95"-15,-12 0-4 0,12 0-92 0,0 0-12 16,0 0-60-16,0 0 3 0,4-4-34 0,-4 4 8 16,18-5-25-16,-5 3 20 0,4-1-31 0,3 1 24 15,4-2-29-15,5 1 28 0,6-2-24 0,2 1-2 16,4 0 11-16,6 0-8 0,5-1-3 0,3 2-7 15,4-1-3-15,4 0-3 0,10 0-5 0,2 0-1 16,2 1-8-16,2 0 5 0,-2 0-7 0,2 1 1 16,-2-1-5-16,2 2 1 0,0-2 5 0,-1 2-4 15,3-2 7-15,-1 1-14 0,2-1 8 0,-3 1-1 16,2-1 4-16,-2 0 2 0,0-1-18 0,0 1 44 16,1 1-40-16,0-2 40 0,-1 0-36 0,2-1 49 0,-1 1-38 15,-3 0 34-15,2 0 5 0,-6 0-27 0,0 0 22 16,-10 1-37-16,-1 0 27 0,2-1-2 0,-5 1-13 15,2 0-3-15,1 1-5 0,-1-1 2 0,-1 0-7 16,3 0 1-16,-5 1-3 0,3 0-6 0,-3-2 1 16,1 2 3-16,-1-2-3 0,-2 1-4 0,-1 1 2 15,-3 0 2-15,1-2-5 0,-2 2 0 0,0 0 0 16,1-1 3-16,-3 0 1 0,-2 2-2 0,-5 0-3 16,2 0-1-16,-3-1 3 0,7-1-1 0,-6 1 1 15,-2 1 3-15,1-2-3 0,-3 2 2 0,1 0-15 16,-5-2 13-16,-3 1 1 0,-2 0 1 0,-1-2-1 15,-1 1 1-15,-1 0-1 0,-2-1-3 0,0 1 5 16,-3-3-5-16,-1 2 4 0,-3-1-5 0,3-2 7 16,-2 1-7-16,-4 0 5 0,3 1-14 0,-3-2 15 15,0 0-16-15,-1 1 19 0,-2-2-20 0,0 1 18 16,1-1-13-16,-2 0 15 0,2-1-17 0,-3 0 15 16,0 2-12-16,0-2 13 0,-2 2-17 0,0-1 16 15,-1-1-17-15,0 3 36 0,1-2-3 0,-2 3 17 0,-1-1-21 16,1 0 13-16,-5 6-19 0,6-8 11 15,-6 8-26-15,8-7 14 0,-8 7-25 0,0 0 18 16,6-5-19-16,-6 5 27 0,0 0-23 0,7 9 20 0,-6-3-14 16,3 2 19-16,-3 2 9 0,3-1 12 0,0 2 1 15,-2 2-11-15,1-2-3 0,-2 1-1 0,2 4-3 16,-1-2-2-16,-2-1-2 0,2 1-10 0,-2-1-4 16,-2 1 21-16,2-1-18 0,-4 2 15 0,2-2-2 15,-3 1 2-15,-3-1-5 0,2 0 0 0,-3-2 0 16,-5 2-28-16,0-1-23 0,0-3-44 0,-2 0-43 15,-2-1-87-15,3-3-73 0,-3 1-92 0,0-2-434 16,-1-1-343-16</inkml:trace>
  <inkml:trace contextRef="#ctx0" brushRef="#br0" timeOffset="1793.29">15245 7741 137 0,'0'-10'443'0,"1"2"-125"0,0-1-70 0,3 1-16 16,0 0-34-16,0 0-43 0,2 3-38 0,-1-2-25 15,2 4-19-15,1-1-14 0,-8 4-3 16,16-1 14-16,-6 2-10 0,-1 3-12 0,1 2 4 0,-2 1-26 15,1 3 11-15,1 0-19 0,-5 4 5 0,0 0-9 16,-2 0 12-16,0 3-14 0,-3 0 11 16,-2 1-13-16,-2-1 11 0,1-1-11 0,-4 3 13 0,-3-1 28 15,1-2-2-15,-1 0 5 0,-2 0-23 0,1-1 15 16,-1 0 13-16,1-3 2 0,-1-2-17 0,1 3 17 16,3-4-22-16,-1 0 7 0,0-2-19 0,3 0 10 15,0 0-22-15,0-2 11 0,3 0-18 0,-3 0 15 16,4-1-19-16,2-4 16 0,-5 9-17 0,5-9 18 15,0 9-23-15,0-9 20 0,5 10-15 0,0-3-44 16,0-1-52-16,2 3-64 0,-1-1-12 0,3 2-80 16,-1 0 22-16,-1 2-16 0,-3 2 38 0,2-1-1 15,-2 2 41-15,-1 1 29 0,-2-1 47 0,-1 1 44 16,-3 0 54-16,0 1 30 0,-2-1 9 0,0 1 30 16,-2-1 22-16,1-2 48 0,-1 0-14 0,0-1 0 0,0-1-15 15,2-2-22-15,1 0-9 0,-1-1-15 16,1-1-13-16,-2 0-12 0,2-2-8 0,2 1-10 15,-1-2 3-15,-1 0-9 0,4-5 0 0,-2 11-2 0,2-11-36 16,-3 7-42-16,3-7-51 0,3 6-66 16,-3-6-66-16,6 4-418 0,-6-4-164 0</inkml:trace>
  <inkml:trace contextRef="#ctx0" brushRef="#br0" timeOffset="2140.67">15535 7783 87 0,'15'-11'366'15,"-3"3"-133"-15,2-2-17 0,-1 3-62 0,1 1-1 16,0 1-63-16,-4 2 13 0,4 2-45 0,-4 4 35 15,2 1-39-15,-6 2 15 0,2 1-6 0,-4 4 19 16,-2 0-35-16,0 1 17 0,-2 4-35 0,-2 0 20 16,-3 2-35-16,1-1 31 0,-1 3-23 0,-1 0 25 15,-2 0-32-15,0 0 22 0,1-1-31 0,0 0 25 16,-2 0-30-16,3-1 21 0,-2 2-23 0,3-5 20 16,-2 1-22-16,3-3 26 0,-1 1-28 0,1 1 24 15,1-4-26-15,1-1 33 0,-1 1-33 0,2-1 32 0,-2 1-27 16,3-1 8-16,1-1 4 0,1 0-63 15,-1-1-95-15,2-1-50 0,-1 2-105 0,-2-2-214 0,3-1-16 16</inkml:trace>
  <inkml:trace contextRef="#ctx0" brushRef="#br0" timeOffset="2314.67">15306 8459 388 0,'-16'8'451'15,"0"-2"-49"-15,5 0-57 0,-1-2-31 0,2 1-46 16,1-1-46-16,0 0-43 0,9-4-29 0,-13 4-24 15,13-4-22-15,-9 4-21 0,9-4-16 0,0 0-8 16,0 0-14-16,4 6-8 0,-4-6-11 0,12 1-48 16,-12-1-51-16,17 0-64 0,-17 0-89 0,22-2-45 0,-9 0-183 15,3-2-204-15,0 0-166 0</inkml:trace>
  <inkml:trace contextRef="#ctx0" brushRef="#br0" timeOffset="3155.8">15977 7542 50 0,'-1'-18'347'0,"-1"1"-85"0,1 0-33 0,-1-1-44 15,-2 0-20-15,0 0-25 0,-1-3-9 16,-1 2-2-16,-2 0-26 0,-2 0-16 0,-1 1-17 16,0 1-3-16,-4 0-12 0,-3-1-12 0,-3 3-8 15,-3-1-11-15,-3 3 0 0,-1 1-4 0,-4 2-8 0,-2 3-2 16,-2 0-2-16,-1 3 0 0,-5 3-5 0,2 1 3 16,-1 3-3-16,-7 1-3 0,1 4 3 15,0 0-3-15,1 4 1 0,0 1-7 0,3 3 5 0,-2 2 2 16,4 1-25-16,0 1 26 0,2 5-23 15,2-3 30-15,1 3-22 0,1 3 24 0,5 1-20 16,0 1 29-16,2 2-17 0,1 0 31 0,3 3-18 0,5 3 18 16,-2-1-21-16,6 1 16 0,1 0-24 0,1 1 20 15,3 0-24-15,5-6 25 0,1 2-25 0,3 0 22 16,2-2 4-16,2 1 17 0,3-1-21 0,1 0-1 16,5 3 14-16,0-1-11 0,3-2 4 0,-1 0-3 15,5-2 0-15,0 0-1 0,2-2 2 0,2 0-1 16,0-2-4-16,1 0 0 0,-1-3-3 0,5-1-4 15,-2-2 1-15,-2-1-1 0,0-3-2 0,7 1 0 16,-3-3-2-16,-1-2-3 0,1-1-3 0,3 0 4 16,-2-2 4-16,3 0-9 0,-1-3-1 0,1 0 1 15,-2-2-2-15,0-3 1 0,-1 0-4 0,-2 0 7 16,4-2 5-16,-2-2 6 0,-1 0 20 0,3 0-2 0,1-3-8 16,0-2-2-16,0 0-5 0,-3-6 17 0,2 2-9 15,-3-3-2-15,4-2-4 0,-3-5-4 16,2 0-23-16,-2-3 10 0,-2-2 14 0,0 1 31 15,-4 0 11-15,1-1 22 0,-2-1-18 0,-2-2-24 0,-2 0 7 16,0-2-20-16,-5 4 54 0,0-3 0 16,-2-4-9-16,-2 3 16 0,-2-2-6 0,-1-3-16 0,-4 0-12 15,1-1 22-15,-3 0 0 0,-3-7-21 0,0 1-7 16,-5 1-12-16,-1 2-5 0,0-1-9 0,-5 0-7 16,1 3-11-16,-3 1 7 0,-2 1-12 15,-1 2 7-15,-3 0-14 0,0 3 14 0,-1 2-13 0,-2 1 3 16,-2 3-51-16,0 3 9 0,1-2-42 0,-2 9-36 15,1 1-28-15,-1 1-19 0,0 4-40 0,-3 0-57 16,5 6-41-16,-2 2-68 0,0 1-85 0,-2 3-269 16,-1 3-235-16</inkml:trace>
  <inkml:trace contextRef="#ctx0" brushRef="#br0" timeOffset="6742.38">21175 7018 400 0,'-13'0'341'0,"13"0"-87"0,0 0-7 16,-13-1-63-16,13 1-7 0,0 0-57 16,0 0 0-16,-14 0-46 0,14 0 7 0,0 0-47 0,0 0 15 15,0 0-33-15,0 0 19 0,10 3-22 0,-10-3 14 16,14 3-32-16,-2-1 25 0,1 2-26 0,2 0 30 16,4-1-27-16,2 3 17 0,3 0 8 0,5 2-6 15,5-1-1-15,3 0 7 0,5 0-1 0,0 3-3 16,5-2-6-16,-2 2 6 0,2-2-7 0,-1 2-1 15,3-2-4-15,-1 1-20 0,-3-1 24 16,4 1-19-16,-3 0 25 0,2-1-24 0,2 2 27 0,0-2-11 16,2 2 18-16,-2-2-14 0,3 2 8 0,-1-2-9 15,-1 3 12-15,0-3-5 0,0 2-2 0,-1 0-14 16,1 0 14-16,-3-1-16 0,1 1 12 0,1-1-12 16,-4 1 13-16,1-1-13 0,0 1 17 0,0 1 1 15,0-2 5-15,-1 0-11 0,0 0 6 0,0 1-10 16,3 0 7-16,1-2 8 0,-1 0-4 0,3 1 0 15,-1-1-6-15,2-1 3 0,1 2-2 0,2-2 3 0,-1 0-5 16,3 2 10-16,-1-2 1 0,11 3-5 16,-12-3-5-16,4 1 0 0,-2-1-1 0,-2 0-5 0,3 1-1 15,-2-2 4-15,1 1-4 0,-1-1-6 16,-2 0 10-16,-1-2 1 0,0 3-36 0,1-3 31 0,-2 1 4 16,0 2-4-16,2-3 0 0,-2 0-2 0,2 0 2 15,0 2 0-15,0-2 3 0,0 0-12 16,1-2 1-16,2 3 2 0,-1-2-1 0,-2 0 2 15,2-1 1-15,-3 1 5 0,0-1 6 0,-3 0 1 16,2 0-5-16,-4-1 1 0,0 0-7 0,2 2 3 0,-2-2-3 16,-6-1 0-16,7 2-2 0,-1-1 2 0,0 1 1 15,1-1 3-15,0 1 4 0,4-1-7 0,-4 0-7 16,2 2 11-16,2-1 7 0,-4 0 0 16,3 1-3-16,-2-2-3 0,3 2 6 0,-3-1-2 0,3-1-1 15,-1 2-5-15,1-2-19 0,1 0 21 16,0 0-12-16,1 1 10 0,-1-2 0 0,2 0-3 15,-1 0 2-15,1-2-1 0,-2 2 2 0,1-2 2 0,1 1 11 16,-2-1-2-16,2 0 0 0,-1 1-4 0,3-1-2 16,1-1-5-16,-2 1-3 0,4-1 1 15,1 1 0-15,0 1-2 0,1-2 3 0,-1 2-2 16,1 0 12-16,0-1 1 0,-1 0-5 0,1 0-7 0,-3 0 2 16,3-1-1-16,-1-1-1 0,9 1 2 0,-10-1-6 15,-2 0 2-15,0-3-2 0,-1 2 3 16,-3-2-2-16,0-2 0 0,-1 0-17 0,-1-3 24 0,-4 1-17 15,0 0 27-15,-1-4-23 0,-4 1 22 0,-1-3-23 16,0 0 19-16,-1-2-21 0,-3 0 18 0,-1-2-16 16,0 0-1-16,-3-1 1 0,0 0-1 0,0-3 5 15,-3 0-7-15,-1 0 6 0,-2-3-2 0,1 1 4 16,-3-2-3-16,0 0 17 0,-1-1-21 0,-2 0 19 16,-1 0-20-16,-1 0 12 0,-4 2-12 15,0-4 19-15,0 1-19 0,-3 1 13 0,0-1-13 0,-2 3 12 16,-3-2-13-16,1 1-1 0,-3-1 2 15,0 0 3-15,0-1-3 0,-2-1 2 0,0 0 1 0,-3 0-1 16,4-1 3-16,-5-1 2 0,3 0 1 16,-2 1-1-16,-1 0 1 0,0-1-2 0,-2-1 12 0,1 2-10 15,-2-2 12-15,0 3-14 0,-2-2 9 0,0 2-12 16,-1 0 11-16,-1-1-17 0,-2-1 4 0,-2 2 2 16,-1 0 0-16,0-4-3 0,-2 1-2 0,-5-1 5 15,4 1-1-15,-4 0 1 0,0 1 4 16,-3 1-6-16,-2 2 5 0,2-3 0 0,-3 3 0 0,-1 0-2 15,-2 0-1-15,0 0-10 0,-3 4-1 16,1-1-1-16,-1 2 8 0,-2 0-4 0,0 0 10 0,-2 3-9 16,2 1 9-16,0 1-8 0,-2 2 1 0,2 1-10 15,0 3 13-15,3 0-13 0,-1 3 10 0,-1 0-5 16,-2-1 3-16,-1 3-9 0,0-1-16 16,-6 2 3-16,-2-2 1 0,6 2 4 0,-2 4 6 15,0-2 4-15,-1-2 0 0,1 3 7 0,-6-3-1 16,5 4 0-16,0-1-3 0,-6 0 4 0,3 1 2 0,2-1 3 15,-1 2-3-15,-7-1 0 0,2-1 1 0,-4 2-4 16,2 0 5-16,-1-1 1 0,-3 0-16 16,2 2-1-16,-2-2 3 0,-1 3 2 0,-2-2-3 15,3 0 13-15,-3 1-6 0,0-1 1 0,-2 2 6 16,4-1 1-16,-1-2 2 0,-2 3-9 0,2 0-3 0,-2-2 18 16,-1 2 0-16,0 0 0 0,0-2-3 0,0 1-5 15,0 0 2-15,-1 0-2 0,3 0 10 16,-4 1-9-16,5-2-9 0,-3 0 4 0,1 1 5 15,2-1 0-15,-1 2-3 0,0-2 3 0,-1 0-1 16,3 1-4-16,-3 0 9 0,-1 0-7 0,2-1-11 16,-1 1 7-16,-1 0-3 0,-1-1 6 0,0 1-1 0,-1 1-3 15,2-2-4-15,2 0 9 0,-2-1-4 0,0 3-4 16,2-3 0-16,-2 3 0 0,3-2-7 16,0-1 4-16,0 2-14 0,1 1 19 0,0-2-12 15,3 1 18-15,-3 0-33 0,3 0 38 0,-3 1-17 16,0 0 26-16,4 1-29 0,-2-2 24 0,0 2-21 0,6 0 19 15,2 1-11-15,-1-2 17 0,-1 2-8 0,-1-1-14 16,1 1 17-16,1-1-17 0,-2 1 23 16,-2 0-20-16,4 0 19 0,-3-1-21 0,3 1 21 15,-3 0-12-15,3 0 12 0,-1 1-13 0,-1-1 13 16,1 0-12-16,-1 0 15 0,2 1-17 0,1-1 16 0,-1 0-14 16,4 1 14-16,-1-1-15 0,0 2 16 0,-1-2-17 15,2 0 10-15,1 0-16 0,-2 1 18 0,1-1-15 16,1 0 11-16,0 1-13 0,0-1 15 15,0 1-18-15,4-1 20 0,-4 0-18 0,1 2 19 0,2-2-11 16,-1 1 12-16,3 0-16 0,1 0 16 16,-1 0-15-16,0-1 16 0,-2 3-11 0,2-1 10 0,0-1-18 15,2 0 15-15,0 0-6 0,-1-1 7 0,2 3-10 16,-1-2 12-16,1 1-9 0,-1 0 5 0,2-1-7 16,0 1 8-16,-1 0-13 0,-1 0 14 0,1 0-13 15,2 1 11-15,-1-2-12 0,-1 2 17 0,-1-2-11 16,2 1 7-16,1 0-8 0,-2 0 8 0,-1 1-8 15,1-2 11-15,1 2-9 0,-3-2 11 0,1 2-19 16,0-1 19-16,-2 0-11 0,-2 1 11 0,3-2-9 16,-3 2 10-16,4-2-10 0,-2 2-10 0,2-1 22 15,-2-1-2-15,2 1-12 0,-2-1 8 0,0 0-9 0,2 1 11 16,-3-1-13-16,1 0 12 0,0 0-8 16,1 0 8-16,-1 0-9 0,1 0 8 0,1 1-6 15,-1-2 10-15,2 1-12 0,-1-1 11 0,3 2-12 16,-1-2 11-16,-1 0-15 0,1 0 18 0,0 1-8 0,0-1 9 15,1 0-14-15,0 1 11 0,3-1-12 16,2 1 11-16,0-1-10 0,-1 1 14 0,4-1-30 0,0 1 26 16,-3 1-5-16,4-1 7 0,-2 0 0 0,2 0-2 15,0 0-1-15,-1-1-3 0,5 3 3 0,-3-2-2 16,0-1 0-16,0 1-2 0,0 1-2 16,-1-1 0-16,1 0 2 0,-2 0 3 0,0 1-5 0,1 0 3 15,-2-1-5-15,1 0 4 0,3 0-3 0,-3 0 0 16,4 2-1-16,-2-1 0 0,-1 1 0 0,3-2 1 15,1 1-10-15,1 1 13 0,0-1 0 0,2 0-7 16,-1 1 4-16,2 0 1 0,-1 0-1 0,2-1 3 16,1 2 0-16,0-1 1 0,-2 2-3 0,5-1-3 15,-1 1 1-15,-1-1-3 0,3 3-1 0,-3-2 0 16,2 4 6-16,1-1 0 0,-1 3-21 0,1 2 30 16,0 2-4-16,1 3 1 0,-3 2 3 0,2 4-2 15,-1 1-4-15,1 6 6 0,0 3 1 0,-2 7-9 16,-3 1 12-16,3 4 9 0,-1 0-4 0,-2 3 7 0,-3 10 1 15,-1 3-3-15,-3 2 39 0,2 3-28 16,-5 1 34-16,1 1 21 0,-1 0 1 0,-1-1-16 16,3-3 20-16,-1-3-33 0,3-3 0 0,2-8-12 15,3-5 16-15,2-2 10 0,-1-2-16 0,5-8-5 16,3 0 9-16,4-1 22 0,4-2-10 0,4-4 3 0,10 3-26 16,4-3 8-16,10-4-25 0,6-1 9 15,14-1-23-15,4-2 6 0,2-4-91 0,6-1-113 0,3-4-121 16,0-3-564-16,6-3-414 0</inkml:trace>
</inkml:ink>
</file>

<file path=ppt/ink/ink633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767" units="cm"/>
          <inkml:channel name="Y" type="integer" max="32767" units="cm"/>
          <inkml:channel name="F" type="integer" max="8191" units="dev"/>
          <inkml:channel name="T" type="integer" max="2.14748E9" units="dev"/>
        </inkml:traceFormat>
        <inkml:channelProperties>
          <inkml:channelProperty channel="X" name="resolution" value="1290.03943" units="1/cm"/>
          <inkml:channelProperty channel="Y" name="resolution" value="2064.71338" units="1/cm"/>
          <inkml:channelProperty channel="F" name="resolution" value="0" units="1/dev"/>
          <inkml:channelProperty channel="T" name="resolution" value="1" units="1/dev"/>
        </inkml:channelProperties>
      </inkml:inkSource>
      <inkml:timestamp xml:id="ts0" timeString="2021-12-11T13:24:20.959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23746 9885 253 0,'0'0'208'0,"0"0"-33"15,0 0-24-15,0 0-10 0,0 0-15 0,0 0-10 16,3-7-23-16,-3 7-19 0,0 0-12 0,0 0-17 15,0 0-8-15,0 0-6 0,0 0-8 0,0 0-2 0,-3-6-7 16,3 6-8-16,0 0 7 0,0 0-6 16,-10-1-4-16,10 1-1 0,0 0-1 0,-17-2 3 15,17 2-3-15,-16 0-1 0,16 0 3 0,-21-1-5 16,21 1 0-16,-20 0-2 0,20 0 0 0,-21 0 2 0,10 0-3 16,-1 1-3-16,2 1 2 0,-3 0-1 15,2 1-5-15,-3 2 1 0,1 0 2 0,-2 3 0 16,2 1 13-16,-1 3 40 0,-2 1-7 0,4 3 24 0,-1 2-14 15,1 1 21-15,3 3-40 0,-1 3 24 0,4-3-30 16,1 3 19-16,1-1-32 0,1 2 25 0,3-1-29 16,1 1 27-16,1-1-29 0,0 1 19 15,2 0-23-15,0 0 31 0,1-2-28 0,0 1 31 0,3-2-28 16,-2 0-23-16,-1-2-57 0,3-1-48 0,-3 1-25 16,3-3-48-16,-2-4-289 0,1 1 24 15</inkml:trace>
  <inkml:trace contextRef="#ctx0" brushRef="#br0" timeOffset="661.59">23571 9975 141 0,'11'-7'192'0,"1"1"-54"16,1 1-13-16,1 0-17 0,1 0-21 16,3 1-3-16,6 0-1 0,1 0-16 0,0 2-15 0,3 0-9 15,2-1-9-15,2 3-3 0,0 0 0 0,6 0-3 16,0 1-8-16,1 2-3 0,-1-1-2 0,3 1-3 0,-3 0 1 16,1 0 7-16,-2 0-8 0,2 1-3 0,-2-1-2 15,-1 1 2-15,1-1-6 0,-1 1 3 0,1 0 0 16,-4 0 0-16,3 0-4 0,-3 0-2 0,2-2 1 15,-2 2 31-15,-4-1-42 0,2 0 38 0,-3-1-37 16,2 0 32-16,-2-1-35 0,-3 2 35 0,3 0-28 16,-3-2 30-16,-5 1-31 0,-1 0 28 0,-1 0-34 15,1 0 37-15,-1-1-24 0,-1 1 37 0,-1 1-40 16,-3 1 33-16,1-1-30 0,0 1 28 0,-2-1-36 16,-1 1 28-16,0 1-28 0,-2 1 27 0,1 0-30 15,-3-1 41-15,2 3-37 0,-2 0 34 0,3 2-38 16,-2-1 33-16,-1 2-11 0,0 2 41 0,0 1-26 15,0 0 18-15,-1 2 0 0,1 2 18 0,1 1-37 16,-3 0 20-16,3 1-21 0,-3 1 32 0,2 1 10 16,0-1 4-16,-2 2-29 0,2 1-10 0,-2-1 22 15,0 1-3-15,0 0-9 0,2 1-3 0,-2-2-38 16,0 2 47-16,-1-1-50 0,0 0 26 0,-2-1-1 0,1 1-1 16,-1-1-6-16,-2-3-2 0,0 1-5 15,-1-2 3-15,-2 0 1 0,1-1 0 0,-3-1 30 16,0 0 2-16,-3-1 5 0,-2 0-9 0,-2-2-1 15,-1 1-12-15,-6-5-1 0,0 0-4 0,-3-2 0 16,-7 1-2-16,-3-4 0 0,-4-3-2 0,-2 2-1 16,-4-4-1-16,-9-4-3 0,-4 0 4 0,0-1 2 15,-3-4-3-15,-10-1 0 0,-1-1-5 16,3 0 1-16,10 1-5 0,3 2-9 0,1-2-12 0,1 4 27 16,5-3-24-16,1 2 19 0,11-1-41 0,2 1 6 15,2 2-51-15,2-1-11 0,6 1-69 0,3 2-6 16,0 1-57-16,2 0-22 0,2 0-51 0,4 1-313 15,-1 0-120-15</inkml:trace>
  <inkml:trace contextRef="#ctx0" brushRef="#br0" timeOffset="1877.92">27304 6621 132 0,'0'0'294'0,"0"0"-66"15,-9-4-38-15,9 4-35 0,0 0-28 0,0 0-24 16,0 0-23-16,0 0-9 0,0 0 16 0,0 0-13 15,0 0-3-15,13-1 12 0,-3 2-7 0,2 0-16 16,4 1 3-16,6-1 1 0,2 2-4 0,3-2-5 16,5 1-12-16,6 0 14 0,3 2-18 0,7-1 6 15,0 0-2-15,4 1-12 0,0-1-2 0,1 1-16 16,0-1 9-16,0 1 7 0,1 0-18 16,-3 0 6-16,1 0-7 0,-2 1 3 0,0-1 1 0,-2-1 1 15,-8 0-7-15,-3 0-6 0,-1-1 7 0,-4 1 3 16,-4-2 12-16,-1 1-6 0,-4-2 32 0,-2 2 13 15,-2-1-7-15,-3-1 17 0,-3 1-4 0,1-1 11 16,-2 1-19-16,-12-1 10 0,20 0-26 0,-20 0 6 16,17 0-26-16,-17 0 12 0,13 0-26 0,-13 0 13 15,0 0-19-15,12-2 14 0,-12 2-31 0,0 0-23 16,0 0-32-16,-7-3-49 0,7 3-40 0,-13 0-33 0,13 0-63 16,-18 3-57-16,5-1-95 0,0 0-150 0,-2 0-68 15</inkml:trace>
  <inkml:trace contextRef="#ctx0" brushRef="#br0" timeOffset="3784.45">25943 4546 68 0,'3'-8'248'0,"-3"8"-70"0,3-8-40 16,-3 8-23-16,2-7-3 0,-2 7-18 0,1-9-8 15,-1 9 17-15,1-9-12 0,-1 9-4 0,0-9-17 16,0 9-18-16,0-10-9 0,0 10-18 0,0-10 1 15,0 10-11-15,-2-11 2 0,2 11-10 0,-3-9 9 16,3 9-12-16,-6-9 3 0,6 9-2 0,-9-11 1 16,2 6-9-16,-2 1 12 0,-3 0-11 0,-1-2 12 15,-4 0-11-15,1 2 5 0,-2-1-8 0,-4 0 6 16,0-1-6-16,1 2 9 0,-4-2-7 0,1 1 6 16,0 2-4-16,-2-1 3 0,-1-1-6 0,0 2 4 15,1-1-6-15,-1 0 11 0,-1 2-14 0,3 0 13 16,-3-1-9-16,3 1 6 0,-1 0-7 0,5 1 7 15,-1 1-6-15,0-2 7 0,0 2-11 0,1 0 12 0,1 0-6 16,-1 0 5-16,0 2-10 0,3-1 11 16,-2 0-9-16,2 1 7 0,-1 2-9 0,2-2 10 15,1 0-6-15,-2 2 6 0,4-1-7 0,-3 0 8 16,4 2-5-16,0-2 2 0,-2 2-7 0,3 0 8 0,1 0-2 16,1 0 4-16,0-1-3 0,0 1 1 0,-1 1 0 15,3-1 0-15,0 2-4 0,1-1 4 16,-2 0-2-16,3 2 0 0,-2 0 2 0,1 1-2 15,0 0 0-15,1 0-2 0,-1 1 0 0,0 1 0 0,2 0-1 16,-2 2-1-16,2-1-1 0,0 1-2 0,-1 1 2 16,1 0-1-16,-2 1 3 0,3 1-3 0,-2 2 4 15,1-2 1-15,-3 4-3 0,4-1-4 16,-2 1 14-16,-1 0-6 0,2 0 18 0,-2 1-9 0,2-1 41 16,-2 2-13-16,1-2 4 0,1 1-13 15,-3 0-4-15,4 0-1 0,-2-1-6 0,1 0-2 0,-1 2 1 16,1-2-6-16,-1 2-3 0,1-1 8 0,0 0-5 15,0 1 0-15,0-2-26 0,-2 0 31 0,2 1-26 16,1-1 32-16,2-2-36 0,-1 1 34 0,-1-1-36 16,-1 0 35-16,3 0-33 0,-1 0 34 0,-2 0-27 15,3-1 23-15,-1 1 2 0,0-1-7 0,-1 0 2 16,3-2-4-16,-1 1 4 0,-1-2-6 0,0 2-1 16,2-3-2-16,-1-1-1 0,0 0-1 0,2 0 0 15,-3-1 3-15,1 0-2 0,1-2 3 0,0 1-4 16,1-2 2-16,-1 1-1 0,-1-3 0 0,2 1-2 15,0-7 0-15,0 11-1 0,0-11 2 0,-2 11 1 16,2-11-4-16,0 7 3 0,0-7 1 0,-3 7 1 16,3-7-4-16,0 0 3 0,0 10 0 0,0-10 1 15,0 0 1-15,0 6 22 0,0-6 34 0,0 0-2 16,3 8 1-16,-3-8-11 0,0 0-7 0,6 6-10 16,-6-6-3-16,9 5-6 0,-9-5-9 0,10 4 1 15,-3 0-3-15,-1 0 3 0,4-1-8 0,-1 1-2 0,0 1 0 16,1 1-3-16,1-1 1 0,0 0 1 0,2 3 0 15,-3-2-2-15,5 1-1 0,-2-1 5 16,1 1-1-16,2 1 2 0,-2-1-2 0,2-1-1 0,0 1 0 16,0-1-1-16,3 0 5 0,-3 1-3 0,1-2-5 15,2 0 9-15,2 1-3 0,1 0 1 0,-3-3 18 16,0 1 1-16,2 0-4 0,-3-1-8 0,2 1 7 16,-2-2-4-16,1 0 1 0,0 1-6 0,-1-2 17 15,0 1-2-15,-1 0-7 0,1-1 2 0,-4 1 3 16,2-2 0-16,-3 2 0 0,4-4 10 0,-4 2-19 15,2 0 14-15,-2 0-2 0,0 0 6 0,-1 0-17 16,3-1 11-16,-2 0-19 0,-1 1 8 0,0-1-9 16,1-1 9-16,-1 1-13 0,-1 1 12 0,0-1-11 15,1 0 0-15,-12 1-10 0,18-1 8 0,-18 1-2 16,14-2 7-16,-14 2 0 0,14-2-4 0,-14 2-1 16,12-1 0-16,-12 1 16 0,0 0-12 0,13-1 13 15,-13 1-19-15,0 0-28 0,11-3-39 0,-11 3-30 16,0 0-35-16,8-2-36 0,-8 2-39 0,0 0-68 0,10-5-420 15,-10 5-200-15</inkml:trace>
  <inkml:trace contextRef="#ctx0" brushRef="#br0" timeOffset="4610.49">26054 4503 17 0,'0'0'143'0,"13"-4"-13"16,-13 4-18-16,13-5-22 0,-13 5-10 0,9-5-12 16,-9 5-15-16,9-4-10 0,-9 4-12 0,10-2-3 0,-10 2-2 15,0 0-3-15,11-1 9 0,-11 1 15 0,0 0-13 16,13 2-6-16,-13-2-6 0,5 5 13 15,-5-5 21-15,7 7-7 0,-7-7 15 0,5 11-14 16,-3-5-9-16,0 1-9 0,0 2-9 0,-2 0-2 16,1 0-4-16,1 1-8 0,-2 3 8 0,0-3 0 0,0 3 13 15,0 1-18-15,-3 0 9 0,3-1-4 0,0 4 31 16,-2 0-14-16,0 0 6 0,1 0-13 16,-3 1 0-16,3 1-7 0,-2-1 4 0,-2 1-19 15,3 1 17-15,-3 3 29 0,0-3 6 0,-1 4-4 0,1-3-14 16,1 1-5-16,-1-1-4 0,-2 2-4 15,0-1-8-15,2-1 0 0,-1 1-1 0,-1 1-7 16,0-2 0-16,0 1-12 0,2 0 13 0,-3-1-23 0,3 1 27 16,-2 0-24-16,2 0 21 0,-2-1-1 0,3 2-2 15,-1-3-4-15,1 1 5 0,-2 1-3 0,2-1 2 16,-1 0-5-16,3 1-4 0,-2-3 8 0,2 0-5 16,-2 0-2-16,3 1 1 0,0-1 1 0,-3 0-3 15,4 0-8-15,-2 0 13 0,0-1-3 0,1 0 3 16,1 0-2-16,0 0 1 0,-1-2 4 0,0 0-5 15,-1 1 1-15,2 0 1 0,-1-1 3 0,0 0 3 16,-2-1 18-16,3-2 22 0,-2 0-15 0,0 1-9 16,2-2 1-16,-2 1-6 0,-1-1-2 0,3-2-21 15,-2 1 17-15,0 1-13 0,-1-3 50 0,0 2-2 16,1-3-6-16,0 1-5 0,-2-1-8 0,2-1-6 16,-2 2 14-16,-1-4 33 0,0 2-22 0,-4-3 11 15,1 1 0-15,0-1 17 0,-4 0-29 0,0-2 16 16,-3 1-22-16,-4-3 21 0,-2 0-20 0,1 0 15 15,-6-2-20-15,1 0 16 0,-2-2-26 0,-1 0 9 16,1 1-25-16,-5-2 15 0,-1 0-23 0,1 0 15 16,0 2-23-16,-1-1 19 0,3 0-20 0,1 0-15 15,1 1-52-15,0 1-32 0,-1 0-63 0,5 2-82 0,0-2-87 16,2 2-61-16,-1 0-353 0,4 0-259 0</inkml:trace>
</inkml:ink>
</file>

<file path=ppt/ink/ink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4:40.49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87 86 1772 0 0,'6'-6'866'0'0,"-1"-2"0"0"0,0 1 0 0 0,0-1 0 0 0,3-8 1 0 0,-7 15-807 0 0,-1 0 0 0 0,0 0 0 0 0,1 0 0 0 0,-1 0 0 0 0,0 0 1 0 0,0 0-1 0 0,0 0 0 0 0,0 0 0 0 0,0 0 0 0 0,0 0 0 0 0,0 0 1 0 0,0 0-1 0 0,-1 0 0 0 0,1 0 0 0 0,0 0 0 0 0,-1 0 0 0 0,1 0 1 0 0,0 1-1 0 0,-1-1 0 0 0,1 0 0 0 0,-1 0 0 0 0,1 0 0 0 0,-1 0 1 0 0,0 1-1 0 0,1-1 0 0 0,-1 0 0 0 0,0 0 0 0 0,0 1 0 0 0,1-1 0 0 0,-1 1 1 0 0,0-1-1 0 0,0 1 0 0 0,0-1 0 0 0,-1 0 0 0 0,-1-1 93 0 0,-1 1 0 0 0,1-1 1 0 0,-1 1-1 0 0,1 0 0 0 0,-1 0 0 0 0,0 0 0 0 0,-5-1 0 0 0,-5 2-49 0 0,1 1 0 0 0,0 0 0 0 0,0 1 0 0 0,0 1 0 0 0,0 0 0 0 0,0 0 0 0 0,0 1 0 0 0,1 1 1 0 0,-1 0-1 0 0,1 1 0 0 0,1 0 0 0 0,-1 1 0 0 0,1 0 0 0 0,0 1 0 0 0,1 0 0 0 0,-1 1 0 0 0,2 0 0 0 0,-1 1 0 0 0,1 0 0 0 0,-8 11 0 0 0,15-17-89 0 0,0 1 0 0 0,0-1 0 0 0,0 0 0 0 0,0 1 0 0 0,1-1 0 0 0,0 1-1 0 0,0 0 1 0 0,0-1 0 0 0,0 1 0 0 0,1 0 0 0 0,-1 0 0 0 0,2 4 0 0 0,-1-7-4 0 0,0 0 1 0 0,0 0-1 0 0,0 1 1 0 0,1-1-1 0 0,-1 0 1 0 0,1 0-1 0 0,0 0 1 0 0,-1 0-1 0 0,1 0 1 0 0,0-1-1 0 0,0 1 1 0 0,0 0-1 0 0,0 0 1 0 0,1 0-1 0 0,-1-1 1 0 0,0 1-1 0 0,1-1 1 0 0,-1 1-1 0 0,1-1 1 0 0,0 0-1 0 0,-1 1 1 0 0,1-1-1 0 0,0 0 1 0 0,0 0-1 0 0,0 0 1 0 0,-1 0-1 0 0,1 0 1 0 0,0-1-1 0 0,0 1 1 0 0,1-1-1 0 0,1 1 1 0 0,1-1-25 0 0,-1 1 1 0 0,1-2-1 0 0,0 1 1 0 0,0 0 0 0 0,0-1-1 0 0,-1 0 1 0 0,1 0-1 0 0,0 0 1 0 0,-1-1-1 0 0,1 0 1 0 0,-1 0 0 0 0,0 0-1 0 0,1 0 1 0 0,-1 0-1 0 0,0-1 1 0 0,0 0-1 0 0,5-5 1 0 0,6-6 1 0 0,0 0 0 0 0,-2-1-1 0 0,12-16 1 0 0,-23 29 45 0 0,14-16 119 0 0,-16 18-153 0 0,0-1 0 0 0,1 1 0 0 0,-1 0 0 0 0,1-1 0 0 0,-1 1 0 0 0,1 0 0 0 0,-1-1 0 0 0,0 1 0 0 0,1 0 0 0 0,-1 0 0 0 0,1-1 0 0 0,-1 1 0 0 0,1 0 0 0 0,-1 0 0 0 0,1 0 0 0 0,0 0 0 0 0,-1 0 0 0 0,1 0 0 0 0,-1 0 0 0 0,1 0 0 0 0,-1 0 0 0 0,1 0 0 0 0,-1 0 0 0 0,1 0 0 0 0,-1 0 0 0 0,1 0 0 0 0,-1 0 0 0 0,1 0 0 0 0,-1 1 0 0 0,1-1 0 0 0,-1 0 0 0 0,1 0 0 0 0,0 1 0 0 0,0 1 2 0 0,1 0 1 0 0,-1 1-1 0 0,0-1 1 0 0,0 0-1 0 0,0 1 0 0 0,0-1 1 0 0,0 1-1 0 0,-1-1 1 0 0,1 1-1 0 0,-1-1 1 0 0,0 1-1 0 0,1 3 0 0 0,0 4 3 0 0,1-1-34 0 0,0 0 0 0 0,1 0 0 0 0,0 0 0 0 0,0 0 0 0 0,1 0 0 0 0,0-1 0 0 0,1 0 0 0 0,0 1-1 0 0,0-2 1 0 0,1 1 0 0 0,0-1 0 0 0,0 0 0 0 0,1 0 0 0 0,0 0 0 0 0,0-1 0 0 0,10 7 0 0 0,-12-10-212 0 0,1 1 0 0 0,0-1 0 0 0,0 1 0 0 0,1-2 0 0 0,-1 1 0 0 0,1-1 0 0 0,-1 0 0 0 0,1 0 0 0 0,0-1 0 0 0,0 0 0 0 0,-1 0 0 0 0,1 0 0 0 0,0-1 0 0 0,0 0 0 0 0,0 0 0 0 0,0-1 0 0 0,0 0 0 0 0,-1 0 0 0 0,1-1 0 0 0,0 0 0 0 0,-1 0 0 0 0,13-6 0 0 0,5-7-1555 0 0,2 1-101 0 0</inkml:trace>
</inkml:ink>
</file>

<file path=ppt/ink/ink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4:40.89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98 171 3112 0 0,'3'-4'30'0'0,"7"-7"336"0"0,-2-1 0 0 0,0 0 1 0 0,0 0-1 0 0,7-18 0 0 0,-14 27-243 0 0,0 1 1 0 0,0-1 0 0 0,0 1-1 0 0,0-1 1 0 0,-1 1-1 0 0,0-1 1 0 0,1 0 0 0 0,-1 1-1 0 0,0-1 1 0 0,0 1-1 0 0,0-1 1 0 0,-1 0-1 0 0,0-3 1 0 0,0 4-28 0 0,0 0-1 0 0,1 1 1 0 0,-1-1 0 0 0,0 1-1 0 0,-1-1 1 0 0,1 1-1 0 0,0-1 1 0 0,0 1 0 0 0,-1-1-1 0 0,1 1 1 0 0,0 0 0 0 0,-1 0-1 0 0,0 0 1 0 0,1 0-1 0 0,-1 0 1 0 0,0 0 0 0 0,1 0-1 0 0,-1 1 1 0 0,0-1 0 0 0,0 1-1 0 0,-2-1 1 0 0,0 0 26 0 0,-1 0 0 0 0,0 0 0 0 0,1 1 0 0 0,-1 0 0 0 0,0 0 0 0 0,1 0 0 0 0,-1 1 0 0 0,0 0 0 0 0,1-1 0 0 0,-1 2 0 0 0,1-1 0 0 0,-1 0 0 0 0,1 1 0 0 0,0 0 0 0 0,-1 0 0 0 0,1 0 0 0 0,0 1 0 0 0,0-1 0 0 0,1 1 0 0 0,-1 0 0 0 0,-3 3 0 0 0,5-4-75 0 0,0 0 1 0 0,0 0 0 0 0,0 0 0 0 0,1 0 0 0 0,-1 0 0 0 0,1 1-1 0 0,-1-1 1 0 0,1 0 0 0 0,0 1 0 0 0,0-1 0 0 0,0 1 0 0 0,0 0-1 0 0,1-1 1 0 0,-1 1 0 0 0,1 0 0 0 0,-1-1 0 0 0,1 1 0 0 0,0 0 0 0 0,0-1-1 0 0,0 1 1 0 0,0 0 0 0 0,1 0 0 0 0,-1-1 0 0 0,1 1 0 0 0,0-1-1 0 0,-1 1 1 0 0,1 0 0 0 0,0-1 0 0 0,1 1 0 0 0,-1-1 0 0 0,0 0-1 0 0,1 1 1 0 0,-1-1 0 0 0,1 0 0 0 0,0 0 0 0 0,0 0 0 0 0,2 2 0 0 0,2 2-19 0 0,0-1 0 0 0,0 0 1 0 0,0 0-1 0 0,1-1 1 0 0,0 1-1 0 0,0-2 1 0 0,0 1-1 0 0,0-1 0 0 0,1 0 1 0 0,-1 0-1 0 0,1-1 1 0 0,0 0-1 0 0,0 0 1 0 0,-1-1-1 0 0,1 0 1 0 0,0 0-1 0 0,0-1 0 0 0,14-1 1 0 0,-10 0-108 0 0,-1-1 0 0 0,1-1-1 0 0,-1 1 1 0 0,0-2 0 0 0,1 1 0 0 0,-1-2 0 0 0,-1 1 0 0 0,1-1-1 0 0,-1-1 1 0 0,0 0 0 0 0,0-1 0 0 0,10-8 0 0 0,55-59-531 0 0,-11 11 1481 0 0,-64 66-630 0 0,-2 10 1 0 0,0 0 0 0 0,-1 0 1 0 0,-1-1-1 0 0,0 1 1 0 0,-11 22-1 0 0,3-8 29 0 0,-15 48 491 0 0,16-43 3454 0 0,15-34-4103 0 0,0 1 0 0 0,0-2-1 0 0,-1 1 1 0 0,1 0 0 0 0,0-1 0 0 0,3-2-1 0 0,12-9 94 0 0,-8 8-261 0 0,-1 1 0 0 0,1 1 0 0 0,0 0 0 0 0,0 0 0 0 0,1 1 1 0 0,-1 0-1 0 0,1 1 0 0 0,0 0 0 0 0,-1 1 0 0 0,1 1 0 0 0,0 0 0 0 0,0 0 0 0 0,15 3 0 0 0,-18-1-377 0 0,0 0-1 0 0,0 1 1 0 0,0 0-1 0 0,0 0 1 0 0,0 1-1 0 0,-1 0 1 0 0,11 7-1 0 0,-11-6-431 0 0,-1 1 0 0 0,1 0 0 0 0,-1 1 0 0 0,-1 0 0 0 0,1 0 0 0 0,-1 0-1 0 0,9 14 1 0 0,-8-9-2330 0 0,-3 2-1170 0 0</inkml:trace>
</inkml:ink>
</file>

<file path=ppt/ink/ink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4:41.43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63 158 660 0 0,'1'-3'345'0'0,"0"0"1"0"0,0 0-1 0 0,-1 0 0 0 0,1 0 0 0 0,-1 0 1 0 0,0 0-1 0 0,0 0 0 0 0,0-1 0 0 0,0 1 1 0 0,-1 0-1 0 0,1 0 0 0 0,-1 0 0 0 0,1 0 1 0 0,-1 0-1 0 0,0 0 0 0 0,-1 0 1 0 0,1 0-1 0 0,0 1 0 0 0,-3-5 0 0 0,2 5-191 0 0,0 0 1 0 0,0 0-1 0 0,0 0 0 0 0,0 0 0 0 0,-1 1 0 0 0,1-1 1 0 0,-1 0-1 0 0,1 1 0 0 0,-1 0 0 0 0,1 0 0 0 0,-1 0 0 0 0,0 0 1 0 0,1 0-1 0 0,-1 0 0 0 0,0 1 0 0 0,0-1 0 0 0,0 1 0 0 0,0 0 1 0 0,1 0-1 0 0,-6 0 0 0 0,4 0-46 0 0,0 0 0 0 0,0 1 0 0 0,0-1 0 0 0,0 1 0 0 0,0 0 0 0 0,0 0 1 0 0,0 1-1 0 0,0-1 0 0 0,0 1 0 0 0,0 0 0 0 0,1 0 0 0 0,-1 0 0 0 0,1 0 0 0 0,-1 0 0 0 0,1 1 0 0 0,0 0 0 0 0,0 0 0 0 0,0 0 0 0 0,0 0 0 0 0,1 0 1 0 0,-1 0-1 0 0,1 1 0 0 0,0-1 0 0 0,-2 5 0 0 0,2-3 7 0 0,0 0 0 0 0,0 0 1 0 0,1 1-1 0 0,0-1 0 0 0,0 0 0 0 0,0 1 1 0 0,1-1-1 0 0,-1 1 0 0 0,1-1 0 0 0,1 1 1 0 0,-1-1-1 0 0,1 1 0 0 0,0-1 0 0 0,0 0 1 0 0,0 1-1 0 0,1-1 0 0 0,3 7 0 0 0,2 2 90 0 0,1 0 0 0 0,0-1-1 0 0,1 0 1 0 0,0-1 0 0 0,1 1-1 0 0,16 14 1 0 0,-18-19-93 0 0,0-1 0 0 0,0-1 0 0 0,0 1 0 0 0,1-1 0 0 0,0-1 0 0 0,0 1 0 0 0,0-2 0 0 0,1 1 0 0 0,0-1 0 0 0,15 4 0 0 0,-21-8-90 0 0,0 1 0 0 0,0 0 1 0 0,0-1-1 0 0,0 0 0 0 0,0 0 1 0 0,0 0-1 0 0,0-1 0 0 0,0 1 1 0 0,0-1-1 0 0,-1 0 0 0 0,1 0 1 0 0,0 0-1 0 0,0 0 0 0 0,-1-1 1 0 0,1 0-1 0 0,-1 0 1 0 0,1 0-1 0 0,-1 0 0 0 0,0 0 1 0 0,0 0-1 0 0,0-1 0 0 0,0 0 1 0 0,0 1-1 0 0,0-1 0 0 0,-1 0 1 0 0,0-1-1 0 0,1 1 0 0 0,-1 0 1 0 0,2-4-1 0 0,-1 1-35 0 0,-1 0 0 0 0,1 0 0 0 0,-1-1 0 0 0,-1 1 0 0 0,1 0 0 0 0,-1 0 0 0 0,0-1 0 0 0,0 1 0 0 0,-1-1 0 0 0,1 1 0 0 0,-2-1 0 0 0,1 1 0 0 0,-1-1 0 0 0,0 1 0 0 0,0-1 0 0 0,-4-11 0 0 0,-1 4-189 0 0,-1 1 0 0 0,0 0 0 0 0,0 0 0 0 0,-2 0 0 0 0,-12-14 0 0 0,-55-54-3458 0 0,37 41-841 0 0,38 39 4243 0 0,1 1 0 0 0,-1-1 0 0 0,1 0 0 0 0,-1 0 1 0 0,1 0-1 0 0,-1 1 0 0 0,1-1 0 0 0,-1 0 0 0 0,1 0 1 0 0,0 0-1 0 0,0 0 0 0 0,-1 0 0 0 0,1 0 1 0 0,0 0-1 0 0,0 0 0 0 0,0 0 0 0 0,0-1 0 0 0,0 1 249 0 0</inkml:trace>
</inkml:ink>
</file>

<file path=ppt/ink/ink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4:41.82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9 4 0 0,'3'-1'354'0'0,"0"-1"-1"0"0,0 1 1 0 0,0 0-1 0 0,0 0 1 0 0,0 0-1 0 0,0 1 1 0 0,1-1-1 0 0,-1 1 1 0 0,0 0-1 0 0,0-1 1 0 0,1 1-1 0 0,-1 1 1 0 0,0-1-1 0 0,0 0 1 0 0,0 1-1 0 0,1 0 1 0 0,-1 0 0 0 0,0 0-1 0 0,0 0 1 0 0,0 0-1 0 0,0 1 1 0 0,0-1-1 0 0,3 3 1 0 0,0 1 35 0 0,0 0 0 0 0,-1 1 0 0 0,1 0 0 0 0,-1 0 0 0 0,0 0 0 0 0,0 1 0 0 0,-1 0 0 0 0,5 8 0 0 0,4 11-12 0 0,-1-1 0 0 0,-2 1 0 0 0,-1 1-1 0 0,0 0 1 0 0,-2 0 0 0 0,3 29 0 0 0,-6-27-742 0 0,-1-1 1 0 0,-2 1-1 0 0,-3 33 1 0 0,2-52-510 0 0,-1 0 0 0 0,-1-1 0 0 0,0 1 0 0 0,0 0 0 0 0,-1-1 0 0 0,-1 1 0 0 0,-5 11 0 0 0,-1-5-2900 0 0</inkml:trace>
</inkml:ink>
</file>

<file path=ppt/ink/ink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4:42.38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29 612 0 0,'0'-2'311'0'0,"0"-1"0"0"0,0 1-1 0 0,1 0 1 0 0,-1-1 0 0 0,0 1 0 0 0,1-1 0 0 0,0 1-1 0 0,-1 0 1 0 0,1 0 0 0 0,0-1 0 0 0,0 1 0 0 0,1 0-1 0 0,-1 0 1 0 0,0 0 0 0 0,1 0 0 0 0,1-2-1 0 0,1 0-76 0 0,0 1 0 0 0,0 0 0 0 0,0 1 0 0 0,0-1 0 0 0,0 1 0 0 0,0-1 0 0 0,8-1 0 0 0,18-7 428 0 0,1 1 0 0 0,0 2 0 0 0,45-7 0 0 0,99 1 390 0 0,-156 13-927 0 0,0 2 0 0 0,0-1 0 0 0,0 2 0 0 0,-1 1 0 0 0,1 0 0 0 0,26 9 0 0 0,-37-9-19 0 0,0 0 0 0 0,-1 0 0 0 0,0 1 0 0 0,1 0 0 0 0,-1 1 0 0 0,-1-1 0 0 0,1 1 0 0 0,-1 1 0 0 0,1-1 0 0 0,-2 1 0 0 0,1 0 0 0 0,-1 0 0 0 0,0 1 0 0 0,0 0 1 0 0,0 0-1 0 0,-1 0 0 0 0,4 9 0 0 0,-4-7 95 0 0,0 1 0 0 0,0 0 0 0 0,-1-1-1 0 0,0 1 1 0 0,-1 0 0 0 0,0 1 0 0 0,-1-1 0 0 0,0 0 0 0 0,0 0 0 0 0,-1 1 0 0 0,-3 18 0 0 0,3-28-130 0 0,0 0 0 0 0,0 0-1 0 0,0 0 1 0 0,-1 0 0 0 0,1 0 0 0 0,0 0-1 0 0,-1 0 1 0 0,1 0 0 0 0,-1 0-1 0 0,1 0 1 0 0,-1 0 0 0 0,1 0 0 0 0,-1 0-1 0 0,0 0 1 0 0,0 0 0 0 0,1-1-1 0 0,-1 1 1 0 0,0 0 0 0 0,0-1 0 0 0,0 1-1 0 0,0 0 1 0 0,0-1 0 0 0,0 1 0 0 0,0-1-1 0 0,0 1 1 0 0,0-1 0 0 0,0 0-1 0 0,0 0 1 0 0,0 1 0 0 0,0-1 0 0 0,0 0-1 0 0,0 0 1 0 0,0 0 0 0 0,0 0-1 0 0,0 0 1 0 0,0 0 0 0 0,0 0 0 0 0,0 0-1 0 0,-1-1 1 0 0,0 1 0 0 0,1-1-45 0 0,0 0 0 0 0,1 0 0 0 0,-1 0-1 0 0,0 0 1 0 0,0 0 0 0 0,0 0 0 0 0,1 0 0 0 0,-1 0 0 0 0,1 0 0 0 0,-1 0 0 0 0,1-1 0 0 0,-1 1 0 0 0,1 0 0 0 0,-1 0-1 0 0,1-1 1 0 0,0 1 0 0 0,0 0 0 0 0,0 0 0 0 0,0-1 0 0 0,0 1 0 0 0,0-2 0 0 0,1-4 2 0 0,1 1 1 0 0,-1-1 0 0 0,1 0-1 0 0,1 1 1 0 0,-1 0 0 0 0,1 0-1 0 0,0 0 1 0 0,1 0-1 0 0,-1 0 1 0 0,7-8 0 0 0,8-8-49 0 0,23-22 1 0 0,-37 40 12 0 0,3-2-9 0 0,-1 0 0 0 0,1 0 1 0 0,0 1-1 0 0,0 0 0 0 0,0 0 1 0 0,1 1-1 0 0,0 0 0 0 0,0 0 1 0 0,0 1-1 0 0,13-4 1 0 0,-20 7 12 0 0,1-1 1 0 0,0 1-1 0 0,0 0 1 0 0,0 0-1 0 0,-1 0 1 0 0,1 0-1 0 0,0 0 1 0 0,0 0-1 0 0,0 0 1 0 0,0 1-1 0 0,-1-1 1 0 0,1 0-1 0 0,2 2 1 0 0,2 0-3 0 0,0-1-2 0 0,0 1 1 0 0,0 0-1 0 0,0 0 0 0 0,-1 1 0 0 0,1-1 0 0 0,0 1 1 0 0,-1 1-1 0 0,0-1 0 0 0,0 1 0 0 0,9 8 0 0 0,1 3 8 0 0,24 32 0 0 0,-14-16 22 0 0,-11-14-44 0 0,-4-5 57 0 0,1 0 0 0 0,0 0-1 0 0,15 11 1 0 0,-22-19-54 0 0,0-1 0 0 0,0 0 0 0 0,1-1 1 0 0,0 1-1 0 0,-1-1 0 0 0,1 0 0 0 0,0 0 0 0 0,0 0 1 0 0,0-1-1 0 0,0 0 0 0 0,0 0 0 0 0,0 0 0 0 0,0-1 1 0 0,9 1-1 0 0,-5-2-169 0 0,0 0-1 0 0,1-1 1 0 0,-1 0 0 0 0,0 0 0 0 0,-1-1 0 0 0,1 0-1 0 0,0 0 1 0 0,-1-1 0 0 0,0 0 0 0 0,0-1-1 0 0,0 0 1 0 0,0 0 0 0 0,-1 0 0 0 0,10-10 0 0 0,-4 2-230 0 0,-1 0 1 0 0,-1-1 0 0 0,16-23 0 0 0,-22 28 269 0 0,0 0 0 0 0,-1 0 1 0 0,0 0-1 0 0,0-1 0 0 0,0 1 1 0 0,-2-1-1 0 0,4-19 0 0 0,-6 27 124 0 0,1-1 0 0 0,-2 0 0 0 0,1 0 0 0 0,0 0 0 0 0,-1 1 0 0 0,1-1 0 0 0,-1 0 0 0 0,0 0 0 0 0,0 1-1 0 0,0-1 1 0 0,0 1 0 0 0,0-1 0 0 0,0 1 0 0 0,-1-1 0 0 0,1 1 0 0 0,-1 0 0 0 0,0 0 0 0 0,0 0 0 0 0,0 0 0 0 0,0 0-1 0 0,0 0 1 0 0,0 0 0 0 0,0 0 0 0 0,-1 1 0 0 0,1 0 0 0 0,-1-1 0 0 0,1 1 0 0 0,-5-2 0 0 0,5 2 23 0 0,0 1 1 0 0,-1-1 0 0 0,1 0-1 0 0,0 1 1 0 0,-1-1-1 0 0,1 1 1 0 0,-1-1-1 0 0,1 1 1 0 0,-1 0 0 0 0,1 0-1 0 0,-1 0 1 0 0,1 1-1 0 0,0-1 1 0 0,-1 1 0 0 0,1-1-1 0 0,-1 1 1 0 0,1 0-1 0 0,0-1 1 0 0,-1 1 0 0 0,1 1-1 0 0,0-1 1 0 0,0 0-1 0 0,0 0 1 0 0,0 1-1 0 0,0-1 1 0 0,0 1 0 0 0,0 0-1 0 0,1 0 1 0 0,-1-1-1 0 0,0 1 1 0 0,-2 4 0 0 0,3-4 3 0 0,0 0 1 0 0,1 0-1 0 0,-1 0 1 0 0,0 0 0 0 0,1 0-1 0 0,-1 0 1 0 0,1 1 0 0 0,0-1-1 0 0,-1 0 1 0 0,1 0-1 0 0,0 0 1 0 0,0 0 0 0 0,1 0-1 0 0,-1 0 1 0 0,0 0 0 0 0,2 4-1 0 0,-1-2 7 0 0,1 1 0 0 0,0-1 0 0 0,0 0 1 0 0,0 0-1 0 0,1-1 0 0 0,-1 1 0 0 0,6 6 0 0 0,-3-5-4 0 0,1 1 0 0 0,-1-1 1 0 0,1 0-1 0 0,1 0 0 0 0,-1 0 0 0 0,1-1 1 0 0,-1 0-1 0 0,15 6 0 0 0,-13-8-153 0 0,-1 0 0 0 0,1 0 0 0 0,0-1 0 0 0,-1 0 0 0 0,1 0 0 0 0,0-1 0 0 0,15-1 0 0 0,-1-3-303 0 0,32-8 1 0 0,-33 7 180 0 0,1 0 1 0 0,29-2-1 0 0,-44 6 211 0 0,0 1-1 0 0,0 0 1 0 0,0 1-1 0 0,0-1 1 0 0,14 4 0 0 0,-19-4 70 0 0,0 1 1 0 0,-1 0 0 0 0,1-1-1 0 0,0 1 1 0 0,-1 0 0 0 0,1 0 0 0 0,-1 0-1 0 0,1 0 1 0 0,-1 0 0 0 0,1 0-1 0 0,-1 0 1 0 0,1 0 0 0 0,-1 1 0 0 0,0-1-1 0 0,0 0 1 0 0,0 1 0 0 0,0-1-1 0 0,0 1 1 0 0,0-1 0 0 0,0 1-1 0 0,0 0 1 0 0,-1-1 0 0 0,1 1 0 0 0,0 0-1 0 0,0 3 1 0 0,-1-3 14 0 0,0-1 0 0 0,-1 0 0 0 0,1 1 0 0 0,0-1 0 0 0,0 0 0 0 0,-1 1 0 0 0,1-1 0 0 0,0 0 0 0 0,-1 0 0 0 0,0 1 1 0 0,1-1-1 0 0,-1 0 0 0 0,0 0 0 0 0,1 0 0 0 0,-1 0 0 0 0,0 0 0 0 0,0 0 0 0 0,-1 2 0 0 0,-20 15 1555 0 0,17-15-11 0 0,-1-5-1043 0 0,6 2-518 0 0,-1 0 0 0 0,1 0 0 0 0,0 0 0 0 0,-1 0 0 0 0,1 0 0 0 0,-1 0 0 0 0,1 0 0 0 0,0 0 0 0 0,-1 0 0 0 0,1 0 0 0 0,0-1 0 0 0,-1 1 0 0 0,1 0 0 0 0,0 0 1 0 0,-1 0-1 0 0,1 0 0 0 0,0 0 0 0 0,0-1 0 0 0,-1 1 0 0 0,1 0 0 0 0,0 0 0 0 0,-1-1 0 0 0,1 1 0 0 0,0 0 0 0 0,0 0 0 0 0,-1-1 0 0 0,1 1 0 0 0,0 0 1 0 0,0-1-1 0 0,0 1 0 0 0,0 0 0 0 0,-1-1 0 0 0,3-3 28 0 0,-1 0 1 0 0,1 0 0 0 0,-1 1-1 0 0,1-1 1 0 0,0 1 0 0 0,0-1-1 0 0,1 1 1 0 0,-1-1-1 0 0,1 1 1 0 0,0 0 0 0 0,0 0-1 0 0,0 1 1 0 0,0-1 0 0 0,6-3-1 0 0,9-7 21 0 0,26-14 0 0 0,-41 26-50 0 0,17-11-356 0 0,0 2 0 0 0,0 1-1 0 0,1 0 1 0 0,1 1 0 0 0,-1 2 0 0 0,1 0 0 0 0,25-3 0 0 0,-40 8-905 0 0,12 2-910 0 0,-10 2-869 0 0,11 1-1734 0 0</inkml:trace>
</inkml:ink>
</file>

<file path=ppt/ink/ink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4:52.72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6 46 1316 0 0,'-1'-3'1272'0'0,"1"3"-1174"0"0,-1-1 1 0 0,1 1-1 0 0,-1-1 1 0 0,1 0-1 0 0,-1 1 1 0 0,1-1-1 0 0,-1 1 1 0 0,1-1-1 0 0,-1 1 1 0 0,0 0-1 0 0,1-1 1 0 0,-1 1-1 0 0,0 0 1 0 0,1-1-1 0 0,-1 1 1 0 0,0 0-1 0 0,1-1 1 0 0,-1 1-1 0 0,0 0 1 0 0,1 0-1 0 0,-1 0 1 0 0,0 0 0 0 0,0 0-1 0 0,1 0 1 0 0,-1 0-1 0 0,0 0 1 0 0,0 0-1 0 0,1 0 1 0 0,-1 0-1 0 0,0 1 1 0 0,0-1-1 0 0,1 0 1 0 0,-1 0-1 0 0,0 1 1 0 0,1-1-1 0 0,-1 0 1 0 0,1 1-1 0 0,-1-1 1 0 0,0 1-1 0 0,1-1 1 0 0,-1 1-1 0 0,1-1 1 0 0,-1 1-1 0 0,1-1 1 0 0,-1 1-1 0 0,1 0 1 0 0,0-1-1 0 0,-1 1 1 0 0,1-1 0 0 0,-1 2-1 0 0,-4 8 284 0 0,0 0 0 0 0,1 0 0 0 0,0 0 0 0 0,0 1 0 0 0,1-1 0 0 0,1 1 0 0 0,-1 0 0 0 0,2 0 0 0 0,0 0 0 0 0,0 17 0 0 0,2-8-126 0 0,0 0-1 0 0,2 0 1 0 0,0 0 0 0 0,12 36 0 0 0,-5-19-28 0 0,8 20 215 0 0,-18-56-435 0 0,0 0-1 0 0,1 0 1 0 0,-1 0 0 0 0,1 0 0 0 0,-1 0-1 0 0,1-1 1 0 0,-1 1 0 0 0,1 0 0 0 0,-1 0-1 0 0,1-1 1 0 0,0 1 0 0 0,0 0 0 0 0,-1-1-1 0 0,1 1 1 0 0,0-1 0 0 0,0 1 0 0 0,0-1-1 0 0,-1 0 1 0 0,1 1 0 0 0,0-1 0 0 0,0 0-1 0 0,0 1 1 0 0,0-1 0 0 0,0 0 0 0 0,1 0-1 0 0,0 0 3 0 0,1 0 0 0 0,-1 0 0 0 0,0-1-1 0 0,0 1 1 0 0,0-1 0 0 0,0 1-1 0 0,0-1 1 0 0,0 0 0 0 0,0 0 0 0 0,3-2-1 0 0,3-2 12 0 0,0 0-1 0 0,-1-1 0 0 0,0 0 0 0 0,6-7 0 0 0,-11 11-21 0 0,13-14 10 0 0,23-30 0 0 0,-37 45-16 0 0,0 0 0 0 0,-1 0 0 0 0,1 0 0 0 0,0 0 0 0 0,0 0 0 0 0,0 0 0 0 0,0 1 0 0 0,0-1 0 0 0,0 0 0 0 0,0 0 0 0 0,0 1 0 0 0,0-1 0 0 0,0 1 0 0 0,1-1 0 0 0,-1 1 0 0 0,0-1 0 0 0,0 1 0 0 0,0 0 0 0 0,1-1 0 0 0,-1 1 0 0 0,0 0 1 0 0,0 0-1 0 0,1 0 0 0 0,-1 0 0 0 0,0 0 0 0 0,0 1 0 0 0,1-1 0 0 0,-1 0 0 0 0,0 0 0 0 0,0 1 0 0 0,1-1 0 0 0,-1 1 0 0 0,0-1 0 0 0,0 1 0 0 0,0-1 0 0 0,0 1 0 0 0,0 0 0 0 0,0 0 0 0 0,1 0 0 0 0,6 5-12 0 0,-1 0 1 0 0,0 0-1 0 0,-1 1 0 0 0,7 8 1 0 0,-8-9 23 0 0,52 47-157 0 0,-41-39 953 0 0,26 28 0 0 0,-41-42-727 0 0,-1 1 1 0 0,0 0 0 0 0,1-1-1 0 0,-1 1 1 0 0,1-1 0 0 0,-1 1-1 0 0,1 0 1 0 0,-1-1 0 0 0,1 1-1 0 0,-1-1 1 0 0,1 1-1 0 0,0-1 1 0 0,-1 0 0 0 0,1 1-1 0 0,0-1 1 0 0,-1 0 0 0 0,1 1-1 0 0,0-1 1 0 0,-1 0 0 0 0,1 0-1 0 0,0 1 1 0 0,0-1 0 0 0,0 0-1 0 0,-1 0 1 0 0,1 0-1 0 0,0 0 1 0 0,0 0 0 0 0,-1 0-1 0 0,1 0 1 0 0,0-1 0 0 0,0 1-1 0 0,-1 0 1 0 0,1 0 0 0 0,0 0-1 0 0,-1-1 1 0 0,1 1 0 0 0,0 0-1 0 0,-1-1 1 0 0,1 1-1 0 0,0-1 1 0 0,-1 1 0 0 0,1-1-1 0 0,-1 1 1 0 0,1-1 0 0 0,0 1-1 0 0,-1-1 1 0 0,0 0 0 0 0,1 0-1 0 0,1-1-32 0 0,-1-1 1 0 0,1 1-1 0 0,-1 0 0 0 0,0-1 0 0 0,0 0 0 0 0,0 1 0 0 0,0-1 0 0 0,0 0 0 0 0,-1 1 1 0 0,1-6-1 0 0,-3-24-230 0 0,-1-1 0 0 0,-1 1 0 0 0,-2 1 0 0 0,-2-1 0 0 0,0 1 0 0 0,-2 0 0 0 0,-2 1 0 0 0,-21-42 0 0 0,26 60-862 0 0,0 0 0 0 0,-1 1 0 0 0,-16-18 0 0 0,-5-7-6936 0 0,22 27 4874 0 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05:36.56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13 65 348 0 0,'4'-6'1185'0'0,"0"-1"0"0"0,-1 1 0 0 0,1-1 0 0 0,-2 0 1 0 0,5-11-1 0 0,-7 18-1162 0 0,0-1 1 0 0,0 1 0 0 0,0-1 0 0 0,0 0 0 0 0,0 1-1 0 0,-1-1 1 0 0,1 1 0 0 0,0-1 0 0 0,0 1-1 0 0,0-1 1 0 0,0 1 0 0 0,-1-1 0 0 0,1 1-1 0 0,0-1 1 0 0,0 1 0 0 0,-1-1 0 0 0,1 1 0 0 0,0 0-1 0 0,-1-1 1 0 0,1 1 0 0 0,-1-1 0 0 0,1 1-1 0 0,0 0 1 0 0,-1 0 0 0 0,1-1 0 0 0,-1 1-1 0 0,1 0 1 0 0,-1-1 0 0 0,1 1 0 0 0,-1 0 0 0 0,1 0-1 0 0,-1 0 1 0 0,1 0 0 0 0,-1 0 0 0 0,1 0-1 0 0,-1-1 1 0 0,0 1 0 0 0,-26 1 281 0 0,21 0-292 0 0,0 1 1 0 0,-1 0-1 0 0,1 1 1 0 0,1-1-1 0 0,-1 1 1 0 0,0 0-1 0 0,1 1 1 0 0,-1-1-1 0 0,1 1 0 0 0,0 0 1 0 0,0 0-1 0 0,1 1 1 0 0,-6 5-1 0 0,4-1 19 0 0,-1 0 0 0 0,1 1 1 0 0,0-1-1 0 0,1 1 0 0 0,0 1 0 0 0,-6 20 0 0 0,1 8 113 0 0,2 0-1 0 0,1 1 1 0 0,-1 50 0 0 0,7-74-86 0 0,-9 244 572 0 0,8-148-388 0 0,-28 399 1484 0 0,2-80-509 0 0,-26 537 1646 0 0,44-675-1575 0 0,10-287-1197 0 0,0 0 0 0 0,0 0 0 0 0,1 0-1 0 0,0 0 1 0 0,0 0 0 0 0,1 0 0 0 0,2 8-1 0 0,-3-12-55 0 0,0 0 0 0 0,0 0 0 0 0,0 0-1 0 0,1 0 1 0 0,-1 0 0 0 0,1 0 0 0 0,-1 0-1 0 0,1-1 1 0 0,-1 1 0 0 0,1-1 0 0 0,0 1-1 0 0,0-1 1 0 0,0 0 0 0 0,0 1 0 0 0,0-1-1 0 0,0 0 1 0 0,0 0 0 0 0,0-1-1 0 0,0 1 1 0 0,0 0 0 0 0,1-1 0 0 0,2 1-1 0 0,9 0 37 0 0,0 0-1 0 0,0-1 1 0 0,0 0-1 0 0,0-2 1 0 0,0 1-1 0 0,0-2 1 0 0,19-5-1 0 0,-4-1-373 0 0,-1-2-1 0 0,38-18 1 0 0,-58 25-123 0 0,38-22-1883 0 0,-42 24 1590 0 0,-1-1 0 0 0,0 1 0 0 0,0-1 0 0 0,0 0 0 0 0,-1 0 0 0 0,1 0 0 0 0,-1 0 1 0 0,1 0-1 0 0,-1-1 0 0 0,0 1 0 0 0,2-5 0 0 0,0-5-4441 0 0</inkml:trace>
</inkml:ink>
</file>

<file path=ppt/ink/ink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4:53.49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652 0 0,'4'0'1250'0'0,"-2"0"-1003"0"0,0 1 1 0 0,0-1-1 0 0,1 1 1 0 0,-1-1 0 0 0,0 1-1 0 0,0 0 1 0 0,0 0 0 0 0,0 0-1 0 0,0 0 1 0 0,0 0 0 0 0,0 0-1 0 0,0 1 1 0 0,0-1-1 0 0,0 1 1 0 0,0-1 0 0 0,-1 1-1 0 0,3 3 1 0 0,-1 0 135 0 0,0 0 1 0 0,0-1-1 0 0,-1 1 0 0 0,0 0 0 0 0,0 0 0 0 0,0 0 1 0 0,1 9-1 0 0,1 8 783 0 0,-2 1 0 0 0,0 42 0 0 0,-2-56-912 0 0,-16 345 4714 0 0,14-326-4003 0 0,2-25-428 0 0,3-5-439 0 0,7-7-167 0 0,-1 0 0 0 0,0-1 0 0 0,11-15-1 0 0,11-12-231 0 0,-30 36 290 0 0,19-20-261 0 0,28-23 0 0 0,-42 39 218 0 0,0 1-1 0 0,0 0 0 0 0,1 0 0 0 0,-1 0 0 0 0,1 1 0 0 0,-1 0 0 0 0,1 0 1 0 0,0 1-1 0 0,0 0 0 0 0,9-2 0 0 0,-11 4 34 0 0,0 0 0 0 0,1 0 0 0 0,-1 0 0 0 0,0 1 0 0 0,0 0 0 0 0,0 0 0 0 0,1 0-1 0 0,-1 0 1 0 0,0 1 0 0 0,-1 0 0 0 0,1 0 0 0 0,0 1 0 0 0,-1-1 0 0 0,1 1 0 0 0,4 4 0 0 0,8 6-16 0 0,-1 1 1 0 0,21 23-1 0 0,-13-12 25 0 0,-11-12 103 0 0,1-1 1 0 0,0 0 0 0 0,26 17-1 0 0,-36-28-66 0 0,0 0 0 0 0,0 0-1 0 0,0 0 1 0 0,0 0-1 0 0,0-1 1 0 0,0 0 0 0 0,1 1-1 0 0,-1-1 1 0 0,0-1 0 0 0,0 1-1 0 0,0-1 1 0 0,0 0 0 0 0,1 0-1 0 0,-1 0 1 0 0,0 0-1 0 0,-1-1 1 0 0,5-1 0 0 0,4-5-72 0 0,-1 0 1 0 0,0-1 0 0 0,0-1 0 0 0,-1 0-1 0 0,0 0 1 0 0,-1-1 0 0 0,0 0 0 0 0,12-19-1 0 0,50-102-430 0 0,-71 130 474 0 0,1 2-9 0 0,-1-1 1 0 0,0 1-1 0 0,0 0 1 0 0,1-1-1 0 0,-1 1 0 0 0,0-1 1 0 0,0 1-1 0 0,0-1 1 0 0,1 1-1 0 0,-1-1 0 0 0,0 1 1 0 0,0-1-1 0 0,0 1 1 0 0,0-1-1 0 0,0 1 0 0 0,0-1 1 0 0,0 1-1 0 0,0-1 1 0 0,0 1-1 0 0,0-1 0 0 0,0 1 1 0 0,0-1-1 0 0,-1 0 1 0 0,-8 2-60 0 0,-13 16 17 0 0,18-11 54 0 0,1 0 0 0 0,0 0 0 0 0,0 0 0 0 0,1 1 0 0 0,-1 0 0 0 0,1-1 0 0 0,1 1 0 0 0,-1 0-1 0 0,1 0 1 0 0,1 0 0 0 0,-1 0 0 0 0,1 0 0 0 0,0 0 0 0 0,1 0 0 0 0,-1 0 0 0 0,1-1 0 0 0,3 11 0 0 0,-2-12 12 0 0,-1 0 0 0 0,0-1 1 0 0,1 1-1 0 0,0-1 0 0 0,0 1 0 0 0,0-1 1 0 0,1 0-1 0 0,-1 0 0 0 0,1 0 1 0 0,0 0-1 0 0,0-1 0 0 0,0 1 0 0 0,1-1 1 0 0,0 1-1 0 0,-1-1 0 0 0,1-1 0 0 0,0 1 1 0 0,0 0-1 0 0,0-1 0 0 0,1 0 1 0 0,-1 0-1 0 0,0 0 0 0 0,1 0 0 0 0,0-1 1 0 0,-1 0-1 0 0,6 1 0 0 0,-2-2-18 0 0,0 0-1 0 0,1 0 0 0 0,-1-1 0 0 0,0 0 1 0 0,0-1-1 0 0,0 1 0 0 0,0-2 1 0 0,-1 1-1 0 0,1-1 0 0 0,-1 0 1 0 0,9-5-1 0 0,10-7-207 0 0,38-27 0 0 0,-64 41 208 0 0,1 0 0 0 0,-1 1 0 0 0,1-1 1 0 0,0 1-1 0 0,-1-1 0 0 0,1 1 0 0 0,0-1 1 0 0,0 1-1 0 0,-1 0 0 0 0,1-1 0 0 0,0 1 1 0 0,0 0-1 0 0,0 0 0 0 0,0-1 0 0 0,-1 1 1 0 0,1 0-1 0 0,0 0 0 0 0,0 0 0 0 0,0 0 1 0 0,0 0-1 0 0,-1 0 0 0 0,1 0 0 0 0,0 1 1 0 0,0-1-1 0 0,0 0 0 0 0,0 0 0 0 0,-1 1 1 0 0,1-1-1 0 0,0 0 0 0 0,0 1 0 0 0,-1-1 1 0 0,1 1-1 0 0,0-1 0 0 0,0 1 0 0 0,-1-1 1 0 0,1 1-1 0 0,-1-1 0 0 0,1 1 0 0 0,0 0 1 0 0,-1-1-1 0 0,0 1 0 0 0,1 0 0 0 0,-1 0 1 0 0,1-1-1 0 0,-1 1 0 0 0,0 0 0 0 0,1 0 1 0 0,-1 1-1 0 0,3 4 36 0 0,-1 1 0 0 0,-1 0 1 0 0,1 0-1 0 0,0 11 0 0 0,-1-12-15 0 0,1 21 108 0 0,-1-1-1 0 0,0 0 1 0 0,-2 1-1 0 0,-2-1 1 0 0,0 0-1 0 0,-7 27 1 0 0,2-20-23 0 0,-2 0 0 0 0,-1 0 0 0 0,-2-1 0 0 0,-19 35 0 0 0,25-54 31 0 0,-1 0 0 0 0,-1-1 1 0 0,1 0-1 0 0,-2-1 0 0 0,0 0 1 0 0,0 0-1 0 0,-1-1 1 0 0,0 0-1 0 0,-17 11 0 0 0,24-18-98 0 0,-1 0 1 0 0,1-1-1 0 0,0 1 0 0 0,-1-1 0 0 0,1 0 0 0 0,-1-1 1 0 0,0 1-1 0 0,0-1 0 0 0,1 0 0 0 0,-1 0 0 0 0,0 0 0 0 0,0-1 1 0 0,0 0-1 0 0,0 1 0 0 0,0-2 0 0 0,0 1 0 0 0,0-1 1 0 0,0 0-1 0 0,0 0 0 0 0,0 0 0 0 0,1 0 0 0 0,-1-1 0 0 0,0 0 1 0 0,1 0-1 0 0,-1 0 0 0 0,1-1 0 0 0,0 1 0 0 0,0-1 0 0 0,0 0 1 0 0,-7-7-1 0 0,5 4-101 0 0,0 0 0 0 0,1-1 0 0 0,-1 0 0 0 0,1 0 0 0 0,1 0 0 0 0,-1 0 0 0 0,1-1 0 0 0,1 0 0 0 0,-1 0 0 0 0,1 0 0 0 0,1 0 0 0 0,-1-1 0 0 0,1 1 0 0 0,1-1 0 0 0,0 1 0 0 0,0-1 0 0 0,1 1 0 0 0,0-1 0 0 0,0 0 0 0 0,1 1 0 0 0,0-1-1 0 0,3-13 1 0 0,-1 10-548 0 0,1 1 0 0 0,0 0 0 0 0,1 0 0 0 0,0 0 0 0 0,1 0 0 0 0,0 1 0 0 0,0 0 0 0 0,1 0 0 0 0,0 1 0 0 0,1-1 0 0 0,0 2 0 0 0,1-1 0 0 0,-1 1 0 0 0,2 1 0 0 0,18-13 0 0 0,-7 7-2251 0 0,1 1-907 0 0</inkml:trace>
</inkml:ink>
</file>

<file path=ppt/ink/ink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4:53.82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42 1100 0 0,'41'-24'8574'0'0,"-32"20"-8386"0"0,1 1-1 0 0,0 0 0 0 0,-1 1 0 0 0,1 0 1 0 0,0 0-1 0 0,0 1 0 0 0,0 0 0 0 0,17 1 1 0 0,65 8-995 0 0,-36 0-5083 0 0</inkml:trace>
</inkml:ink>
</file>

<file path=ppt/ink/ink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4:54.20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52 244 0 0,'0'-12'2366'0'0,"0"9"-1534"0"0,0 2-738 0 0,0 0 0 0 0,0 0 0 0 0,1-1 0 0 0,-1 1 0 0 0,0 0 0 0 0,0 0 0 0 0,1 0 0 0 0,-1-1 0 0 0,1 1 0 0 0,-1 0 0 0 0,1 0 0 0 0,0 0 0 0 0,-1 0 0 0 0,1 0 0 0 0,0 0 0 0 0,0 0 0 0 0,-1 0-1 0 0,1 0 1 0 0,0 0 0 0 0,2-1 0 0 0,-1 1 6 0 0,1-1-1 0 0,0 1 0 0 0,-1-1 0 0 0,1 1 0 0 0,0 0 0 0 0,0 0 0 0 0,0 0 0 0 0,4 0 1 0 0,0 0-21 0 0,-1 0-1 0 0,1 1 1 0 0,-1 0 0 0 0,1 0 0 0 0,-1 1 0 0 0,0-1 0 0 0,1 2 0 0 0,7 1 0 0 0,-10-2 2 0 0,0 1 0 0 0,0-1 0 0 0,0 1 1 0 0,0 0-1 0 0,0 0 0 0 0,-1 1 0 0 0,1-1 0 0 0,-1 1 0 0 0,1 0 0 0 0,-1-1 1 0 0,0 2-1 0 0,0-1 0 0 0,0 0 0 0 0,0 1 0 0 0,-1-1 0 0 0,0 1 0 0 0,1-1 1 0 0,-1 1-1 0 0,-1 0 0 0 0,1 0 0 0 0,0 0 0 0 0,-1 1 0 0 0,0-1 0 0 0,1 8 1 0 0,-1-4 87 0 0,-1 0 1 0 0,0 0 0 0 0,-1 0 0 0 0,1 0 0 0 0,-2 0 0 0 0,1 0 0 0 0,-1-1 0 0 0,0 1-1 0 0,-1 0 1 0 0,0-1 0 0 0,0 0 0 0 0,-8 13 0 0 0,2-5 133 0 0,4-4-25 0 0,-1-1 0 0 0,-1 0 0 0 0,0 0-1 0 0,-14 14 1 0 0,-7 18 580 0 0,27-41-845 0 0,1 1-2 0 0,0-1 1 0 0,0 1-1 0 0,0 0 1 0 0,0 0-1 0 0,0-1 0 0 0,0 1 1 0 0,0 0-1 0 0,1 0 1 0 0,-1-1-1 0 0,1 1 0 0 0,-1 0 1 0 0,1-1-1 0 0,0 1 1 0 0,-1-1-1 0 0,1 1 0 0 0,0-1 1 0 0,0 1-1 0 0,0-1 1 0 0,1 2-1 0 0,29 27-375 0 0,-16-16-688 0 0,35 39-6706 0 0,-42-45 5290 0 0</inkml:trace>
  <inkml:trace contextRef="#ctx0" brushRef="#br0" timeOffset="1">246 546 740 0 0,'0'0'6649'0'0,"10"-8"-6253"0"0,-4 1-716 0 0,4 0-1616 0 0,0-4-1189 0 0</inkml:trace>
</inkml:ink>
</file>

<file path=ppt/ink/ink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4:54.82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9 76 1228 0 0,'6'-8'916'0'0,"1"-1"0"0"0,0 1-1 0 0,0 1 1 0 0,0-1 0 0 0,1 1-1 0 0,0 0 1 0 0,1 1 0 0 0,14-9 0 0 0,-21 15-725 0 0,1 0-39 0 0,-1 0-135 0 0,-1 1 0 0 0,0-1 0 0 0,0 0 0 0 0,1 0 0 0 0,-1 1 0 0 0,0-1-1 0 0,0 1 1 0 0,0-1 0 0 0,1 1 0 0 0,-1 0 0 0 0,0-1 0 0 0,0 1 0 0 0,0 0 0 0 0,0 0 0 0 0,0 0 0 0 0,1 1 0 0 0,-1 0 0 0 0,-1 0 0 0 0,1-1 0 0 0,0 1 0 0 0,-1 0 1 0 0,1 0-1 0 0,-1-1 0 0 0,0 1 0 0 0,1 0 0 0 0,-1 0 0 0 0,0 0 1 0 0,0 0-1 0 0,0 0 0 0 0,-1 0 0 0 0,0 3 0 0 0,-3 12 33 0 0,-1 1 1 0 0,-1-1-1 0 0,0-1 0 0 0,-1 1 0 0 0,-14 22 0 0 0,-7 16-265 0 0,20-37-575 0 0,0 1 0 0 0,1 1 0 0 0,2-1 0 0 0,-7 35 0 0 0,11-43 547 0 0,0-1 1 0 0,1 1-1 0 0,0-1 1 0 0,1 1 0 0 0,0-1-1 0 0,0 1 1 0 0,1-1-1 0 0,1 0 1 0 0,0 1-1 0 0,7 16 1 0 0,24 51 6103 0 0,-32-75-5684 0 0,-1 0 1 0 0,1 0-1 0 0,-1 0 1 0 0,0 1 0 0 0,0-1-1 0 0,1 5 1 0 0,-2-5-814 0 0,0-1 0 0 0,1 0 0 0 0,-1 1 0 0 0,-1-1 0 0 0,1 0 0 0 0,0 1 0 0 0,-1-1 0 0 0,0 4 0 0 0</inkml:trace>
  <inkml:trace contextRef="#ctx0" brushRef="#br0" timeOffset="1">125 733 2192 0 0,'0'0'3108'0'0,"18"2"581"0"0,0-6-2953 0 0,-6 12-4768 0 0</inkml:trace>
</inkml:ink>
</file>

<file path=ppt/ink/ink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5:05.33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3 580 252 0 0,'-18'-63'728'0'0,"6"2"-168"0"0,2 2-160 0 0,8 5 0 0 0,4 1-348 0 0,4-1 44 0 0,6-5-152 0 0,6 0-328 0 0,8-1-256 0 0,6 3 156 0 0</inkml:trace>
</inkml:ink>
</file>

<file path=ppt/ink/ink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5:18.587"/>
    </inkml:context>
    <inkml:brush xml:id="br0">
      <inkml:brushProperty name="width" value="0.1" units="cm"/>
      <inkml:brushProperty name="height" value="0.1" units="cm"/>
    </inkml:brush>
  </inkml:definitions>
  <inkml:trace contextRef="#ctx0" brushRef="#br0">57 31 164 0 0,'-47'-24'7967'0'0,"46"23"-7420"0"0,-8-5 905 0 0,18 12-1289 0 0,-1-1 0 0 0,1-1 1 0 0,0 1-1 0 0,1-1 0 0 0,-1-1 1 0 0,17 4-1 0 0,10 5 28 0 0,75 25 95 0 0,-69-25-261 0 0,-1 2 1 0 0,46 22-1 0 0,-82-34 27 0 0,-1 1-1 0 0,1 0 1 0 0,-1 0 0 0 0,1 0 0 0 0,-1 0 0 0 0,0 1 0 0 0,0-1-1 0 0,0 1 1 0 0,0 0 0 0 0,4 7 0 0 0,-7-8 16 0 0,1 0-1 0 0,-1 0 1 0 0,1 1 0 0 0,-1-1-1 0 0,0 0 1 0 0,0 1 0 0 0,-1-1 0 0 0,1 0-1 0 0,-1 1 1 0 0,1-1 0 0 0,-1 1-1 0 0,0-1 1 0 0,-1 1 0 0 0,1-1-1 0 0,0 1 1 0 0,-1-1 0 0 0,-1 5 0 0 0,-5 14 138 0 0,-2 0-1 0 0,0-1 1 0 0,-1 0 0 0 0,0-1 0 0 0,-2 0 0 0 0,-24 30 0 0 0,-99 102 1343 0 0,83-97-1468 0 0,-89 81 310 0 0,129-124-205 0 0,27-19-177 0 0,17-9-33 0 0,6 2 18 0 0,109-45 51 0 0,-122 47-22 0 0,0 0-1 0 0,-1-2 1 0 0,38-28 0 0 0,-43 27-12 0 0,-1-1 0 0 0,-1 0 0 0 0,0-1 0 0 0,22-30 1 0 0,-23 25-4 0 0,-10 12-8 0 0,-1 1 0 0 0,0-1 0 0 0,0 0 0 0 0,-1 0 0 0 0,-1 0 0 0 0,5-20 0 0 0,-7 28 1 0 0,-1-2-6 0 0,1 1-1 0 0,-1-1 1 0 0,0 0 0 0 0,0 0-1 0 0,0 1 1 0 0,0-1 0 0 0,-2-5-1 0 0,2 6 1150 0 0,-3-9-5275 0 0</inkml:trace>
</inkml:ink>
</file>

<file path=ppt/ink/ink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5:19.147"/>
    </inkml:context>
    <inkml:brush xml:id="br0">
      <inkml:brushProperty name="width" value="0.1" units="cm"/>
      <inkml:brushProperty name="height" value="0.1" units="cm"/>
    </inkml:brush>
  </inkml:definitions>
  <inkml:trace contextRef="#ctx0" brushRef="#br0">8 11 996 0 0,'-7'-10'4031'0'0,"50"30"-164"0"0,18 8-3258 0 0,10 9 59 0 0,-1-3-316 0 0,-2 3 0 0 0,74 53-1 0 0,-65-26-374 0 0,8 6 1590 0 0,-83-69-1246 0 0,-1-1-227 0 0,1 1 0 0 0,-1-1 1 0 0,1 1-1 0 0,-1 0 0 0 0,1-1 0 0 0,-1 1 0 0 0,0 0 0 0 0,1 0 0 0 0,-1 0 1 0 0,0 0-1 0 0,0 0 0 0 0,1 0 0 0 0,-1 0 0 0 0,0 1 0 0 0,1 1 0 0 0</inkml:trace>
</inkml:ink>
</file>

<file path=ppt/ink/ink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5:20.02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 4 312 0 0,'0'-4'4165'0'0,"16"9"-3271"0"0,22 12-617 0 0,-5 1 1 0 0,-1 1 0 0 0,-2 2 0 0 0,0 2 0 0 0,-1 0-1 0 0,48 51 1 0 0,-76-72-208 0 0,1 0 0 0 0,-1 0 0 0 0,0 0 0 0 0,1 0 0 0 0,-1 1 0 0 0,0-1 0 0 0,0 0 0 0 0,-1 0 0 0 0,1 1 0 0 0,0-1 0 0 0,-1 0 0 0 0,1 1-1 0 0,-1-1 1 0 0,0 1 0 0 0,0-1 0 0 0,0 0 0 0 0,0 1 0 0 0,0-1 0 0 0,0 1 0 0 0,-1-1 0 0 0,1 0 0 0 0,-1 1 0 0 0,0-1 0 0 0,0 0 0 0 0,0 1 0 0 0,0-1-1 0 0,-1 3 1 0 0,-5 5 1 0 0,1-1-1 0 0,-1 0 0 0 0,0 0 0 0 0,-14 12 0 0 0,12-12-44 0 0,-59 63 124 0 0,67-71-95 0 0,-5 4 212 0 0,6-9-264 0 0,1 1 1 0 0,0-1-1 0 0,0 1 1 0 0,0 0 0 0 0,0 0-1 0 0,1-1 1 0 0,-1 1 0 0 0,1 0-1 0 0,0 0 1 0 0,2-3-1 0 0,27-34-4 0 0,-20 27 0 0 0,64-68-40 0 0,-24 27-153 0 0,-42 48 79 0 0,-6 10 0 0 0,-7 12 81 0 0,-17 20 482 0 0,-3-2 0 0 0,0 0 1 0 0,-42 44-1 0 0,-96 78 1304 0 0,161-155-1198 0 0,11-21-463 0 0,80-92-576 0 0,22-26-8 0 0,-110 136 462 0 0,-3 5-61 0 0,1 0 90 0 0,-1-1 1 0 0,1 1-1 0 0,-1-1 1 0 0,0 1-1 0 0,0-1 1 0 0,0 0-1 0 0,0 1 1 0 0,-1-1-1 0 0,1 0 1 0 0,-4 4-1 0 0,-23 26-26 0 0,11-13 36 0 0,-46 64-3332 0 0</inkml:trace>
</inkml:ink>
</file>

<file path=ppt/ink/ink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5:20.643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61 65 448 0 0,'-71'-60'5143'0'0,"70"59"-5069"0"0,-5-2 341 0 0,12 6-88 0 0,-2 0-230 0 0,0 0 0 0 0,0 0 0 0 0,0-1 0 0 0,1 0 0 0 0,-1 0 0 0 0,6 2 0 0 0,7 3 234 0 0,105 45 978 0 0,-75-34-1036 0 0,51 28 0 0 0,-50-22-180 0 0,-28-14-44 0 0,35 22 1 0 0,-7-8 2952 0 0,-52-24-2912 0 0,-22-6 26 0 0,-44-17-1 0 0,1 0-41 0 0,-315-96 24 0 0,360 106-217 0 0,22 10 61 0 0,16 6 43 0 0,46 20-43 0 0,86 46 0 0 0,8 5 34 0 0,-103-49 206 0 0,-49-25-154 0 0,-17-1-5200 0 0,-2-3-89 0 0</inkml:trace>
</inkml:ink>
</file>

<file path=ppt/ink/ink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6:47.029"/>
    </inkml:context>
    <inkml:brush xml:id="br0">
      <inkml:brushProperty name="width" value="0.1" units="cm"/>
      <inkml:brushProperty name="height" value="0.1" units="cm"/>
    </inkml:brush>
  </inkml:definitions>
  <inkml:trace contextRef="#ctx0" brushRef="#br0">7 17 580 0 0,'0'0'3288'0'0,"2"-11"-1192"0"0,1 5-2487 0 0,-6 12-192 0 0,3-4-190 0 0,-8 4-1040 0 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05:37.22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306 4 344 0 0,'3'0'2086'0'0,"10"-3"821"0"0,-10 2-1954 0 0,-20 6 4277 0 0,-93 20-4328 0 0,-393 55 1036 0 0,358-65-1014 0 0,-220-6 0 0 0,333-10-686 0 0,-84 0-1281 0 0,113 1 578 0 0,0 0-36 0 0,-2 1 128 0 0,4-1 176 0 0,0 0 0 0 0,0 0-1 0 0,0 0 1 0 0,0 0 0 0 0,0 0 0 0 0,0 0-1 0 0,-1 0 1 0 0,1 0 0 0 0,0 1 0 0 0,0-1 0 0 0,0 0-1 0 0,0 1 1 0 0,0-1 0 0 0,0 1 0 0 0,0-1-1 0 0,0 1 1 0 0,0 0 0 0 0,1-1 0 0 0,-1 1 0 0 0,0 0-1 0 0,0-1 1 0 0,0 1 0 0 0,1 0 0 0 0,-1 0-1 0 0,0 1 1 0 0</inkml:trace>
</inkml:ink>
</file>

<file path=ppt/ink/ink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6:51.11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36 172 0 0,'6'-5'295'0'0,"1"1"0"0"0,0 0 0 0 0,0 1 0 0 0,0-1 0 0 0,0 1-1 0 0,0 0 1 0 0,1 1 0 0 0,-1 0 0 0 0,1 0 0 0 0,0 1 0 0 0,0 0 0 0 0,0 0 0 0 0,0 1 0 0 0,-1 0 0 0 0,15 1 0 0 0,-17 0-236 0 0,-1 0 0 0 0,1 0 0 0 0,-1 0 1 0 0,1 1-1 0 0,-1-1 0 0 0,0 1 0 0 0,0 0 1 0 0,0 0-1 0 0,0 1 0 0 0,0-1 0 0 0,0 1 1 0 0,-1 0-1 0 0,1 0 0 0 0,-1 0 1 0 0,0 0-1 0 0,0 0 0 0 0,0 1 0 0 0,0 0 1 0 0,0 0-1 0 0,-1-1 0 0 0,0 1 0 0 0,0 1 1 0 0,0-1-1 0 0,0 0 0 0 0,-1 0 0 0 0,1 1 1 0 0,-1-1-1 0 0,1 6 0 0 0,-2-5 21 0 0,0-1 0 0 0,0 0 0 0 0,0 0 0 0 0,0 0 1 0 0,-1 0-1 0 0,1 1 0 0 0,-1-1 0 0 0,0 0 0 0 0,0 0 0 0 0,-1 0 0 0 0,1 0 0 0 0,-1 0 0 0 0,0-1 0 0 0,0 1 0 0 0,-5 6 0 0 0,-3 4 363 0 0,-2 0-1 0 0,-19 18 0 0 0,-3 3 85 0 0,6 0-377 0 0,27-34-143 0 0,-7 9 810 0 0,9-4-705 0 0,0 0-1 0 0,0 0 1 0 0,1 0-1 0 0,0 0 1 0 0,0-1 0 0 0,0 1-1 0 0,1 0 1 0 0,4 6-1 0 0,-3-4-168 0 0,0 0 0 0 0,0 0 0 0 0,-1 1 0 0 0,3 10 0 0 0,-3-7-999 0 0,-1 0 1 0 0,0 0-1 0 0,-1 0 1 0 0,-1 0-1 0 0,0 1 0 0 0,-2 14 1 0 0,2-16-589 0 0</inkml:trace>
</inkml:ink>
</file>

<file path=ppt/ink/ink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6:51.47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3 0 660 0 0,'-1'3'978'0'0,"-7"22"2058"0"0,5-19-2070 0 0,1 0 0 0 0,0 0-1 0 0,0 0 1 0 0,1 1 0 0 0,-1-1 0 0 0,1 10-1 0 0,1-15-1102 0 0,0-1-1 0 0,1 0 1 0 0,-1 0-1 0 0,1 1 1 0 0,-1-1-1 0 0,0 0 1 0 0,1 0-1 0 0,-1 1 1 0 0,1-1-1 0 0,-1 0 1 0 0,1 0-1 0 0,-1 0 1 0 0,1 0-1 0 0,-1 0 1 0 0,1 0-1 0 0,-1 0 1 0 0,1 0-1 0 0,-1 0 1 0 0,1 0-1 0 0,-1 0 1 0 0,1 0-1 0 0,-1 0 1 0 0,1 0-1 0 0,-1 0 1 0 0,1 0-1 0 0,-1 0 1 0 0,1-1-1 0 0,11-2-2276 0 0</inkml:trace>
</inkml:ink>
</file>

<file path=ppt/ink/ink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6:51.83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98 108 0 0,'5'-8'487'0'0,"1"0"-1"0"0,0 1 1 0 0,1-1-1 0 0,-1 2 1 0 0,1-1-1 0 0,1 1 1 0 0,-1 0-1 0 0,1 0 1 0 0,0 1-1 0 0,15-7 1 0 0,-17 9-426 0 0,0 0 1 0 0,0 1-1 0 0,0-1 1 0 0,1 1 0 0 0,-1 1-1 0 0,1-1 1 0 0,-1 1-1 0 0,1 1 1 0 0,0-1-1 0 0,-1 1 1 0 0,1 0 0 0 0,0 0-1 0 0,-1 1 1 0 0,1 0-1 0 0,0 0 1 0 0,7 3 0 0 0,-11-3-51 0 0,-1 0 0 0 0,1 0 0 0 0,0 0 0 0 0,-1 0 0 0 0,1 1 0 0 0,-1-1 0 0 0,0 1 0 0 0,1 0 0 0 0,-1 0 0 0 0,0 0 0 0 0,0 0 0 0 0,0 0 0 0 0,0 0 0 0 0,-1 0 0 0 0,1 0 0 0 0,-1 1 0 0 0,1-1 0 0 0,-1 1 0 0 0,0 0 0 0 0,0-1 0 0 0,0 1 0 0 0,0 0 0 0 0,0-1 0 0 0,0 1 0 0 0,-1 0 0 0 0,0 0 0 0 0,1 0 0 0 0,-1-1 0 0 0,0 1 0 0 0,0 0 0 0 0,-1 0 0 0 0,0 4 0 0 0,-2 9 118 0 0,-1-1 0 0 0,-1 1 1 0 0,-1-1-1 0 0,-13 26 0 0 0,1-1-60 0 0,14-30 31 0 0,-5 14-104 0 0,1 0 0 0 0,-8 42 0 0 0,14-60-42 0 0,1 1 0 0 0,1 0 0 0 0,-1-1 1 0 0,1 1-1 0 0,0 0 0 0 0,1-1 0 0 0,0 1 0 0 0,0 0 0 0 0,0-1 0 0 0,1 1 1 0 0,0-1-1 0 0,0 0 0 0 0,1 1 0 0 0,-1-1 0 0 0,6 7 0 0 0,1 11 1465 0 0,-3-8 2533 0 0</inkml:trace>
</inkml:ink>
</file>

<file path=ppt/ink/ink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6:52.82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7 107 344 0 0,'-1'-3'269'0'0,"0"1"0"0"0,0-1 1 0 0,0 0-1 0 0,1 1 0 0 0,0-1 0 0 0,-1 0 1 0 0,1 0-1 0 0,0 0 0 0 0,0 1 0 0 0,1-1 0 0 0,-1 0 1 0 0,1 0-1 0 0,-1 1 0 0 0,1-1 0 0 0,0 0 1 0 0,0 1-1 0 0,0-1 0 0 0,0 1 0 0 0,0-1 0 0 0,2-2 1 0 0,0 1-79 0 0,0 0-1 0 0,0 0 1 0 0,0 0 0 0 0,0 0 0 0 0,1 1 0 0 0,0-1 0 0 0,-1 1 0 0 0,1 0 0 0 0,8-5 0 0 0,-9 7-162 0 0,-1 0 0 0 0,1 0 1 0 0,0 0-1 0 0,0 0 0 0 0,0 1 0 0 0,0-1 1 0 0,0 1-1 0 0,0 0 0 0 0,0 0 1 0 0,0 0-1 0 0,0 0 0 0 0,0 1 0 0 0,0-1 1 0 0,0 1-1 0 0,0-1 0 0 0,0 1 0 0 0,0 0 1 0 0,0 0-1 0 0,0 1 0 0 0,0-1 1 0 0,-1 0-1 0 0,5 4 0 0 0,-4-3-2 0 0,-1 0-1 0 0,0 1 1 0 0,1-1-1 0 0,-1 1 1 0 0,0-1-1 0 0,-1 1 1 0 0,1-1-1 0 0,0 1 1 0 0,-1 0-1 0 0,1 0 1 0 0,-1 0-1 0 0,0 0 1 0 0,0 0-1 0 0,0 0 1 0 0,0 0-1 0 0,-1 0 1 0 0,1 1-1 0 0,-1-1 1 0 0,0 0-1 0 0,0 0 1 0 0,0 0-1 0 0,0 1 1 0 0,-1-1-1 0 0,1 0 1 0 0,-1 0-1 0 0,0 0 1 0 0,0 0-1 0 0,-1 4 1 0 0,-5 9 229 0 0,0-1 0 0 0,-1 0 0 0 0,0-1 0 0 0,-14 18 0 0 0,7-9-37 0 0,-27 32 313 0 0,31-43-451 0 0,1 1-1 0 0,1 0 1 0 0,0 1-1 0 0,-8 15 0 0 0,13-21 217 0 0,-1-1 0 0 0,0 1 0 0 0,-12 12 1 0 0,16-18 107 0 0,1-2-388 0 0,0 1 1 0 0,0 0-1 0 0,0-1 1 0 0,0 1-1 0 0,1 0 0 0 0,-1-1 1 0 0,0 1-1 0 0,1-1 1 0 0,-1 1-1 0 0,0 0 1 0 0,1-1-1 0 0,-1 1 0 0 0,1-1 1 0 0,-1 1-1 0 0,1-1 1 0 0,-1 1-1 0 0,1-1 1 0 0,-1 1-1 0 0,1-1 0 0 0,0 0 1 0 0,-1 1-1 0 0,1-1 1 0 0,-1 0-1 0 0,1 0 1 0 0,0 1-1 0 0,-1-1 0 0 0,1 0 1 0 0,0 0-1 0 0,0 0 1 0 0,0 0-27 0 0,2 1 69 0 0,35 11-1041 0 0,-36-11 756 0 0,0 0-1 0 0,0 0 0 0 0,0 0 0 0 0,0 1 1 0 0,0-1-1 0 0,-1 1 0 0 0,1 0 1 0 0,0-1-1 0 0,0 1 0 0 0,-1 0 1 0 0,0 0-1 0 0,1 0 0 0 0,-1 0 1 0 0,0 0-1 0 0,0 0 0 0 0,0 0 1 0 0,0 1-1 0 0,0-1 0 0 0,0 0 1 0 0,-1 0-1 0 0,1 1 0 0 0,-1-1 1 0 0,0 1-1 0 0,1 3 0 0 0,-2 4-357 0 0,1 1-1 0 0,-1 0 0 0 0,-1-1 0 0 0,-2 13 0 0 0,0-5 180 0 0,-3 10 811 0 0,-14 40 1 0 0,1-3 2767 0 0,16-50-2248 0 0,-1 10 1362 0 0,4-7-8652 0 0</inkml:trace>
</inkml:ink>
</file>

<file path=ppt/ink/ink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6:53.20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87 748 0 0,'7'-10'605'0'0,"1"0"0"0"0,1 1 0 0 0,0 0 0 0 0,0 1 1 0 0,1 0-1 0 0,0 0 0 0 0,0 1 0 0 0,16-8 0 0 0,-22 14-565 0 0,1 0 1 0 0,0 1-1 0 0,0 0 1 0 0,0 0-1 0 0,0 0 1 0 0,0 0-1 0 0,-1 1 0 0 0,1 0 1 0 0,0 0-1 0 0,0 0 1 0 0,0 0-1 0 0,-1 1 1 0 0,1 0-1 0 0,-1 0 1 0 0,0 0-1 0 0,1 0 1 0 0,6 6-1 0 0,-5-3-20 0 0,0 1 0 0 0,-1-1 1 0 0,0 1-1 0 0,0 0 0 0 0,0 0 0 0 0,-1 1 0 0 0,0-1 1 0 0,0 1-1 0 0,-1 0 0 0 0,0 0 0 0 0,0 0 0 0 0,0 1 1 0 0,-1-1-1 0 0,0 1 0 0 0,-1-1 0 0 0,1 1 0 0 0,-2 0 1 0 0,1-1-1 0 0,-1 1 0 0 0,-1 10 0 0 0,-2 8 87 0 0,-1 0-1 0 0,-1 0 1 0 0,-1-1-1 0 0,-16 40 1 0 0,12-39-118 0 0,3-9-28 0 0,1-1 0 0 0,-4 20 0 0 0,9-31-475 0 0,1 0 0 0 0,-1 0 0 0 0,1 1 0 0 0,0-1 1 0 0,0 0-1 0 0,1 9 0 0 0,2-3-1236 0 0</inkml:trace>
</inkml:ink>
</file>

<file path=ppt/ink/ink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6:53.57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0 0 932 0 0,'2'3'288'0'0,"-1"-2"-42"0"0,-1 0 0 0 0,1-1 0 0 0,0 1 0 0 0,-1 0 0 0 0,1 0 0 0 0,-1 0 0 0 0,1 0 0 0 0,-1 0 1 0 0,1 0-1 0 0,-1 0 0 0 0,0 0 0 0 0,1 0 0 0 0,-1 0 0 0 0,0 0 0 0 0,0 0 0 0 0,0 0 0 0 0,0 0 0 0 0,0 0 0 0 0,0 0 0 0 0,0 0 0 0 0,0 0 0 0 0,0 0 0 0 0,-1 0 0 0 0,1 0 0 0 0,0 0 0 0 0,-1 0 0 0 0,1 0 0 0 0,0-1 0 0 0,-1 1 0 0 0,1 0 0 0 0,-1 0 0 0 0,1 0 0 0 0,-1 0 1 0 0,-1 1-1 0 0,0-1 156 0 0,-10 3 558 0 0,3-1-984 0 0,6-3-308 0 0,1 2-350 0 0,-1-1 317 0 0,-1 1-29 0 0,-13 8-6599 0 0</inkml:trace>
</inkml:ink>
</file>

<file path=ppt/ink/ink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6:58.04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320 0 0,'0'0'2456'0'0,"14"0"-1254"0"0,-12 7-2550 0 0</inkml:trace>
</inkml:ink>
</file>

<file path=ppt/ink/ink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02.03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820 0 0,'5'103'7170'0'0,"11"49"-3834"0"0,-1-23-2086 0 0,-13-112-970 0 0,3 45-131 0 0,-4-21 2699 0 0,-5-44-2579 0 0,4 3-264 0 0,0 0 0 0 0,0 0-1 0 0,-1 0 1 0 0,1 0 0 0 0,0 0-1 0 0,0 0 1 0 0,-1 0 0 0 0,1-1 0 0 0,0 1-1 0 0,0 0 1 0 0,-1 0 0 0 0,1 0-1 0 0,0 0 1 0 0,0 0 0 0 0,0 0-1 0 0,-1-1 1 0 0,1 1 0 0 0,0 0-1 0 0,0 0 1 0 0,0 0 0 0 0,0 0 0 0 0,0-1-1 0 0,-1 1 1 0 0,1 0 0 0 0,0 0-1 0 0,0-1 1 0 0,0 1 0 0 0,0 0-1 0 0,0 0 1 0 0,0 0 0 0 0,0-1 0 0 0,0 1-1 0 0,0 0 1 0 0,0 0 0 0 0,0-1-1 0 0,0 1 1 0 0,0 0 0 0 0,0 0-1 0 0,0-1 1 0 0,0 1 0 0 0,2-6 12 0 0,0 0-1 0 0,1 0 1 0 0,-1 1 0 0 0,1-1-1 0 0,0 1 1 0 0,1 0 0 0 0,-1 0-1 0 0,1 0 1 0 0,0 0 0 0 0,1 1 0 0 0,-1 0-1 0 0,1 0 1 0 0,0 0 0 0 0,0 0-1 0 0,0 1 1 0 0,10-6 0 0 0,-4 3-26 0 0,1 0 1 0 0,0 1-1 0 0,1 0 0 0 0,-1 1 1 0 0,1 1-1 0 0,0 0 1 0 0,14-2-1 0 0,-14 4-3 0 0,0 0 0 0 0,0 1-1 0 0,0 1 1 0 0,0 0 0 0 0,0 1 0 0 0,20 5-1 0 0,-26-5 7 0 0,0 0 0 0 0,-1 1 0 0 0,1-1 0 0 0,-1 1 0 0 0,0 1 0 0 0,1-1 1 0 0,-2 1-1 0 0,1 0 0 0 0,0 0 0 0 0,-1 1 0 0 0,0 0 0 0 0,0 0 0 0 0,8 10 0 0 0,-11-13 5 0 0,-1 0 1 0 0,0 0-1 0 0,0 0 1 0 0,0 0-1 0 0,0 0 0 0 0,0 0 1 0 0,0 0-1 0 0,0 0 1 0 0,-1 1-1 0 0,1-1 1 0 0,-1 0-1 0 0,0 0 0 0 0,1 1 1 0 0,-1-1-1 0 0,0 0 1 0 0,0 1-1 0 0,-1-1 1 0 0,1 0-1 0 0,0 1 1 0 0,-1-1-1 0 0,0 3 0 0 0,-1-2 2 0 0,0 1 0 0 0,0-1-1 0 0,0 1 1 0 0,-1-1-1 0 0,1 0 1 0 0,-1 0-1 0 0,0 0 1 0 0,1 0-1 0 0,-1 0 1 0 0,-1-1-1 0 0,-3 4 1 0 0,-7 2 7 0 0,0 0-1 0 0,0-1 1 0 0,-1 0 0 0 0,-29 8 0 0 0,31-11-277 0 0,-1-1 0 0 0,1 0 1 0 0,0-1-1 0 0,-1 0 1 0 0,1-1-1 0 0,-1-1 1 0 0,1 0-1 0 0,-1-1 1 0 0,1 0-1 0 0,-1-1 1 0 0,-25-8-1 0 0,38 10-31 0 0,0-1 0 0 0,0 0-1 0 0,0 0 1 0 0,0 0 0 0 0,0 0-1 0 0,1 0 1 0 0,-1 0 0 0 0,0 0-1 0 0,0 0 1 0 0,1 0 0 0 0,-1 0-1 0 0,1 0 1 0 0,-1 0 0 0 0,1 0 0 0 0,-1 0-1 0 0,1-1 1 0 0,0 1 0 0 0,0 0-1 0 0,-1 0 1 0 0,1-3 0 0 0</inkml:trace>
</inkml:ink>
</file>

<file path=ppt/ink/ink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02.45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9 0 536 0 0,'1'3'1456'0'0,"8"22"1013"0"0,-1-1-947 0 0,1-1 1 0 0,1 0-1 0 0,23 39 1 0 0,-29-56-1450 0 0,0-1 0 0 0,1 1 1 0 0,-1-1-1 0 0,1 1 0 0 0,0-1 1 0 0,0-1-1 0 0,1 1 0 0 0,-1-1 1 0 0,1 0-1 0 0,0 0 1 0 0,0 0-1 0 0,0-1 0 0 0,1 0 1 0 0,-1-1-1 0 0,1 1 0 0 0,0-1 1 0 0,0 0-1 0 0,11 1 0 0 0,-12-3-86 0 0,0 0 0 0 0,0 0-1 0 0,0 0 1 0 0,0-1 0 0 0,0 0 0 0 0,0 0-1 0 0,0-1 1 0 0,11-3 0 0 0,45-26-474 0 0,-13 7 77 0 0,-46 22 346 0 0,-2 2 57 0 0,0 0 0 0 0,0 0 0 0 0,0 0-1 0 0,0 0 1 0 0,0 0 0 0 0,0 0 0 0 0,-1 1 0 0 0,1-1-1 0 0,0 0 1 0 0,0 0 0 0 0,0 1 0 0 0,0-1-1 0 0,0 0 1 0 0,0 1 0 0 0,-1-1 0 0 0,1 1-1 0 0,0-1 1 0 0,0 1 0 0 0,-1-1 0 0 0,1 1 0 0 0,0 0-1 0 0,-1-1 1 0 0,1 1 0 0 0,-1 0 0 0 0,1-1-1 0 0,-1 1 1 0 0,1 0 0 0 0,-1 0 0 0 0,1 0 0 0 0,-1 0-1 0 0,0-1 1 0 0,1 2 0 0 0,7 31-104 0 0,-5-7 329 0 0,-2-1 0 0 0,0 1 0 0 0,-2 0 0 0 0,-1-1 1 0 0,-1 1-1 0 0,-1-1 0 0 0,-12 41 0 0 0,12-51-33 0 0,-2 0 1 0 0,0-1-1 0 0,0 0 0 0 0,-1-1 0 0 0,-1 0 1 0 0,0 0-1 0 0,-1 0 0 0 0,-1-1 1 0 0,1 0-1 0 0,-2-1 0 0 0,0 0 0 0 0,0-1 1 0 0,-1 0-1 0 0,-15 9 0 0 0,20-14-49 0 0,-1-1-1 0 0,1-1 0 0 0,-1 1 0 0 0,0-1 0 0 0,0-1 0 0 0,0 0 0 0 0,0 0 0 0 0,-1 0 1 0 0,1-1-1 0 0,0 0 0 0 0,-1-1 0 0 0,1 0 0 0 0,-1 0 0 0 0,1-1 0 0 0,-1 0 0 0 0,-15-4 1 0 0,18 4-130 0 0,1-1 0 0 0,0 0 0 0 0,0-1 1 0 0,-1 1-1 0 0,1-1 0 0 0,1 0 1 0 0,-1 0-1 0 0,0 0 0 0 0,1 0 1 0 0,0-1-1 0 0,-1 0 0 0 0,1 0 1 0 0,1 0-1 0 0,-1-1 0 0 0,1 1 1 0 0,-1-1-1 0 0,2 0 0 0 0,-1 0 1 0 0,0 0-1 0 0,1 0 0 0 0,0 0 1 0 0,0-1-1 0 0,0 1 0 0 0,1-1 1 0 0,-2-10-1 0 0,2 3-271 0 0,1 0 0 0 0,0 0-1 0 0,0 0 1 0 0,2 0 0 0 0,-1 0 0 0 0,2 0 0 0 0,0 0-1 0 0,0 1 1 0 0,1-1 0 0 0,6-11 0 0 0,-2 5-1136 0 0,1 2 1 0 0,1-1 0 0 0,1 2-1 0 0,1-1 1 0 0,25-27-1 0 0,-16 22-2376 0 0</inkml:trace>
</inkml:ink>
</file>

<file path=ppt/ink/ink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03.23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43 296 0 0,'3'0'1293'0'0,"1"2"-975"0"0,0 0 0 0 0,0 0-1 0 0,0 0 1 0 0,0 0 0 0 0,0 1-1 0 0,0-1 1 0 0,-1 1 0 0 0,1 0-1 0 0,-1 0 1 0 0,0 0 0 0 0,0 1-1 0 0,0-1 1 0 0,0 1 0 0 0,-1 0-1 0 0,4 6 1 0 0,5 10 733 0 0,15 36-1 0 0,-24-51-906 0 0,8 19 310 0 0,0 1 0 0 0,-2 1 0 0 0,-1-1-1 0 0,-2 1 1 0 0,5 40 0 0 0,-9-57-311 0 0,-1 1 0 0 0,-1-1 0 0 0,1 1 0 0 0,-1-1 0 0 0,-1 0 0 0 0,0 1 0 0 0,0-1 0 0 0,-5 11 0 0 0,5-14 28 0 0,-1-1 0 0 0,0 0 0 0 0,0 1 0 0 0,0-1 0 0 0,-1-1 0 0 0,0 1 0 0 0,0 0 0 0 0,0-1 0 0 0,-1 0 0 0 0,1 0 0 0 0,-1 0 0 0 0,0 0 0 0 0,-10 5 0 0 0,13-8-138 0 0,1 0 0 0 0,0 0 0 0 0,-1 0-1 0 0,1-1 1 0 0,-1 1 0 0 0,1-1 0 0 0,-1 1 0 0 0,1-1-1 0 0,-1 1 1 0 0,0-1 0 0 0,1 0 0 0 0,-1 0-1 0 0,0 1 1 0 0,1-1 0 0 0,-1-1 0 0 0,0 1 0 0 0,1 0-1 0 0,-1 0 1 0 0,1-1 0 0 0,-1 1 0 0 0,0 0-1 0 0,1-1 1 0 0,-1 0 0 0 0,1 1 0 0 0,-1-1-1 0 0,1 0 1 0 0,0 0 0 0 0,-1 0 0 0 0,1 0 0 0 0,0 0-1 0 0,-1 0 1 0 0,1 0 0 0 0,0 0 0 0 0,-2-3-1 0 0,2 2-22 0 0,0 0-1 0 0,0 0 1 0 0,0-1-1 0 0,0 1 1 0 0,0 0-1 0 0,0 0 1 0 0,1-1-1 0 0,-1 1 1 0 0,1-1-1 0 0,0 1 1 0 0,-1 0-1 0 0,1-1 1 0 0,0 1-1 0 0,0-1 1 0 0,1 1 0 0 0,-1 0-1 0 0,0-1 1 0 0,1 1-1 0 0,0 0 1 0 0,-1-1-1 0 0,3-2 1 0 0,2-3-31 0 0,0 0 0 0 0,0 1 0 0 0,1-1 1 0 0,0 2-1 0 0,0-1 0 0 0,1 1 1 0 0,0 0-1 0 0,13-9 0 0 0,67-36-112 0 0,-76 44 117 0 0,37-14-69 0 0,0 1 0 0 0,58-16-1 0 0,34-13-11 0 0,-117 40 93 0 0,-1-2 0 0 0,1-1 0 0 0,36-26 0 0 0,-51 31-5 0 0,0 1-1 0 0,0-2 1 0 0,-1 1 0 0 0,0-1 0 0 0,-1 0-1 0 0,10-16 1 0 0,-15 22 4 0 0,1-1-1 0 0,-1 1 1 0 0,0-1 0 0 0,0 1 0 0 0,0-1-1 0 0,-1 1 1 0 0,1-1 0 0 0,0 0 0 0 0,-1 1-1 0 0,0-1 1 0 0,0 0 0 0 0,0 1-1 0 0,0-5 1 0 0,-1 5 1 0 0,1 1 0 0 0,-1-1-1 0 0,0 0 1 0 0,1 1 0 0 0,-1-1 0 0 0,0 1-1 0 0,0-1 1 0 0,0 1 0 0 0,0 0 0 0 0,-1-1-1 0 0,1 1 1 0 0,0 0 0 0 0,0 0-1 0 0,-1 0 1 0 0,1 0 0 0 0,-1 0 0 0 0,1 0-1 0 0,-1 0 1 0 0,1 0 0 0 0,-1 1 0 0 0,0-1-1 0 0,-3-1 1 0 0,-2 0-10 0 0,-1 1 0 0 0,0-1 0 0 0,0 1 0 0 0,0 0 0 0 0,0 1 0 0 0,-1 0 0 0 0,1 0 0 0 0,0 1 0 0 0,0 0 0 0 0,0 0 0 0 0,0 1 0 0 0,0 0 0 0 0,1 1 0 0 0,-1-1 0 0 0,-12 8 0 0 0,7-4 3 0 0,1 1 1 0 0,0 1-1 0 0,1 0 1 0 0,0 0-1 0 0,0 1 0 0 0,1 0 1 0 0,0 1-1 0 0,-12 15 1 0 0,19-20 47 0 0,-1 0-1 0 0,1 0 1 0 0,0 0 0 0 0,1 1 0 0 0,-1 0-1 0 0,1-1 1 0 0,0 1 0 0 0,0 0 0 0 0,1 0 0 0 0,0 0-1 0 0,0 0 1 0 0,0 0 0 0 0,1 0 0 0 0,0 0-1 0 0,0 0 1 0 0,0 0 0 0 0,2 6 0 0 0,-1-7 0 0 0,0 0 1 0 0,0-1 0 0 0,0 1-1 0 0,1-1 1 0 0,0 0 0 0 0,0 1-1 0 0,0-1 1 0 0,0 0 0 0 0,1 0-1 0 0,-1 0 1 0 0,1 0-1 0 0,0-1 1 0 0,0 1 0 0 0,1-1-1 0 0,-1 0 1 0 0,1 0 0 0 0,-1 0-1 0 0,1 0 1 0 0,0-1 0 0 0,0 1-1 0 0,8 2 1 0 0,-9-4-42 0 0,0 0 1 0 0,0 0 0 0 0,1 0-1 0 0,-1-1 1 0 0,0 0-1 0 0,1 1 1 0 0,-1-1 0 0 0,0-1-1 0 0,0 1 1 0 0,1 0-1 0 0,-1-1 1 0 0,0 0-1 0 0,0 1 1 0 0,1-1 0 0 0,-1 0-1 0 0,0-1 1 0 0,0 1-1 0 0,0-1 1 0 0,0 1-1 0 0,-1-1 1 0 0,1 0 0 0 0,3-3-1 0 0,5-4-74 0 0,0-1-1 0 0,-1-1 1 0 0,16-19-1 0 0,-11 11 81 0 0,33-41-371 0 0,-46 59 301 0 0,2 31-151 0 0,-4-3 141 0 0,1-1 0 0 0,1 1 0 0 0,1-1 1 0 0,7 31-1 0 0,-7-46-302 0 0,-3-9 150 0 0,1 1 1 0 0,-1-1-1 0 0,1 0 0 0 0,-1 0 0 0 0,1 0 1 0 0,0 0-1 0 0,0 0 0 0 0,0 0 1 0 0,0 0-1 0 0,0 0 0 0 0,0 0 0 0 0,0 0 1 0 0,1 0-1 0 0,-1-1 0 0 0,1 1 1 0 0,-1-1-1 0 0,1 1 0 0 0,-1-1 0 0 0,1 1 1 0 0,4 1-1 0 0,-5-3 39 0 0,0 0 1 0 0,0 1 0 0 0,0-1-1 0 0,-1 0 1 0 0,1 0-1 0 0,0 0 1 0 0,0 0-1 0 0,0-1 1 0 0,0 1-1 0 0,0 0 1 0 0,0 0 0 0 0,0 0-1 0 0,0-1 1 0 0,0 1-1 0 0,-1 0 1 0 0,1-1-1 0 0,0 1 1 0 0,0-1-1 0 0,0 1 1 0 0,-1-1-1 0 0,1 0 1 0 0,0 1 0 0 0,1-2-1 0 0,10-8-3101 0 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05:37.58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4 73 120 0 0,'1'-3'608'0'0,"2"-7"1070"0"0,1-1-1 0 0,-2 1 1 0 0,1-1 0 0 0,0-16-1 0 0,-18 37-1125 0 0,10-5-436 0 0,1 0 0 0 0,-1 0 0 0 0,1 1 1 0 0,0 0-1 0 0,0 0 0 0 0,0 0 0 0 0,1 0 1 0 0,0 0-1 0 0,-3 10 0 0 0,-17 61 661 0 0,22-72-698 0 0,-2 6 57 0 0,1-1 1 0 0,0 1-1 0 0,1 0 0 0 0,0 0 1 0 0,1-1-1 0 0,0 1 1 0 0,1 0-1 0 0,0 0 1 0 0,1-1-1 0 0,0 1 0 0 0,4 11 1 0 0,-3-14-30 0 0,0 0 1 0 0,1-1 0 0 0,0 1-1 0 0,0-1 1 0 0,0 0-1 0 0,1 0 1 0 0,1 0 0 0 0,-1-1-1 0 0,1 1 1 0 0,0-1-1 0 0,0-1 1 0 0,1 1 0 0 0,0-1-1 0 0,9 6 1 0 0,3-1 63 0 0,1-1 0 0 0,-1-1 0 0 0,1-1 0 0 0,34 8 0 0 0,4-1-2933 0 0,-12-4-4296 0 0</inkml:trace>
</inkml:ink>
</file>

<file path=ppt/ink/ink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03.61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40 520 0 0,'6'-8'1328'0'0,"-2"4"-446"0"0,-1 1 0 0 0,0-1 0 0 0,0 0 0 0 0,0-1-1 0 0,3-7 1 0 0,-1 14 158 0 0,-5-2-1006 0 0,0 0 0 0 0,0 0 0 0 0,1 0 0 0 0,-1 0 1 0 0,0 0-1 0 0,1 0 0 0 0,-1 0 0 0 0,0 1 0 0 0,1-1 0 0 0,-1 0 0 0 0,0 0 1 0 0,0 0-1 0 0,1 0 0 0 0,-1 0 0 0 0,0 0 0 0 0,1 0 0 0 0,-1 1 0 0 0,0-1 1 0 0,0 0-1 0 0,0 0 0 0 0,1 0 0 0 0,-1 1 0 0 0,0-1 0 0 0,0 0 0 0 0,0 0 1 0 0,1 1-1 0 0,-1-1 0 0 0,0 0 0 0 0,0 0 0 0 0,0 1 0 0 0,0-1 0 0 0,0 1 1 0 0,1 14 1098 0 0,0 0 1 0 0,-4 26 0 0 0,0 8 371 0 0,5 51 790 0 0,-2-98-1312 0 0,3-2-781 0 0,0-1-207 0 0,0-1-1 0 0,0 1 1 0 0,0-1 0 0 0,0 0 0 0 0,0 1 0 0 0,0-1 0 0 0,-1 0 0 0 0,1-1 0 0 0,-1 1 0 0 0,1 0 0 0 0,3-6-1 0 0,27-39-306 0 0,-14 20 228 0 0,-10 15 39 0 0,2-3-74 0 0,1 0-1 0 0,0 1 0 0 0,0 1 0 0 0,27-23 0 0 0,-36 35 56 0 0,1 2 18 0 0,-1 0 41 0 0,0 1 0 0 0,0 0 1 0 0,0 0-1 0 0,0 0 0 0 0,-1 0 1 0 0,1 0-1 0 0,0 0 0 0 0,-1 1 1 0 0,0-1-1 0 0,1 1 1 0 0,-1 0-1 0 0,0 0 0 0 0,-1 0 1 0 0,1 0-1 0 0,0 0 0 0 0,1 5 1 0 0,35 99 866 0 0,-1-4-1739 0 0,-36-101 701 0 0,-1-1-1 0 0,1 0 0 0 0,-1 1 1 0 0,1-1-1 0 0,0 0 0 0 0,-1 1 1 0 0,1-1-1 0 0,0 0 1 0 0,0 0-1 0 0,0 0 0 0 0,0 0 1 0 0,0 0-1 0 0,0 0 0 0 0,0 0 1 0 0,0 0-1 0 0,0 0 0 0 0,1-1 1 0 0,-1 1-1 0 0,0 0 1 0 0,0-1-1 0 0,1 1 0 0 0,-1-1 1 0 0,0 1-1 0 0,1-1 0 0 0,1 1 1 0 0,-1-2-221 0 0,0 1 1 0 0,0 0-1 0 0,1-1 1 0 0,-1 1-1 0 0,0-1 1 0 0,0 0 0 0 0,-1 0-1 0 0,1 0 1 0 0,0 0-1 0 0,0 0 1 0 0,0 0-1 0 0,-1 0 1 0 0,4-3-1 0 0,10-11-3442 0 0</inkml:trace>
</inkml:ink>
</file>

<file path=ppt/ink/ink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03.95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12 10 1584 0 0,'8'-10'5925'0'0,"-17"17"-5576"0"0,0-1 0 0 0,0 1 0 0 0,0 1 0 0 0,1 0 0 0 0,1 0-1 0 0,-1 1 1 0 0,1-1 0 0 0,1 2 0 0 0,-1-1 0 0 0,1 1 0 0 0,1 0-1 0 0,0 0 1 0 0,1 0 0 0 0,-4 13 0 0 0,5-14-225 0 0,0 0-1 0 0,1 0 1 0 0,0 0 0 0 0,1 0-1 0 0,0 0 1 0 0,0 1 0 0 0,1-1 0 0 0,0 0-1 0 0,1 0 1 0 0,0 1 0 0 0,1-1-1 0 0,0 0 1 0 0,0 0 0 0 0,0 0 0 0 0,1-1-1 0 0,1 1 1 0 0,7 14 0 0 0,-4-13-68 0 0,0 0 0 0 0,1 0 0 0 0,1 0 0 0 0,-1-1 0 0 0,1-1-1 0 0,1 1 1 0 0,-1-2 0 0 0,2 1 0 0 0,-1-1 0 0 0,1-1 0 0 0,22 11 0 0 0,-27-14-156 0 0,0-1-1 0 0,1 0 0 0 0,-1 0 0 0 0,1 0 1 0 0,-1-1-1 0 0,1 0 0 0 0,0 0 1 0 0,-1-1-1 0 0,1 0 0 0 0,0 0 0 0 0,-1 0 1 0 0,1-1-1 0 0,0 0 0 0 0,-1-1 1 0 0,1 1-1 0 0,-1-1 0 0 0,0 0 1 0 0,1-1-1 0 0,-1 1 0 0 0,0-1 0 0 0,0-1 1 0 0,-1 1-1 0 0,1-1 0 0 0,5-4 1 0 0,12-16-197 0 0,0 0 1 0 0,-2-1-1 0 0,0-2 1 0 0,-2 0-1 0 0,16-30 1 0 0,-5 8 1054 0 0,-20 37-513 0 0,-10 12-228 0 0,0 0-1 0 0,1 0 0 0 0,-1 0 0 0 0,0 0 0 0 0,0 0 0 0 0,0 0 1 0 0,0 0-1 0 0,0 0 0 0 0,0 0 0 0 0,0 0 0 0 0,1 0 0 0 0,-1 0 1 0 0,0 0-1 0 0,0 0 0 0 0,0 0 0 0 0,0 0 0 0 0,0 0 0 0 0,0 0 0 0 0,1 0 1 0 0,-1 0-1 0 0,0 0 0 0 0,0 0 0 0 0,0 0 0 0 0,0 0 0 0 0,0 0 1 0 0,0 0-1 0 0,0 0 0 0 0,1 0 0 0 0,-1 0 0 0 0,0 0 0 0 0,0 1 1 0 0,0-1-1 0 0,0 0 0 0 0,0 0 0 0 0,0 0 0 0 0,0 0 0 0 0,0 0 1 0 0,0 0-1 0 0,0 0 0 0 0,0 0 0 0 0,0 1 0 0 0,1-1 0 0 0,-1 0 1 0 0,0 0-1 0 0,0 0 0 0 0,0 0 0 0 0,0 0 0 0 0,0 1 0 0 0,0 24 1579 0 0,-1-11-1629 0 0,2 27 1034 0 0,12 72 1 0 0,6-11-3937 0 0,-10-81-3530 0 0</inkml:trace>
</inkml:ink>
</file>

<file path=ppt/ink/ink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04.30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92 144 1792 0 0,'-45'-72'6604'0'0,"-1"2"-3608"0"0,45 68-3364 0 0</inkml:trace>
</inkml:ink>
</file>

<file path=ppt/ink/ink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04.80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16 700 0 0,'7'10'1080'0'0,"-1"0"1"0"0,-1 1-1 0 0,0 0 0 0 0,0 0 1 0 0,-1 0-1 0 0,5 21 1 0 0,10 73 1339 0 0,-18-92-2191 0 0,10 83 3318 0 0,7-111-3279 0 0,-9 4-354 0 0,0 1-1 0 0,0 0 0 0 0,1 0 0 0 0,1 1 0 0 0,-1 0 1 0 0,2 1-1 0 0,-1 1 0 0 0,1-1 0 0 0,0 2 0 0 0,0 0 1 0 0,24-8-1 0 0,-32 13 74 0 0,0 0-1 0 0,-1 0 1 0 0,1 1 0 0 0,0 0 0 0 0,0 0-1 0 0,-1 0 1 0 0,1 0 0 0 0,0 1 0 0 0,-1-1-1 0 0,1 1 1 0 0,0 0 0 0 0,-1 0 0 0 0,1 0 0 0 0,-1 1-1 0 0,0-1 1 0 0,1 1 0 0 0,-1 0 0 0 0,4 2-1 0 0,5 5-30 0 0,0-1 0 0 0,20 21 0 0 0,-31-28 44 0 0,35 35-20 0 0,-14-13 56 0 0,48 37 1 0 0,-68-58-29 0 0,0 0 1 0 0,0-1-1 0 0,1 1 1 0 0,-1-1-1 0 0,0 0 1 0 0,1 0-1 0 0,-1 0 1 0 0,1 0-1 0 0,-1 0 1 0 0,1 0-1 0 0,-1-1 1 0 0,1 1-1 0 0,0-1 1 0 0,-1 0-1 0 0,1 1 1 0 0,-1-1-1 0 0,1 0 1 0 0,0-1-1 0 0,-1 1 1 0 0,1 0-1 0 0,0-1 1 0 0,-1 0-1 0 0,1 1 1 0 0,-1-1-1 0 0,1 0 1 0 0,-1 0-1 0 0,1-1 1 0 0,-1 1-1 0 0,0 0 1 0 0,0-1-1 0 0,0 0 1 0 0,0 1-1 0 0,0-1 1 0 0,0 0-1 0 0,0 0 1 0 0,2-3-1 0 0,9-15-194 0 0,0-1-1 0 0,-2 0 0 0 0,-1 0 0 0 0,13-38 1 0 0,3-7-26 0 0,-5 26-124 0 0,-20 38 286 0 0,1 23-71 0 0,-20 158 1251 0 0,17-164-1001 0 0,-1 0 0 0 0,0 0-1 0 0,-2 0 1 0 0,1-1 0 0 0,-2 0 0 0 0,0 1-1 0 0,0-1 1 0 0,-13 21 0 0 0,13-28-86 0 0,1 0 0 0 0,-1 0-1 0 0,-1 0 1 0 0,1 0 0 0 0,-1-1 0 0 0,0 0 0 0 0,-1-1 0 0 0,0 1 0 0 0,1-1 0 0 0,-2 0 0 0 0,1-1 0 0 0,0 0 0 0 0,-1 0 0 0 0,0 0 0 0 0,0-1-1 0 0,-10 2 1 0 0,16-4-52 0 0,-1 0-1 0 0,1-1 1 0 0,-1 0-1 0 0,1 0 0 0 0,-1 1 1 0 0,1-2-1 0 0,-1 1 0 0 0,1 0 1 0 0,-1 0-1 0 0,0-1 1 0 0,1 1-1 0 0,-1-1 0 0 0,1 0 1 0 0,0 0-1 0 0,-1 0 1 0 0,1 0-1 0 0,0 0 0 0 0,0 0 1 0 0,-1-1-1 0 0,1 1 1 0 0,0-1-1 0 0,0 0 0 0 0,1 1 1 0 0,-1-1-1 0 0,0 0 0 0 0,0 0 1 0 0,1 0-1 0 0,-1 0 1 0 0,1-1-1 0 0,0 1 0 0 0,0 0 1 0 0,0 0-1 0 0,0-1 1 0 0,0 1-1 0 0,0-1 0 0 0,1 1 1 0 0,-1-1-1 0 0,1 1 1 0 0,-1-1-1 0 0,1 1 0 0 0,0-1 1 0 0,0 0-1 0 0,0 1 0 0 0,1-1 1 0 0,-1 1-1 0 0,0-1 1 0 0,2-3-1 0 0,7-22-146 0 0,2 0-1 0 0,1 1 1 0 0,0 0-1 0 0,31-45 1 0 0,-19 32 89 0 0,31-50-41 0 0,-20 36 32 0 0,30-67 0 0 0,-63 116 68 0 0,-1 1 1 0 0,1 0-1 0 0,-1 0 1 0 0,0-1 0 0 0,0 1-1 0 0,0-1 1 0 0,-1 1 0 0 0,0-1-1 0 0,1 0 1 0 0,-2 1-1 0 0,1-1 1 0 0,-2-6 0 0 0,2 9 4 0 0,-1 0-1 0 0,1 0 1 0 0,-1 0 0 0 0,0 0 0 0 0,0 0 0 0 0,0 0 0 0 0,0 0 0 0 0,0 0 0 0 0,-1 1 0 0 0,1-1 0 0 0,0 1 0 0 0,-1-1 0 0 0,1 1 0 0 0,-1-1 0 0 0,0 1 0 0 0,1 0 0 0 0,-1-1-1 0 0,0 1 1 0 0,0 0 0 0 0,0 0 0 0 0,0 0 0 0 0,0 1 0 0 0,0-1 0 0 0,0 0 0 0 0,0 1 0 0 0,0 0 0 0 0,0-1 0 0 0,0 1 0 0 0,0 0 0 0 0,0 0 0 0 0,-3 0 0 0 0,0 0 5 0 0,0 0 0 0 0,0 1 0 0 0,0 0 0 0 0,-1-1 0 0 0,1 2 0 0 0,0-1 0 0 0,1 1 0 0 0,-1-1 0 0 0,0 1 1 0 0,-7 4-1 0 0,10-4-41 0 0,-1 0 0 0 0,1 0 0 0 0,-1 0 1 0 0,1 0-1 0 0,0 0 0 0 0,0 0 0 0 0,0 1 1 0 0,0-1-1 0 0,0 1 0 0 0,1-1 0 0 0,-1 1 1 0 0,1 0-1 0 0,-1-1 0 0 0,1 1 0 0 0,0 0 1 0 0,0 0-1 0 0,0 0 0 0 0,1 0 0 0 0,-1 0 1 0 0,0 5-1 0 0,1 2-573 0 0,1-1 0 0 0,0 0 0 0 0,0 1 0 0 0,1-1 0 0 0,0 0 0 0 0,0 0 0 0 0,1 0 0 0 0,0 0 0 0 0,1 0 0 0 0,5 8 0 0 0,-1 0-2732 0 0</inkml:trace>
</inkml:ink>
</file>

<file path=ppt/ink/ink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05.44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10 6 680 0 0,'3'-5'6364'0'0,"-23"62"-4298"0"0,-9 26-410 0 0,4 41-555 0 0,-9 132 0 0 0,33-247-1065 0 0,-3 36-1476 0 0,6-18-3657 0 0</inkml:trace>
</inkml:ink>
</file>

<file path=ppt/ink/ink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07.50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48 69 956 0 0,'-1'-4'298'0'0,"-1"-1"0"0"0,0 1 0 0 0,0 0 0 0 0,0 0 0 0 0,0 0 0 0 0,-1 0 0 0 0,1 0 0 0 0,-1 0 0 0 0,0 1 0 0 0,0-1 0 0 0,0 1 0 0 0,-1 0 0 0 0,1 0 0 0 0,-1 0 0 0 0,-6-4 0 0 0,7 6-210 0 0,0 0 0 0 0,1 0-1 0 0,-1 0 1 0 0,0 1 0 0 0,0-1 0 0 0,0 1 0 0 0,1 0 0 0 0,-1 0-1 0 0,0 0 1 0 0,0 0 0 0 0,0 0 0 0 0,0 1 0 0 0,1-1 0 0 0,-1 1-1 0 0,0-1 1 0 0,-4 3 0 0 0,-41 20 901 0 0,27-11-635 0 0,1 0 1 0 0,1 2-1 0 0,0 0 0 0 0,-30 30 0 0 0,42-36-263 0 0,0 0 0 0 0,0 0 0 0 0,1 0 0 0 0,0 1 0 0 0,0 0-1 0 0,1 0 1 0 0,0 1 0 0 0,1-1 0 0 0,0 1 0 0 0,1 0 0 0 0,0 0-1 0 0,0 1 1 0 0,-1 12 0 0 0,4-16-64 0 0,0-1 0 0 0,0 0 0 0 0,1 1 0 0 0,0-1 0 0 0,0 0 0 0 0,0 0 0 0 0,1 0 0 0 0,0 0 0 0 0,1 0 0 0 0,-1 0 0 0 0,1 0 0 0 0,0-1 0 0 0,0 1 0 0 0,1-1 0 0 0,0 0 0 0 0,-1 0 0 0 0,2 0 0 0 0,-1 0 0 0 0,1-1 0 0 0,-1 0 0 0 0,1 0 0 0 0,6 4 0 0 0,2 1 9 0 0,1-1-1 0 0,-1 0 0 0 0,1-1 0 0 0,1-1 1 0 0,-1 0-1 0 0,1-1 0 0 0,27 6 0 0 0,-33-9 44 0 0,0 0 0 0 0,1-1 0 0 0,-1-1 0 0 0,1 1 0 0 0,-1-2 0 0 0,0 1 0 0 0,1-1 0 0 0,-1-1 0 0 0,1 1 0 0 0,-1-2 0 0 0,0 1 0 0 0,0-1 0 0 0,16-8 0 0 0,-19 7-41 0 0,0 0-1 0 0,0 0 1 0 0,0 0-1 0 0,0-1 1 0 0,-1 0-1 0 0,0 0 1 0 0,0 0-1 0 0,-1-1 1 0 0,1 0-1 0 0,-1 1 1 0 0,0-2 0 0 0,0 1-1 0 0,-1 0 1 0 0,0-1-1 0 0,0 1 1 0 0,-1-1-1 0 0,0 0 1 0 0,3-12-1 0 0,-4 6-61 0 0,0-1 0 0 0,0 1 0 0 0,-2-1 0 0 0,1 1 0 0 0,-2 0 0 0 0,0-1 0 0 0,0 1 0 0 0,-1 0 0 0 0,-1 0 0 0 0,0 0 0 0 0,-1 1 0 0 0,0 0 0 0 0,-1-1 0 0 0,0 2 0 0 0,-1-1 0 0 0,-11-14 0 0 0,11 17-936 0 0,0 1 0 0 0,-1-1 0 0 0,0 1 0 0 0,-1 1 0 0 0,1-1 0 0 0,-1 1 0 0 0,-11-6 0 0 0,6 5-2519 0 0</inkml:trace>
</inkml:ink>
</file>

<file path=ppt/ink/ink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08.05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0 1960 0 0,'6'-10'5499'0'0,"-5"12"-5340"0"0,1 0 0 0 0,-1 0-1 0 0,1 0 1 0 0,-1 0-1 0 0,0 0 1 0 0,0 1 0 0 0,0-1-1 0 0,0 0 1 0 0,0 1-1 0 0,0-1 1 0 0,-1 0 0 0 0,1 1-1 0 0,-1-1 1 0 0,1 4-1 0 0,3 47 566 0 0,-3-28-464 0 0,2 136 248 0 0,-4-95-892 0 0,-2-7-1400 0 0,-4-22-2157 0 0,3-24 1124 0 0</inkml:trace>
</inkml:ink>
</file>

<file path=ppt/ink/ink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08.39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1 85 536 0 0,'-2'-14'1312'0'0,"0"1"-360"0"0,-2 3-248 0 0,2 1 328 0 0,-4-8-380 0 0,-2 5-295 0 0,2 3-365 0 0</inkml:trace>
</inkml:ink>
</file>

<file path=ppt/ink/ink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08.72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13 3 776 0 0,'0'0'2262'0'0,"10"-3"1818"0"0,-12 4-4051 0 0,0 0 0 0 0,1 0 1 0 0,-1-1-1 0 0,1 1 0 0 0,-1 0 0 0 0,1 0 1 0 0,0 1-1 0 0,-1-1 0 0 0,1 0 0 0 0,0 0 1 0 0,0 1-1 0 0,0-1 0 0 0,0 1 0 0 0,0-1 1 0 0,0 1-1 0 0,0-1 0 0 0,0 1 0 0 0,0-1 1 0 0,1 1-1 0 0,-1 2 0 0 0,-1 5 88 0 0,0-1-1 0 0,1 0 1 0 0,0 1-1 0 0,1-1 1 0 0,0 1-1 0 0,0 0 1 0 0,0-1-1 0 0,1 0 1 0 0,1 1-1 0 0,4 15 1 0 0,4 5 335 0 0,22 47 0 0 0,-16-40-250 0 0,45 99 384 0 0,-60-134-566 0 0,-1-1 0 0 0,0 1 0 0 0,1 0 0 0 0,-1 0 0 0 0,0 0 0 0 0,0 0 0 0 0,0 0 0 0 0,0 0 0 0 0,0 0 0 0 0,0 0 0 0 0,0 0 0 0 0,0 0 0 0 0,0 0 0 0 0,0 0 0 0 0,0 0 0 0 0,-1 0 0 0 0,1 0 0 0 0,0-1 0 0 0,-1 1 0 0 0,1 0 0 0 0,0 0 0 0 0,-1 0 0 0 0,1 0 0 0 0,-1-1 0 0 0,0 1 0 0 0,1 0 0 0 0,-1 0 0 0 0,0-1 0 0 0,1 1 0 0 0,-1 0 0 0 0,0-1 0 0 0,0 1 0 0 0,1-1 0 0 0,-1 1 0 0 0,0-1 0 0 0,0 1 0 0 0,0-1 0 0 0,0 0 0 0 0,0 0 0 0 0,0 1 0 0 0,0-1 0 0 0,0 0 0 0 0,-1 0 0 0 0,-4 1 18 0 0,1 0 0 0 0,0-1 1 0 0,-1 1-1 0 0,1-1 0 0 0,0-1 0 0 0,-9 0 1 0 0,9 0-81 0 0,-1-1 0 0 0,1 0 0 0 0,-1 0 0 0 0,1 0 0 0 0,0 0 0 0 0,0-1 0 0 0,0 0 0 0 0,0 0 0 0 0,0 0 0 0 0,1 0 0 0 0,-1-1-1 0 0,1 0 1 0 0,0 0 0 0 0,0 0 0 0 0,0-1 0 0 0,1 1 0 0 0,-1-1 0 0 0,1 0 0 0 0,0 0 0 0 0,1 0 0 0 0,-1 0 0 0 0,1 0 0 0 0,0-1 0 0 0,0 1 0 0 0,1-1 0 0 0,0 1 0 0 0,0-1 0 0 0,0 0 0 0 0,0 1 0 0 0,1-1 0 0 0,0 0 0 0 0,0 0 0 0 0,1 1 0 0 0,-1-1 0 0 0,1 0 0 0 0,4-10 0 0 0,31-76-1045 0 0,-35 90 1266 0 0,-2 6-103 0 0,0 0 0 0 0,0-1 0 0 0,-1 1 0 0 0,1-1 1 0 0,-1 1-1 0 0,0-1 0 0 0,-2 3 0 0 0,0 1-12 0 0,-25 48 171 0 0,13-23-517 0 0,-1-2 0 0 0,-2 0 0 0 0,-32 41 0 0 0,23-38-3421 0 0,14-19 639 0 0</inkml:trace>
</inkml:ink>
</file>

<file path=ppt/ink/ink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2-10T05:17:09.91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552 0 0,'6'138'7243'0'0,"16"69"-4508"0"0,-14-140-1776 0 0,0 9 2121 0 0,-7-79-2964 0 0,4-16-126 0 0,1 1 1 0 0,1 0-1 0 0,14-29 0 0 0,-15 37-33 0 0,0 0 1 0 0,0 0-1 0 0,1 1 1 0 0,0 0-1 0 0,1 0 1 0 0,0 0-1 0 0,14-11 1 0 0,-19 18 31 0 0,1 0 0 0 0,-1 0 0 0 0,0 0 1 0 0,1 1-1 0 0,-1-1 0 0 0,1 1 0 0 0,-1 0 0 0 0,1 0 0 0 0,-1 0 1 0 0,1 1-1 0 0,0-1 0 0 0,0 1 0 0 0,-1 0 0 0 0,1 0 0 0 0,0 0 1 0 0,0 1-1 0 0,-1-1 0 0 0,1 1 0 0 0,0 0 0 0 0,-1 0 0 0 0,1 0 0 0 0,-1 1 1 0 0,1-1-1 0 0,-1 1 0 0 0,4 2 0 0 0,10 6 9 0 0,-1 1-1 0 0,0 0 1 0 0,24 25 0 0 0,-16-16 4 0 0,79 61 1674 0 0,-101-79-1104 0 0,-2-2-550 0 0,1 0-1 0 0,-1-1 0 0 0,0 1 0 0 0,0 0 0 0 0,1 0 0 0 0,-1 0 0 0 0,0 0 0 0 0,0 0 0 0 0,1 0 0 0 0,-1 0 0 0 0,0 0 0 0 0,0-1 0 0 0,1 1 0 0 0,-1 0 0 0 0,0 0 0 0 0,0 0 1 0 0,1 0-1 0 0,-1 0 0 0 0,0 0 0 0 0,1 1 0 0 0,-1-1 0 0 0,0 0 0 0 0,0 0 0 0 0,1 0 0 0 0,-1 0 0 0 0,0 0 0 0 0,0 0 0 0 0,1 0 0 0 0,-1 0 0 0 0,0 1 0 0 0,1-1-7 0 0,-1 0 0 0 0,0 0 0 0 0,1 1 0 0 0,-1-1 0 0 0,0 0 0 0 0,1 0 0 0 0,-1 0 0 0 0,0 0-1 0 0,1 0 1 0 0,-1 0 0 0 0,0 0 0 0 0,1 0 0 0 0,-1 0 0 0 0,0 0 0 0 0,1 0 0 0 0,-1 0 0 0 0,1 0 0 0 0,-1 0-1 0 0,0 0 1 0 0,1 0 0 0 0,-1 0 0 0 0,0 0 0 0 0,1 0 0 0 0,-1-1 0 0 0,0 1 0 0 0,1 0 0 0 0,-1 0-1 0 0,0 0 1 0 0,1-1 0 0 0,-1 1 0 0 0,0 0 0 0 0,1-1 0 0 0,2-3 40 0 0,0-1 0 0 0,0 1 0 0 0,-1-1 1 0 0,1 0-1 0 0,-1 0 0 0 0,0 0 0 0 0,-1 0 0 0 0,1 0 0 0 0,-1 0 0 0 0,0-1 1 0 0,0 1-1 0 0,-1 0 0 0 0,1-1 0 0 0,-1 1 0 0 0,-1-9 0 0 0,-1-11-3 0 0,-10-48 1 0 0,11 68-35 0 0,-24-97-304 0 0,20 88-940 0 0,-1-1 0 0 0,-10-19 0 0 0,16 34 1077 0 0,0-1 0 0 0,0 1-1 0 0,0 0 1 0 0,-1-1 0 0 0,1 1 0 0 0,0 0-1 0 0,0-1 1 0 0</inkml:trace>
</inkml:ink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816A1F-A29A-4837-A751-593ABFFDB8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E0E3655-1600-43BD-8849-CEAB65A6B4B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38AF661-9E0B-4E45-A803-0E5DEA3031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F23B65-642B-4961-9E03-DE8309E1DF8E}" type="datetimeFigureOut">
              <a:rPr lang="en-US" smtClean="0"/>
              <a:t>12/1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0BDE40-6507-4B99-887D-5B2EA7EE0E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C39BD-C750-494C-A9DE-F722E04977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8D734C-63E8-48B5-9DD4-3F3C41AD1F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44877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5C290D-DC18-4DEA-8055-64679D7AA9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27AE42D-E79F-4034-BF24-07E18068CAD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963CEB-9B91-4C46-B5B7-11A179146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F23B65-642B-4961-9E03-DE8309E1DF8E}" type="datetimeFigureOut">
              <a:rPr lang="en-US" smtClean="0"/>
              <a:t>12/1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FCCE17-F461-4249-928B-E2C3659CB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565354-8622-4065-8605-F10BFA4CF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8D734C-63E8-48B5-9DD4-3F3C41AD1F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66445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C468C38-62DE-49FF-BE15-10A0F736556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7E93344-BF5C-41FF-B8CA-570760165DA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FEC495-23E4-4919-BBE6-C19E8B308B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F23B65-642B-4961-9E03-DE8309E1DF8E}" type="datetimeFigureOut">
              <a:rPr lang="en-US" smtClean="0"/>
              <a:t>12/1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1858EB-8E88-476C-806F-9FDF540ED9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5D9A8E-D6A7-43C8-89A8-F58FF807C7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8D734C-63E8-48B5-9DD4-3F3C41AD1F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7804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353E4A-CC53-4795-814C-A9D869D59C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4BB8F7-A2D2-4F18-887C-DC8B803D947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71D423-5B6A-4892-9145-728E9BF046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F23B65-642B-4961-9E03-DE8309E1DF8E}" type="datetimeFigureOut">
              <a:rPr lang="en-US" smtClean="0"/>
              <a:t>12/1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98FBCB-1D7F-4DC1-ACDF-0267B9CF68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6E8077C-A6CA-4A17-B14F-1B36D890A6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8D734C-63E8-48B5-9DD4-3F3C41AD1F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8565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D0D8F5-2F83-448B-8E37-67A905866C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416211-7E96-48AE-BA0F-BE0F7D619F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681D7B-CCE7-47DF-8BBD-BB7DCFD050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F23B65-642B-4961-9E03-DE8309E1DF8E}" type="datetimeFigureOut">
              <a:rPr lang="en-US" smtClean="0"/>
              <a:t>12/1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F2437F-6643-4FAF-8D1D-30D40AA892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C6021A-8615-49F3-AC73-FE8C71F778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8D734C-63E8-48B5-9DD4-3F3C41AD1F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76843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CE4020-5A32-4E89-BA6E-53E8C3438B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BDF6C4-100F-4740-9CC4-EAA7F8D82D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C683FDC-933E-466F-B2D4-564A85F2213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1B54717-C213-468A-B0CB-815D80087E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F23B65-642B-4961-9E03-DE8309E1DF8E}" type="datetimeFigureOut">
              <a:rPr lang="en-US" smtClean="0"/>
              <a:t>12/11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37E128-E7A7-45DD-A94E-27318977B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2B0891C-0A82-491E-999A-AE09ABF406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8D734C-63E8-48B5-9DD4-3F3C41AD1F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45169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39F4B1-6091-4788-A339-F93A64CB23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B25C7C-A75A-4E7B-8BDB-A74A7807831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5FB82E4-A276-47D9-A278-3DB153FC125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9F5E0ED-5370-4A43-9722-FEF7C18C490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BDB486E-A886-43EB-91CB-02B01A9005F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FDD2542-111B-4DFC-8BC7-D2F48B4F57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F23B65-642B-4961-9E03-DE8309E1DF8E}" type="datetimeFigureOut">
              <a:rPr lang="en-US" smtClean="0"/>
              <a:t>12/11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6665681-A248-4DD9-80F4-3DCB43C1F4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3639B9-34FA-4A95-B964-48A8089DC9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8D734C-63E8-48B5-9DD4-3F3C41AD1F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77071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96E128-EBCF-46FC-8E59-F80C8B1B4A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979B621-243E-413D-B32C-B7D1BE077A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F23B65-642B-4961-9E03-DE8309E1DF8E}" type="datetimeFigureOut">
              <a:rPr lang="en-US" smtClean="0"/>
              <a:t>12/11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C61EF9-B912-47FC-9BB3-EBF31446A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3BCE32C-9F49-4633-B16B-13F3D62968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8D734C-63E8-48B5-9DD4-3F3C41AD1F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31611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B2781C3-9CCC-47FB-A53C-EC49AD99F5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F23B65-642B-4961-9E03-DE8309E1DF8E}" type="datetimeFigureOut">
              <a:rPr lang="en-US" smtClean="0"/>
              <a:t>12/11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7C26AC2-055E-4114-8C28-ADB9121CD3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BCDE15-ADED-4C16-AEF2-01B7B2BF9E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8D734C-63E8-48B5-9DD4-3F3C41AD1F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55632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5DD193-D3D5-444D-8300-838418306E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94E476-5BEF-4BAE-AEB9-742421595B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361E89-1321-4C5D-944A-A4F8F385045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4E8E3D2-9E32-460F-A678-B584DB7B51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F23B65-642B-4961-9E03-DE8309E1DF8E}" type="datetimeFigureOut">
              <a:rPr lang="en-US" smtClean="0"/>
              <a:t>12/11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F9AA18-A6C9-415A-A716-E2B60FE8D1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694EC5F-6CA5-4A01-8B44-26DA28831E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8D734C-63E8-48B5-9DD4-3F3C41AD1F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67614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8533C7-7501-4A5D-9AC2-16461EA5B0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7B93304-EBB5-49F3-B960-4F59AACE7BF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D630031-5936-49F2-9BEB-D8B6FAC1C9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3BDCE7A-7181-404A-983B-2BCF4106DF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F23B65-642B-4961-9E03-DE8309E1DF8E}" type="datetimeFigureOut">
              <a:rPr lang="en-US" smtClean="0"/>
              <a:t>12/11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E9195C6-2474-4E08-8E61-D772A0F39E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5F6F37D-4E09-4E3F-92F7-7C9273585E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8D734C-63E8-48B5-9DD4-3F3C41AD1F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37570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FB387E9-DFD4-4CD1-A4C4-B28D1D844A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636643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FB387E9-DFD4-4CD1-A4C4-B28D1D844A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E19BCE7-181C-4AA0-9633-3BFE46860D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AC2CC81-102D-431F-8B76-07ADA35A03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FC2CD2-045F-4BDA-9958-B436301620F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F23B65-642B-4961-9E03-DE8309E1DF8E}" type="datetimeFigureOut">
              <a:rPr lang="en-US" smtClean="0"/>
              <a:t>12/1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5809C1-F5F6-4574-8321-F40EDB9E0A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1BE616-7F2C-457C-83E1-305DE3780A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8D734C-63E8-48B5-9DD4-3F3C41AD1F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91193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customXml" Target="../ink/ink455.xml"/><Relationship Id="rId13" Type="http://schemas.openxmlformats.org/officeDocument/2006/relationships/image" Target="../media/image465.png"/><Relationship Id="rId18" Type="http://schemas.openxmlformats.org/officeDocument/2006/relationships/customXml" Target="../ink/ink460.xml"/><Relationship Id="rId26" Type="http://schemas.openxmlformats.org/officeDocument/2006/relationships/customXml" Target="../ink/ink464.xml"/><Relationship Id="rId39" Type="http://schemas.openxmlformats.org/officeDocument/2006/relationships/image" Target="../media/image478.png"/><Relationship Id="rId3" Type="http://schemas.openxmlformats.org/officeDocument/2006/relationships/oleObject" Target="../embeddings/oleObject12.bin"/><Relationship Id="rId21" Type="http://schemas.openxmlformats.org/officeDocument/2006/relationships/image" Target="../media/image469.png"/><Relationship Id="rId34" Type="http://schemas.openxmlformats.org/officeDocument/2006/relationships/customXml" Target="../ink/ink468.xml"/><Relationship Id="rId42" Type="http://schemas.openxmlformats.org/officeDocument/2006/relationships/customXml" Target="../ink/ink472.xml"/><Relationship Id="rId7" Type="http://schemas.openxmlformats.org/officeDocument/2006/relationships/image" Target="../media/image4620.png"/><Relationship Id="rId12" Type="http://schemas.openxmlformats.org/officeDocument/2006/relationships/customXml" Target="../ink/ink457.xml"/><Relationship Id="rId17" Type="http://schemas.openxmlformats.org/officeDocument/2006/relationships/image" Target="../media/image467.png"/><Relationship Id="rId25" Type="http://schemas.openxmlformats.org/officeDocument/2006/relationships/image" Target="../media/image471.png"/><Relationship Id="rId33" Type="http://schemas.openxmlformats.org/officeDocument/2006/relationships/image" Target="../media/image475.png"/><Relationship Id="rId38" Type="http://schemas.openxmlformats.org/officeDocument/2006/relationships/customXml" Target="../ink/ink470.xml"/><Relationship Id="rId2" Type="http://schemas.openxmlformats.org/officeDocument/2006/relationships/slideLayout" Target="../slideLayouts/slideLayout2.xml"/><Relationship Id="rId16" Type="http://schemas.openxmlformats.org/officeDocument/2006/relationships/customXml" Target="../ink/ink459.xml"/><Relationship Id="rId20" Type="http://schemas.openxmlformats.org/officeDocument/2006/relationships/customXml" Target="../ink/ink461.xml"/><Relationship Id="rId29" Type="http://schemas.openxmlformats.org/officeDocument/2006/relationships/image" Target="../media/image473.png"/><Relationship Id="rId41" Type="http://schemas.openxmlformats.org/officeDocument/2006/relationships/image" Target="../media/image479.png"/><Relationship Id="rId1" Type="http://schemas.openxmlformats.org/officeDocument/2006/relationships/tags" Target="../tags/tag13.xml"/><Relationship Id="rId6" Type="http://schemas.openxmlformats.org/officeDocument/2006/relationships/customXml" Target="../ink/ink454.xml"/><Relationship Id="rId11" Type="http://schemas.openxmlformats.org/officeDocument/2006/relationships/image" Target="../media/image464.png"/><Relationship Id="rId24" Type="http://schemas.openxmlformats.org/officeDocument/2006/relationships/customXml" Target="../ink/ink463.xml"/><Relationship Id="rId32" Type="http://schemas.openxmlformats.org/officeDocument/2006/relationships/customXml" Target="../ink/ink467.xml"/><Relationship Id="rId37" Type="http://schemas.openxmlformats.org/officeDocument/2006/relationships/image" Target="../media/image477.png"/><Relationship Id="rId40" Type="http://schemas.openxmlformats.org/officeDocument/2006/relationships/customXml" Target="../ink/ink471.xml"/><Relationship Id="rId5" Type="http://schemas.openxmlformats.org/officeDocument/2006/relationships/image" Target="../media/image463.png"/><Relationship Id="rId15" Type="http://schemas.openxmlformats.org/officeDocument/2006/relationships/image" Target="../media/image466.png"/><Relationship Id="rId23" Type="http://schemas.openxmlformats.org/officeDocument/2006/relationships/image" Target="../media/image470.png"/><Relationship Id="rId28" Type="http://schemas.openxmlformats.org/officeDocument/2006/relationships/customXml" Target="../ink/ink465.xml"/><Relationship Id="rId36" Type="http://schemas.openxmlformats.org/officeDocument/2006/relationships/customXml" Target="../ink/ink469.xml"/><Relationship Id="rId10" Type="http://schemas.openxmlformats.org/officeDocument/2006/relationships/customXml" Target="../ink/ink456.xml"/><Relationship Id="rId19" Type="http://schemas.openxmlformats.org/officeDocument/2006/relationships/image" Target="../media/image468.png"/><Relationship Id="rId31" Type="http://schemas.openxmlformats.org/officeDocument/2006/relationships/image" Target="../media/image474.png"/><Relationship Id="rId4" Type="http://schemas.openxmlformats.org/officeDocument/2006/relationships/image" Target="../media/image1.emf"/><Relationship Id="rId9" Type="http://schemas.openxmlformats.org/officeDocument/2006/relationships/image" Target="../media/image4630.png"/><Relationship Id="rId14" Type="http://schemas.openxmlformats.org/officeDocument/2006/relationships/customXml" Target="../ink/ink458.xml"/><Relationship Id="rId22" Type="http://schemas.openxmlformats.org/officeDocument/2006/relationships/customXml" Target="../ink/ink462.xml"/><Relationship Id="rId27" Type="http://schemas.openxmlformats.org/officeDocument/2006/relationships/image" Target="../media/image472.png"/><Relationship Id="rId30" Type="http://schemas.openxmlformats.org/officeDocument/2006/relationships/customXml" Target="../ink/ink466.xml"/><Relationship Id="rId35" Type="http://schemas.openxmlformats.org/officeDocument/2006/relationships/image" Target="../media/image476.png"/><Relationship Id="rId43" Type="http://schemas.openxmlformats.org/officeDocument/2006/relationships/image" Target="../media/image48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ustomXml" Target="../ink/ink473.xml"/><Relationship Id="rId3" Type="http://schemas.openxmlformats.org/officeDocument/2006/relationships/oleObject" Target="../embeddings/oleObject13.bin"/><Relationship Id="rId7" Type="http://schemas.openxmlformats.org/officeDocument/2006/relationships/image" Target="../media/image48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482.png"/><Relationship Id="rId5" Type="http://schemas.openxmlformats.org/officeDocument/2006/relationships/image" Target="../media/image481.png"/><Relationship Id="rId4" Type="http://schemas.openxmlformats.org/officeDocument/2006/relationships/image" Target="../media/image1.emf"/><Relationship Id="rId9" Type="http://schemas.openxmlformats.org/officeDocument/2006/relationships/image" Target="../media/image48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40.png"/><Relationship Id="rId13" Type="http://schemas.openxmlformats.org/officeDocument/2006/relationships/image" Target="../media/image487.png"/><Relationship Id="rId18" Type="http://schemas.openxmlformats.org/officeDocument/2006/relationships/customXml" Target="../ink/ink480.xml"/><Relationship Id="rId26" Type="http://schemas.openxmlformats.org/officeDocument/2006/relationships/customXml" Target="../ink/ink484.xml"/><Relationship Id="rId3" Type="http://schemas.openxmlformats.org/officeDocument/2006/relationships/oleObject" Target="../embeddings/oleObject14.bin"/><Relationship Id="rId21" Type="http://schemas.openxmlformats.org/officeDocument/2006/relationships/image" Target="../media/image491.png"/><Relationship Id="rId34" Type="http://schemas.openxmlformats.org/officeDocument/2006/relationships/customXml" Target="../ink/ink488.xml"/><Relationship Id="rId7" Type="http://schemas.openxmlformats.org/officeDocument/2006/relationships/customXml" Target="../ink/ink475.xml"/><Relationship Id="rId12" Type="http://schemas.openxmlformats.org/officeDocument/2006/relationships/image" Target="../media/image486.png"/><Relationship Id="rId17" Type="http://schemas.openxmlformats.org/officeDocument/2006/relationships/image" Target="../media/image489.png"/><Relationship Id="rId25" Type="http://schemas.openxmlformats.org/officeDocument/2006/relationships/image" Target="../media/image493.png"/><Relationship Id="rId33" Type="http://schemas.openxmlformats.org/officeDocument/2006/relationships/image" Target="../media/image497.png"/><Relationship Id="rId2" Type="http://schemas.openxmlformats.org/officeDocument/2006/relationships/slideLayout" Target="../slideLayouts/slideLayout2.xml"/><Relationship Id="rId16" Type="http://schemas.openxmlformats.org/officeDocument/2006/relationships/customXml" Target="../ink/ink479.xml"/><Relationship Id="rId20" Type="http://schemas.openxmlformats.org/officeDocument/2006/relationships/customXml" Target="../ink/ink481.xml"/><Relationship Id="rId29" Type="http://schemas.openxmlformats.org/officeDocument/2006/relationships/image" Target="../media/image495.png"/><Relationship Id="rId1" Type="http://schemas.openxmlformats.org/officeDocument/2006/relationships/tags" Target="../tags/tag15.xml"/><Relationship Id="rId6" Type="http://schemas.openxmlformats.org/officeDocument/2006/relationships/image" Target="../media/image4830.png"/><Relationship Id="rId11" Type="http://schemas.openxmlformats.org/officeDocument/2006/relationships/customXml" Target="../ink/ink477.xml"/><Relationship Id="rId24" Type="http://schemas.openxmlformats.org/officeDocument/2006/relationships/customXml" Target="../ink/ink483.xml"/><Relationship Id="rId32" Type="http://schemas.openxmlformats.org/officeDocument/2006/relationships/customXml" Target="../ink/ink487.xml"/><Relationship Id="rId37" Type="http://schemas.openxmlformats.org/officeDocument/2006/relationships/image" Target="../media/image499.png"/><Relationship Id="rId5" Type="http://schemas.openxmlformats.org/officeDocument/2006/relationships/customXml" Target="../ink/ink474.xml"/><Relationship Id="rId15" Type="http://schemas.openxmlformats.org/officeDocument/2006/relationships/image" Target="../media/image488.png"/><Relationship Id="rId23" Type="http://schemas.openxmlformats.org/officeDocument/2006/relationships/image" Target="../media/image492.png"/><Relationship Id="rId28" Type="http://schemas.openxmlformats.org/officeDocument/2006/relationships/customXml" Target="../ink/ink485.xml"/><Relationship Id="rId36" Type="http://schemas.openxmlformats.org/officeDocument/2006/relationships/customXml" Target="../ink/ink489.xml"/><Relationship Id="rId10" Type="http://schemas.openxmlformats.org/officeDocument/2006/relationships/image" Target="../media/image485.png"/><Relationship Id="rId19" Type="http://schemas.openxmlformats.org/officeDocument/2006/relationships/image" Target="../media/image490.png"/><Relationship Id="rId31" Type="http://schemas.openxmlformats.org/officeDocument/2006/relationships/image" Target="../media/image496.png"/><Relationship Id="rId4" Type="http://schemas.openxmlformats.org/officeDocument/2006/relationships/image" Target="../media/image1.emf"/><Relationship Id="rId9" Type="http://schemas.openxmlformats.org/officeDocument/2006/relationships/customXml" Target="../ink/ink476.xml"/><Relationship Id="rId14" Type="http://schemas.openxmlformats.org/officeDocument/2006/relationships/customXml" Target="../ink/ink478.xml"/><Relationship Id="rId22" Type="http://schemas.openxmlformats.org/officeDocument/2006/relationships/customXml" Target="../ink/ink482.xml"/><Relationship Id="rId27" Type="http://schemas.openxmlformats.org/officeDocument/2006/relationships/image" Target="../media/image494.png"/><Relationship Id="rId30" Type="http://schemas.openxmlformats.org/officeDocument/2006/relationships/customXml" Target="../ink/ink486.xml"/><Relationship Id="rId35" Type="http://schemas.openxmlformats.org/officeDocument/2006/relationships/image" Target="../media/image498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ustomXml" Target="../ink/ink492.xml"/><Relationship Id="rId13" Type="http://schemas.openxmlformats.org/officeDocument/2006/relationships/image" Target="../media/image502.png"/><Relationship Id="rId18" Type="http://schemas.openxmlformats.org/officeDocument/2006/relationships/image" Target="../media/image504.png"/><Relationship Id="rId3" Type="http://schemas.openxmlformats.org/officeDocument/2006/relationships/oleObject" Target="../embeddings/oleObject15.bin"/><Relationship Id="rId7" Type="http://schemas.openxmlformats.org/officeDocument/2006/relationships/customXml" Target="../ink/ink491.xml"/><Relationship Id="rId12" Type="http://schemas.openxmlformats.org/officeDocument/2006/relationships/customXml" Target="../ink/ink494.xml"/><Relationship Id="rId17" Type="http://schemas.openxmlformats.org/officeDocument/2006/relationships/image" Target="../media/image503.png"/><Relationship Id="rId2" Type="http://schemas.openxmlformats.org/officeDocument/2006/relationships/slideLayout" Target="../slideLayouts/slideLayout2.xml"/><Relationship Id="rId16" Type="http://schemas.openxmlformats.org/officeDocument/2006/relationships/customXml" Target="../ink/ink497.xml"/><Relationship Id="rId20" Type="http://schemas.openxmlformats.org/officeDocument/2006/relationships/image" Target="../media/image505.png"/><Relationship Id="rId1" Type="http://schemas.openxmlformats.org/officeDocument/2006/relationships/tags" Target="../tags/tag16.xml"/><Relationship Id="rId6" Type="http://schemas.openxmlformats.org/officeDocument/2006/relationships/image" Target="../media/image4990.png"/><Relationship Id="rId11" Type="http://schemas.openxmlformats.org/officeDocument/2006/relationships/image" Target="../media/image501.png"/><Relationship Id="rId5" Type="http://schemas.openxmlformats.org/officeDocument/2006/relationships/customXml" Target="../ink/ink490.xml"/><Relationship Id="rId15" Type="http://schemas.openxmlformats.org/officeDocument/2006/relationships/customXml" Target="../ink/ink496.xml"/><Relationship Id="rId10" Type="http://schemas.openxmlformats.org/officeDocument/2006/relationships/customXml" Target="../ink/ink493.xml"/><Relationship Id="rId19" Type="http://schemas.openxmlformats.org/officeDocument/2006/relationships/customXml" Target="../ink/ink498.xml"/><Relationship Id="rId4" Type="http://schemas.openxmlformats.org/officeDocument/2006/relationships/image" Target="../media/image1.emf"/><Relationship Id="rId9" Type="http://schemas.openxmlformats.org/officeDocument/2006/relationships/image" Target="../media/image500.png"/><Relationship Id="rId14" Type="http://schemas.openxmlformats.org/officeDocument/2006/relationships/customXml" Target="../ink/ink49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5" Type="http://schemas.openxmlformats.org/officeDocument/2006/relationships/image" Target="../media/image506.pn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5" Type="http://schemas.openxmlformats.org/officeDocument/2006/relationships/image" Target="../media/image507.png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26" Type="http://schemas.openxmlformats.org/officeDocument/2006/relationships/customXml" Target="../ink/ink509.xml"/><Relationship Id="rId21" Type="http://schemas.openxmlformats.org/officeDocument/2006/relationships/image" Target="../media/image515.png"/><Relationship Id="rId42" Type="http://schemas.openxmlformats.org/officeDocument/2006/relationships/customXml" Target="../ink/ink517.xml"/><Relationship Id="rId47" Type="http://schemas.openxmlformats.org/officeDocument/2006/relationships/image" Target="../media/image528.png"/><Relationship Id="rId63" Type="http://schemas.openxmlformats.org/officeDocument/2006/relationships/image" Target="../media/image536.png"/><Relationship Id="rId68" Type="http://schemas.openxmlformats.org/officeDocument/2006/relationships/customXml" Target="../ink/ink530.xml"/><Relationship Id="rId84" Type="http://schemas.openxmlformats.org/officeDocument/2006/relationships/image" Target="../media/image546.png"/><Relationship Id="rId89" Type="http://schemas.openxmlformats.org/officeDocument/2006/relationships/customXml" Target="../ink/ink541.xml"/><Relationship Id="rId7" Type="http://schemas.openxmlformats.org/officeDocument/2006/relationships/image" Target="../media/image5080.png"/><Relationship Id="rId71" Type="http://schemas.openxmlformats.org/officeDocument/2006/relationships/image" Target="../media/image540.png"/><Relationship Id="rId92" Type="http://schemas.openxmlformats.org/officeDocument/2006/relationships/image" Target="../media/image550.png"/><Relationship Id="rId2" Type="http://schemas.openxmlformats.org/officeDocument/2006/relationships/slideLayout" Target="../slideLayouts/slideLayout2.xml"/><Relationship Id="rId16" Type="http://schemas.openxmlformats.org/officeDocument/2006/relationships/customXml" Target="../ink/ink504.xml"/><Relationship Id="rId29" Type="http://schemas.openxmlformats.org/officeDocument/2006/relationships/image" Target="../media/image519.png"/><Relationship Id="rId11" Type="http://schemas.openxmlformats.org/officeDocument/2006/relationships/image" Target="../media/image510.png"/><Relationship Id="rId24" Type="http://schemas.openxmlformats.org/officeDocument/2006/relationships/customXml" Target="../ink/ink508.xml"/><Relationship Id="rId32" Type="http://schemas.openxmlformats.org/officeDocument/2006/relationships/customXml" Target="../ink/ink512.xml"/><Relationship Id="rId37" Type="http://schemas.openxmlformats.org/officeDocument/2006/relationships/image" Target="../media/image523.png"/><Relationship Id="rId40" Type="http://schemas.openxmlformats.org/officeDocument/2006/relationships/customXml" Target="../ink/ink516.xml"/><Relationship Id="rId45" Type="http://schemas.openxmlformats.org/officeDocument/2006/relationships/image" Target="../media/image527.png"/><Relationship Id="rId53" Type="http://schemas.openxmlformats.org/officeDocument/2006/relationships/image" Target="../media/image531.png"/><Relationship Id="rId58" Type="http://schemas.openxmlformats.org/officeDocument/2006/relationships/customXml" Target="../ink/ink525.xml"/><Relationship Id="rId66" Type="http://schemas.openxmlformats.org/officeDocument/2006/relationships/customXml" Target="../ink/ink529.xml"/><Relationship Id="rId74" Type="http://schemas.openxmlformats.org/officeDocument/2006/relationships/customXml" Target="../ink/ink533.xml"/><Relationship Id="rId79" Type="http://schemas.openxmlformats.org/officeDocument/2006/relationships/image" Target="../media/image544.png"/><Relationship Id="rId87" Type="http://schemas.openxmlformats.org/officeDocument/2006/relationships/customXml" Target="../ink/ink540.xml"/><Relationship Id="rId102" Type="http://schemas.openxmlformats.org/officeDocument/2006/relationships/image" Target="../media/image555.png"/><Relationship Id="rId5" Type="http://schemas.openxmlformats.org/officeDocument/2006/relationships/image" Target="../media/image508.png"/><Relationship Id="rId61" Type="http://schemas.openxmlformats.org/officeDocument/2006/relationships/image" Target="../media/image535.png"/><Relationship Id="rId82" Type="http://schemas.openxmlformats.org/officeDocument/2006/relationships/image" Target="../media/image545.png"/><Relationship Id="rId90" Type="http://schemas.openxmlformats.org/officeDocument/2006/relationships/image" Target="../media/image549.png"/><Relationship Id="rId95" Type="http://schemas.openxmlformats.org/officeDocument/2006/relationships/customXml" Target="../ink/ink544.xml"/><Relationship Id="rId19" Type="http://schemas.openxmlformats.org/officeDocument/2006/relationships/image" Target="../media/image514.png"/><Relationship Id="rId14" Type="http://schemas.openxmlformats.org/officeDocument/2006/relationships/customXml" Target="../ink/ink503.xml"/><Relationship Id="rId22" Type="http://schemas.openxmlformats.org/officeDocument/2006/relationships/customXml" Target="../ink/ink507.xml"/><Relationship Id="rId27" Type="http://schemas.openxmlformats.org/officeDocument/2006/relationships/image" Target="../media/image518.png"/><Relationship Id="rId30" Type="http://schemas.openxmlformats.org/officeDocument/2006/relationships/customXml" Target="../ink/ink511.xml"/><Relationship Id="rId35" Type="http://schemas.openxmlformats.org/officeDocument/2006/relationships/image" Target="../media/image522.png"/><Relationship Id="rId43" Type="http://schemas.openxmlformats.org/officeDocument/2006/relationships/image" Target="../media/image526.png"/><Relationship Id="rId48" Type="http://schemas.openxmlformats.org/officeDocument/2006/relationships/customXml" Target="../ink/ink520.xml"/><Relationship Id="rId56" Type="http://schemas.openxmlformats.org/officeDocument/2006/relationships/customXml" Target="../ink/ink524.xml"/><Relationship Id="rId64" Type="http://schemas.openxmlformats.org/officeDocument/2006/relationships/customXml" Target="../ink/ink528.xml"/><Relationship Id="rId69" Type="http://schemas.openxmlformats.org/officeDocument/2006/relationships/image" Target="../media/image539.png"/><Relationship Id="rId77" Type="http://schemas.openxmlformats.org/officeDocument/2006/relationships/image" Target="../media/image543.png"/><Relationship Id="rId100" Type="http://schemas.openxmlformats.org/officeDocument/2006/relationships/image" Target="../media/image554.png"/><Relationship Id="rId8" Type="http://schemas.openxmlformats.org/officeDocument/2006/relationships/customXml" Target="../ink/ink500.xml"/><Relationship Id="rId51" Type="http://schemas.openxmlformats.org/officeDocument/2006/relationships/image" Target="../media/image530.png"/><Relationship Id="rId72" Type="http://schemas.openxmlformats.org/officeDocument/2006/relationships/customXml" Target="../ink/ink532.xml"/><Relationship Id="rId80" Type="http://schemas.openxmlformats.org/officeDocument/2006/relationships/customXml" Target="../ink/ink536.xml"/><Relationship Id="rId85" Type="http://schemas.openxmlformats.org/officeDocument/2006/relationships/customXml" Target="../ink/ink539.xml"/><Relationship Id="rId93" Type="http://schemas.openxmlformats.org/officeDocument/2006/relationships/customXml" Target="../ink/ink543.xml"/><Relationship Id="rId98" Type="http://schemas.openxmlformats.org/officeDocument/2006/relationships/image" Target="../media/image553.png"/><Relationship Id="rId3" Type="http://schemas.openxmlformats.org/officeDocument/2006/relationships/oleObject" Target="../embeddings/oleObject19.bin"/><Relationship Id="rId12" Type="http://schemas.openxmlformats.org/officeDocument/2006/relationships/customXml" Target="../ink/ink502.xml"/><Relationship Id="rId17" Type="http://schemas.openxmlformats.org/officeDocument/2006/relationships/image" Target="../media/image513.png"/><Relationship Id="rId25" Type="http://schemas.openxmlformats.org/officeDocument/2006/relationships/image" Target="../media/image517.png"/><Relationship Id="rId33" Type="http://schemas.openxmlformats.org/officeDocument/2006/relationships/image" Target="../media/image521.png"/><Relationship Id="rId38" Type="http://schemas.openxmlformats.org/officeDocument/2006/relationships/customXml" Target="../ink/ink515.xml"/><Relationship Id="rId46" Type="http://schemas.openxmlformats.org/officeDocument/2006/relationships/customXml" Target="../ink/ink519.xml"/><Relationship Id="rId59" Type="http://schemas.openxmlformats.org/officeDocument/2006/relationships/image" Target="../media/image534.png"/><Relationship Id="rId67" Type="http://schemas.openxmlformats.org/officeDocument/2006/relationships/image" Target="../media/image538.png"/><Relationship Id="rId103" Type="http://schemas.openxmlformats.org/officeDocument/2006/relationships/customXml" Target="../ink/ink548.xml"/><Relationship Id="rId20" Type="http://schemas.openxmlformats.org/officeDocument/2006/relationships/customXml" Target="../ink/ink506.xml"/><Relationship Id="rId41" Type="http://schemas.openxmlformats.org/officeDocument/2006/relationships/image" Target="../media/image525.png"/><Relationship Id="rId54" Type="http://schemas.openxmlformats.org/officeDocument/2006/relationships/customXml" Target="../ink/ink523.xml"/><Relationship Id="rId62" Type="http://schemas.openxmlformats.org/officeDocument/2006/relationships/customXml" Target="../ink/ink527.xml"/><Relationship Id="rId70" Type="http://schemas.openxmlformats.org/officeDocument/2006/relationships/customXml" Target="../ink/ink531.xml"/><Relationship Id="rId75" Type="http://schemas.openxmlformats.org/officeDocument/2006/relationships/image" Target="../media/image542.png"/><Relationship Id="rId83" Type="http://schemas.openxmlformats.org/officeDocument/2006/relationships/customXml" Target="../ink/ink538.xml"/><Relationship Id="rId88" Type="http://schemas.openxmlformats.org/officeDocument/2006/relationships/image" Target="../media/image548.png"/><Relationship Id="rId91" Type="http://schemas.openxmlformats.org/officeDocument/2006/relationships/customXml" Target="../ink/ink542.xml"/><Relationship Id="rId96" Type="http://schemas.openxmlformats.org/officeDocument/2006/relationships/image" Target="../media/image552.png"/><Relationship Id="rId1" Type="http://schemas.openxmlformats.org/officeDocument/2006/relationships/tags" Target="../tags/tag20.xml"/><Relationship Id="rId6" Type="http://schemas.openxmlformats.org/officeDocument/2006/relationships/customXml" Target="../ink/ink499.xml"/><Relationship Id="rId15" Type="http://schemas.openxmlformats.org/officeDocument/2006/relationships/image" Target="../media/image512.png"/><Relationship Id="rId23" Type="http://schemas.openxmlformats.org/officeDocument/2006/relationships/image" Target="../media/image516.png"/><Relationship Id="rId28" Type="http://schemas.openxmlformats.org/officeDocument/2006/relationships/customXml" Target="../ink/ink510.xml"/><Relationship Id="rId36" Type="http://schemas.openxmlformats.org/officeDocument/2006/relationships/customXml" Target="../ink/ink514.xml"/><Relationship Id="rId49" Type="http://schemas.openxmlformats.org/officeDocument/2006/relationships/image" Target="../media/image529.png"/><Relationship Id="rId57" Type="http://schemas.openxmlformats.org/officeDocument/2006/relationships/image" Target="../media/image533.png"/><Relationship Id="rId10" Type="http://schemas.openxmlformats.org/officeDocument/2006/relationships/customXml" Target="../ink/ink501.xml"/><Relationship Id="rId31" Type="http://schemas.openxmlformats.org/officeDocument/2006/relationships/image" Target="../media/image520.png"/><Relationship Id="rId44" Type="http://schemas.openxmlformats.org/officeDocument/2006/relationships/customXml" Target="../ink/ink518.xml"/><Relationship Id="rId52" Type="http://schemas.openxmlformats.org/officeDocument/2006/relationships/customXml" Target="../ink/ink522.xml"/><Relationship Id="rId60" Type="http://schemas.openxmlformats.org/officeDocument/2006/relationships/customXml" Target="../ink/ink526.xml"/><Relationship Id="rId65" Type="http://schemas.openxmlformats.org/officeDocument/2006/relationships/image" Target="../media/image537.png"/><Relationship Id="rId73" Type="http://schemas.openxmlformats.org/officeDocument/2006/relationships/image" Target="../media/image541.png"/><Relationship Id="rId78" Type="http://schemas.openxmlformats.org/officeDocument/2006/relationships/customXml" Target="../ink/ink535.xml"/><Relationship Id="rId81" Type="http://schemas.openxmlformats.org/officeDocument/2006/relationships/customXml" Target="../ink/ink537.xml"/><Relationship Id="rId86" Type="http://schemas.openxmlformats.org/officeDocument/2006/relationships/image" Target="../media/image547.png"/><Relationship Id="rId94" Type="http://schemas.openxmlformats.org/officeDocument/2006/relationships/image" Target="../media/image551.png"/><Relationship Id="rId99" Type="http://schemas.openxmlformats.org/officeDocument/2006/relationships/customXml" Target="../ink/ink546.xml"/><Relationship Id="rId101" Type="http://schemas.openxmlformats.org/officeDocument/2006/relationships/customXml" Target="../ink/ink547.xml"/><Relationship Id="rId4" Type="http://schemas.openxmlformats.org/officeDocument/2006/relationships/image" Target="../media/image1.emf"/><Relationship Id="rId9" Type="http://schemas.openxmlformats.org/officeDocument/2006/relationships/image" Target="../media/image509.png"/><Relationship Id="rId13" Type="http://schemas.openxmlformats.org/officeDocument/2006/relationships/image" Target="../media/image511.png"/><Relationship Id="rId18" Type="http://schemas.openxmlformats.org/officeDocument/2006/relationships/customXml" Target="../ink/ink505.xml"/><Relationship Id="rId39" Type="http://schemas.openxmlformats.org/officeDocument/2006/relationships/image" Target="../media/image524.png"/><Relationship Id="rId34" Type="http://schemas.openxmlformats.org/officeDocument/2006/relationships/customXml" Target="../ink/ink513.xml"/><Relationship Id="rId50" Type="http://schemas.openxmlformats.org/officeDocument/2006/relationships/customXml" Target="../ink/ink521.xml"/><Relationship Id="rId55" Type="http://schemas.openxmlformats.org/officeDocument/2006/relationships/image" Target="../media/image532.png"/><Relationship Id="rId76" Type="http://schemas.openxmlformats.org/officeDocument/2006/relationships/customXml" Target="../ink/ink534.xml"/><Relationship Id="rId97" Type="http://schemas.openxmlformats.org/officeDocument/2006/relationships/customXml" Target="../ink/ink545.xml"/><Relationship Id="rId104" Type="http://schemas.openxmlformats.org/officeDocument/2006/relationships/image" Target="../media/image556.png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customXml" Target="../ink/ink554.xml"/><Relationship Id="rId18" Type="http://schemas.openxmlformats.org/officeDocument/2006/relationships/image" Target="../media/image562.png"/><Relationship Id="rId26" Type="http://schemas.openxmlformats.org/officeDocument/2006/relationships/image" Target="../media/image566.png"/><Relationship Id="rId39" Type="http://schemas.openxmlformats.org/officeDocument/2006/relationships/customXml" Target="../ink/ink567.xml"/><Relationship Id="rId3" Type="http://schemas.openxmlformats.org/officeDocument/2006/relationships/customXml" Target="../ink/ink549.xml"/><Relationship Id="rId21" Type="http://schemas.openxmlformats.org/officeDocument/2006/relationships/customXml" Target="../ink/ink558.xml"/><Relationship Id="rId34" Type="http://schemas.openxmlformats.org/officeDocument/2006/relationships/image" Target="../media/image570.png"/><Relationship Id="rId42" Type="http://schemas.openxmlformats.org/officeDocument/2006/relationships/image" Target="../media/image574.png"/><Relationship Id="rId47" Type="http://schemas.openxmlformats.org/officeDocument/2006/relationships/customXml" Target="../ink/ink571.xml"/><Relationship Id="rId50" Type="http://schemas.openxmlformats.org/officeDocument/2006/relationships/image" Target="../media/image578.png"/><Relationship Id="rId7" Type="http://schemas.openxmlformats.org/officeDocument/2006/relationships/customXml" Target="../ink/ink551.xml"/><Relationship Id="rId12" Type="http://schemas.openxmlformats.org/officeDocument/2006/relationships/image" Target="../media/image559.png"/><Relationship Id="rId17" Type="http://schemas.openxmlformats.org/officeDocument/2006/relationships/customXml" Target="../ink/ink556.xml"/><Relationship Id="rId25" Type="http://schemas.openxmlformats.org/officeDocument/2006/relationships/customXml" Target="../ink/ink560.xml"/><Relationship Id="rId33" Type="http://schemas.openxmlformats.org/officeDocument/2006/relationships/customXml" Target="../ink/ink564.xml"/><Relationship Id="rId38" Type="http://schemas.openxmlformats.org/officeDocument/2006/relationships/image" Target="../media/image572.png"/><Relationship Id="rId46" Type="http://schemas.openxmlformats.org/officeDocument/2006/relationships/image" Target="../media/image576.png"/><Relationship Id="rId2" Type="http://schemas.openxmlformats.org/officeDocument/2006/relationships/image" Target="../media/image557.png"/><Relationship Id="rId16" Type="http://schemas.openxmlformats.org/officeDocument/2006/relationships/image" Target="../media/image561.png"/><Relationship Id="rId20" Type="http://schemas.openxmlformats.org/officeDocument/2006/relationships/image" Target="../media/image563.png"/><Relationship Id="rId29" Type="http://schemas.openxmlformats.org/officeDocument/2006/relationships/customXml" Target="../ink/ink562.xml"/><Relationship Id="rId41" Type="http://schemas.openxmlformats.org/officeDocument/2006/relationships/customXml" Target="../ink/ink56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450.png"/><Relationship Id="rId11" Type="http://schemas.openxmlformats.org/officeDocument/2006/relationships/customXml" Target="../ink/ink553.xml"/><Relationship Id="rId24" Type="http://schemas.openxmlformats.org/officeDocument/2006/relationships/image" Target="../media/image565.png"/><Relationship Id="rId32" Type="http://schemas.openxmlformats.org/officeDocument/2006/relationships/image" Target="../media/image569.png"/><Relationship Id="rId37" Type="http://schemas.openxmlformats.org/officeDocument/2006/relationships/customXml" Target="../ink/ink566.xml"/><Relationship Id="rId40" Type="http://schemas.openxmlformats.org/officeDocument/2006/relationships/image" Target="../media/image573.png"/><Relationship Id="rId45" Type="http://schemas.openxmlformats.org/officeDocument/2006/relationships/customXml" Target="../ink/ink570.xml"/><Relationship Id="rId5" Type="http://schemas.openxmlformats.org/officeDocument/2006/relationships/customXml" Target="../ink/ink550.xml"/><Relationship Id="rId15" Type="http://schemas.openxmlformats.org/officeDocument/2006/relationships/customXml" Target="../ink/ink555.xml"/><Relationship Id="rId23" Type="http://schemas.openxmlformats.org/officeDocument/2006/relationships/customXml" Target="../ink/ink559.xml"/><Relationship Id="rId28" Type="http://schemas.openxmlformats.org/officeDocument/2006/relationships/image" Target="../media/image567.png"/><Relationship Id="rId36" Type="http://schemas.openxmlformats.org/officeDocument/2006/relationships/image" Target="../media/image571.png"/><Relationship Id="rId49" Type="http://schemas.openxmlformats.org/officeDocument/2006/relationships/customXml" Target="../ink/ink572.xml"/><Relationship Id="rId10" Type="http://schemas.openxmlformats.org/officeDocument/2006/relationships/image" Target="../media/image558.png"/><Relationship Id="rId19" Type="http://schemas.openxmlformats.org/officeDocument/2006/relationships/customXml" Target="../ink/ink557.xml"/><Relationship Id="rId31" Type="http://schemas.openxmlformats.org/officeDocument/2006/relationships/customXml" Target="../ink/ink563.xml"/><Relationship Id="rId44" Type="http://schemas.openxmlformats.org/officeDocument/2006/relationships/image" Target="../media/image575.png"/><Relationship Id="rId52" Type="http://schemas.openxmlformats.org/officeDocument/2006/relationships/image" Target="../media/image579.png"/><Relationship Id="rId4" Type="http://schemas.openxmlformats.org/officeDocument/2006/relationships/image" Target="../media/image5440.png"/><Relationship Id="rId9" Type="http://schemas.openxmlformats.org/officeDocument/2006/relationships/customXml" Target="../ink/ink552.xml"/><Relationship Id="rId14" Type="http://schemas.openxmlformats.org/officeDocument/2006/relationships/image" Target="../media/image560.png"/><Relationship Id="rId22" Type="http://schemas.openxmlformats.org/officeDocument/2006/relationships/image" Target="../media/image564.png"/><Relationship Id="rId27" Type="http://schemas.openxmlformats.org/officeDocument/2006/relationships/customXml" Target="../ink/ink561.xml"/><Relationship Id="rId30" Type="http://schemas.openxmlformats.org/officeDocument/2006/relationships/image" Target="../media/image568.png"/><Relationship Id="rId35" Type="http://schemas.openxmlformats.org/officeDocument/2006/relationships/customXml" Target="../ink/ink565.xml"/><Relationship Id="rId43" Type="http://schemas.openxmlformats.org/officeDocument/2006/relationships/customXml" Target="../ink/ink569.xml"/><Relationship Id="rId48" Type="http://schemas.openxmlformats.org/officeDocument/2006/relationships/image" Target="../media/image577.png"/><Relationship Id="rId8" Type="http://schemas.openxmlformats.org/officeDocument/2006/relationships/image" Target="../media/image5460.png"/><Relationship Id="rId51" Type="http://schemas.openxmlformats.org/officeDocument/2006/relationships/customXml" Target="../ink/ink57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customXml" Target="../ink/ink1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26" Type="http://schemas.openxmlformats.org/officeDocument/2006/relationships/customXml" Target="../ink/ink584.xml"/><Relationship Id="rId21" Type="http://schemas.openxmlformats.org/officeDocument/2006/relationships/image" Target="../media/image5550.png"/><Relationship Id="rId42" Type="http://schemas.openxmlformats.org/officeDocument/2006/relationships/customXml" Target="../ink/ink592.xml"/><Relationship Id="rId47" Type="http://schemas.openxmlformats.org/officeDocument/2006/relationships/image" Target="../media/image5680.png"/><Relationship Id="rId63" Type="http://schemas.openxmlformats.org/officeDocument/2006/relationships/image" Target="../media/image5760.png"/><Relationship Id="rId68" Type="http://schemas.openxmlformats.org/officeDocument/2006/relationships/customXml" Target="../ink/ink605.xml"/><Relationship Id="rId84" Type="http://schemas.openxmlformats.org/officeDocument/2006/relationships/customXml" Target="../ink/ink613.xml"/><Relationship Id="rId89" Type="http://schemas.openxmlformats.org/officeDocument/2006/relationships/image" Target="../media/image589.png"/><Relationship Id="rId7" Type="http://schemas.openxmlformats.org/officeDocument/2006/relationships/image" Target="../media/image5480.png"/><Relationship Id="rId71" Type="http://schemas.openxmlformats.org/officeDocument/2006/relationships/image" Target="../media/image5800.png"/><Relationship Id="rId92" Type="http://schemas.openxmlformats.org/officeDocument/2006/relationships/customXml" Target="../ink/ink617.xml"/><Relationship Id="rId2" Type="http://schemas.openxmlformats.org/officeDocument/2006/relationships/slideLayout" Target="../slideLayouts/slideLayout2.xml"/><Relationship Id="rId16" Type="http://schemas.openxmlformats.org/officeDocument/2006/relationships/customXml" Target="../ink/ink579.xml"/><Relationship Id="rId29" Type="http://schemas.openxmlformats.org/officeDocument/2006/relationships/image" Target="../media/image5590.png"/><Relationship Id="rId107" Type="http://schemas.openxmlformats.org/officeDocument/2006/relationships/image" Target="../media/image598.png"/><Relationship Id="rId11" Type="http://schemas.openxmlformats.org/officeDocument/2006/relationships/image" Target="../media/image5500.png"/><Relationship Id="rId24" Type="http://schemas.openxmlformats.org/officeDocument/2006/relationships/customXml" Target="../ink/ink583.xml"/><Relationship Id="rId32" Type="http://schemas.openxmlformats.org/officeDocument/2006/relationships/customXml" Target="../ink/ink587.xml"/><Relationship Id="rId37" Type="http://schemas.openxmlformats.org/officeDocument/2006/relationships/image" Target="../media/image5630.png"/><Relationship Id="rId40" Type="http://schemas.openxmlformats.org/officeDocument/2006/relationships/customXml" Target="../ink/ink591.xml"/><Relationship Id="rId45" Type="http://schemas.openxmlformats.org/officeDocument/2006/relationships/image" Target="../media/image5670.png"/><Relationship Id="rId53" Type="http://schemas.openxmlformats.org/officeDocument/2006/relationships/image" Target="../media/image5710.png"/><Relationship Id="rId58" Type="http://schemas.openxmlformats.org/officeDocument/2006/relationships/customXml" Target="../ink/ink600.xml"/><Relationship Id="rId66" Type="http://schemas.openxmlformats.org/officeDocument/2006/relationships/customXml" Target="../ink/ink604.xml"/><Relationship Id="rId74" Type="http://schemas.openxmlformats.org/officeDocument/2006/relationships/customXml" Target="../ink/ink608.xml"/><Relationship Id="rId79" Type="http://schemas.openxmlformats.org/officeDocument/2006/relationships/image" Target="../media/image584.png"/><Relationship Id="rId87" Type="http://schemas.openxmlformats.org/officeDocument/2006/relationships/image" Target="../media/image588.png"/><Relationship Id="rId102" Type="http://schemas.openxmlformats.org/officeDocument/2006/relationships/customXml" Target="../ink/ink622.xml"/><Relationship Id="rId5" Type="http://schemas.openxmlformats.org/officeDocument/2006/relationships/image" Target="../media/image580.png"/><Relationship Id="rId61" Type="http://schemas.openxmlformats.org/officeDocument/2006/relationships/image" Target="../media/image5750.png"/><Relationship Id="rId82" Type="http://schemas.openxmlformats.org/officeDocument/2006/relationships/customXml" Target="../ink/ink612.xml"/><Relationship Id="rId90" Type="http://schemas.openxmlformats.org/officeDocument/2006/relationships/customXml" Target="../ink/ink616.xml"/><Relationship Id="rId95" Type="http://schemas.openxmlformats.org/officeDocument/2006/relationships/image" Target="../media/image592.png"/><Relationship Id="rId19" Type="http://schemas.openxmlformats.org/officeDocument/2006/relationships/image" Target="../media/image5540.png"/><Relationship Id="rId14" Type="http://schemas.openxmlformats.org/officeDocument/2006/relationships/customXml" Target="../ink/ink578.xml"/><Relationship Id="rId22" Type="http://schemas.openxmlformats.org/officeDocument/2006/relationships/customXml" Target="../ink/ink582.xml"/><Relationship Id="rId27" Type="http://schemas.openxmlformats.org/officeDocument/2006/relationships/image" Target="../media/image5580.png"/><Relationship Id="rId30" Type="http://schemas.openxmlformats.org/officeDocument/2006/relationships/customXml" Target="../ink/ink586.xml"/><Relationship Id="rId35" Type="http://schemas.openxmlformats.org/officeDocument/2006/relationships/image" Target="../media/image5620.png"/><Relationship Id="rId43" Type="http://schemas.openxmlformats.org/officeDocument/2006/relationships/image" Target="../media/image5660.png"/><Relationship Id="rId48" Type="http://schemas.openxmlformats.org/officeDocument/2006/relationships/customXml" Target="../ink/ink595.xml"/><Relationship Id="rId56" Type="http://schemas.openxmlformats.org/officeDocument/2006/relationships/customXml" Target="../ink/ink599.xml"/><Relationship Id="rId64" Type="http://schemas.openxmlformats.org/officeDocument/2006/relationships/customXml" Target="../ink/ink603.xml"/><Relationship Id="rId69" Type="http://schemas.openxmlformats.org/officeDocument/2006/relationships/image" Target="../media/image5790.png"/><Relationship Id="rId77" Type="http://schemas.openxmlformats.org/officeDocument/2006/relationships/image" Target="../media/image583.png"/><Relationship Id="rId100" Type="http://schemas.openxmlformats.org/officeDocument/2006/relationships/customXml" Target="../ink/ink621.xml"/><Relationship Id="rId105" Type="http://schemas.openxmlformats.org/officeDocument/2006/relationships/image" Target="../media/image597.png"/><Relationship Id="rId8" Type="http://schemas.openxmlformats.org/officeDocument/2006/relationships/customXml" Target="../ink/ink575.xml"/><Relationship Id="rId51" Type="http://schemas.openxmlformats.org/officeDocument/2006/relationships/image" Target="../media/image5700.png"/><Relationship Id="rId72" Type="http://schemas.openxmlformats.org/officeDocument/2006/relationships/customXml" Target="../ink/ink607.xml"/><Relationship Id="rId80" Type="http://schemas.openxmlformats.org/officeDocument/2006/relationships/customXml" Target="../ink/ink611.xml"/><Relationship Id="rId85" Type="http://schemas.openxmlformats.org/officeDocument/2006/relationships/image" Target="../media/image587.png"/><Relationship Id="rId93" Type="http://schemas.openxmlformats.org/officeDocument/2006/relationships/image" Target="../media/image591.png"/><Relationship Id="rId98" Type="http://schemas.openxmlformats.org/officeDocument/2006/relationships/customXml" Target="../ink/ink620.xml"/><Relationship Id="rId3" Type="http://schemas.openxmlformats.org/officeDocument/2006/relationships/oleObject" Target="../embeddings/oleObject20.bin"/><Relationship Id="rId12" Type="http://schemas.openxmlformats.org/officeDocument/2006/relationships/customXml" Target="../ink/ink577.xml"/><Relationship Id="rId17" Type="http://schemas.openxmlformats.org/officeDocument/2006/relationships/image" Target="../media/image5530.png"/><Relationship Id="rId25" Type="http://schemas.openxmlformats.org/officeDocument/2006/relationships/image" Target="../media/image5570.png"/><Relationship Id="rId33" Type="http://schemas.openxmlformats.org/officeDocument/2006/relationships/image" Target="../media/image5610.png"/><Relationship Id="rId38" Type="http://schemas.openxmlformats.org/officeDocument/2006/relationships/customXml" Target="../ink/ink590.xml"/><Relationship Id="rId46" Type="http://schemas.openxmlformats.org/officeDocument/2006/relationships/customXml" Target="../ink/ink594.xml"/><Relationship Id="rId59" Type="http://schemas.openxmlformats.org/officeDocument/2006/relationships/image" Target="../media/image5740.png"/><Relationship Id="rId67" Type="http://schemas.openxmlformats.org/officeDocument/2006/relationships/image" Target="../media/image5780.png"/><Relationship Id="rId103" Type="http://schemas.openxmlformats.org/officeDocument/2006/relationships/image" Target="../media/image596.png"/><Relationship Id="rId20" Type="http://schemas.openxmlformats.org/officeDocument/2006/relationships/customXml" Target="../ink/ink581.xml"/><Relationship Id="rId41" Type="http://schemas.openxmlformats.org/officeDocument/2006/relationships/image" Target="../media/image5650.png"/><Relationship Id="rId54" Type="http://schemas.openxmlformats.org/officeDocument/2006/relationships/customXml" Target="../ink/ink598.xml"/><Relationship Id="rId62" Type="http://schemas.openxmlformats.org/officeDocument/2006/relationships/customXml" Target="../ink/ink602.xml"/><Relationship Id="rId70" Type="http://schemas.openxmlformats.org/officeDocument/2006/relationships/customXml" Target="../ink/ink606.xml"/><Relationship Id="rId75" Type="http://schemas.openxmlformats.org/officeDocument/2006/relationships/image" Target="../media/image582.png"/><Relationship Id="rId83" Type="http://schemas.openxmlformats.org/officeDocument/2006/relationships/image" Target="../media/image586.png"/><Relationship Id="rId88" Type="http://schemas.openxmlformats.org/officeDocument/2006/relationships/customXml" Target="../ink/ink615.xml"/><Relationship Id="rId91" Type="http://schemas.openxmlformats.org/officeDocument/2006/relationships/image" Target="../media/image590.png"/><Relationship Id="rId96" Type="http://schemas.openxmlformats.org/officeDocument/2006/relationships/customXml" Target="../ink/ink619.xml"/><Relationship Id="rId1" Type="http://schemas.openxmlformats.org/officeDocument/2006/relationships/tags" Target="../tags/tag21.xml"/><Relationship Id="rId6" Type="http://schemas.openxmlformats.org/officeDocument/2006/relationships/customXml" Target="../ink/ink574.xml"/><Relationship Id="rId15" Type="http://schemas.openxmlformats.org/officeDocument/2006/relationships/image" Target="../media/image5520.png"/><Relationship Id="rId23" Type="http://schemas.openxmlformats.org/officeDocument/2006/relationships/image" Target="../media/image5560.png"/><Relationship Id="rId28" Type="http://schemas.openxmlformats.org/officeDocument/2006/relationships/customXml" Target="../ink/ink585.xml"/><Relationship Id="rId36" Type="http://schemas.openxmlformats.org/officeDocument/2006/relationships/customXml" Target="../ink/ink589.xml"/><Relationship Id="rId49" Type="http://schemas.openxmlformats.org/officeDocument/2006/relationships/image" Target="../media/image5690.png"/><Relationship Id="rId57" Type="http://schemas.openxmlformats.org/officeDocument/2006/relationships/image" Target="../media/image5730.png"/><Relationship Id="rId106" Type="http://schemas.openxmlformats.org/officeDocument/2006/relationships/customXml" Target="../ink/ink624.xml"/><Relationship Id="rId10" Type="http://schemas.openxmlformats.org/officeDocument/2006/relationships/customXml" Target="../ink/ink576.xml"/><Relationship Id="rId31" Type="http://schemas.openxmlformats.org/officeDocument/2006/relationships/image" Target="../media/image5600.png"/><Relationship Id="rId44" Type="http://schemas.openxmlformats.org/officeDocument/2006/relationships/customXml" Target="../ink/ink593.xml"/><Relationship Id="rId52" Type="http://schemas.openxmlformats.org/officeDocument/2006/relationships/customXml" Target="../ink/ink597.xml"/><Relationship Id="rId60" Type="http://schemas.openxmlformats.org/officeDocument/2006/relationships/customXml" Target="../ink/ink601.xml"/><Relationship Id="rId65" Type="http://schemas.openxmlformats.org/officeDocument/2006/relationships/image" Target="../media/image5770.png"/><Relationship Id="rId73" Type="http://schemas.openxmlformats.org/officeDocument/2006/relationships/image" Target="../media/image581.png"/><Relationship Id="rId78" Type="http://schemas.openxmlformats.org/officeDocument/2006/relationships/customXml" Target="../ink/ink610.xml"/><Relationship Id="rId81" Type="http://schemas.openxmlformats.org/officeDocument/2006/relationships/image" Target="../media/image585.png"/><Relationship Id="rId86" Type="http://schemas.openxmlformats.org/officeDocument/2006/relationships/customXml" Target="../ink/ink614.xml"/><Relationship Id="rId94" Type="http://schemas.openxmlformats.org/officeDocument/2006/relationships/customXml" Target="../ink/ink618.xml"/><Relationship Id="rId99" Type="http://schemas.openxmlformats.org/officeDocument/2006/relationships/image" Target="../media/image594.png"/><Relationship Id="rId101" Type="http://schemas.openxmlformats.org/officeDocument/2006/relationships/image" Target="../media/image595.png"/><Relationship Id="rId4" Type="http://schemas.openxmlformats.org/officeDocument/2006/relationships/image" Target="../media/image1.emf"/><Relationship Id="rId9" Type="http://schemas.openxmlformats.org/officeDocument/2006/relationships/image" Target="../media/image5490.png"/><Relationship Id="rId13" Type="http://schemas.openxmlformats.org/officeDocument/2006/relationships/image" Target="../media/image5510.png"/><Relationship Id="rId18" Type="http://schemas.openxmlformats.org/officeDocument/2006/relationships/customXml" Target="../ink/ink580.xml"/><Relationship Id="rId39" Type="http://schemas.openxmlformats.org/officeDocument/2006/relationships/image" Target="../media/image5640.png"/><Relationship Id="rId34" Type="http://schemas.openxmlformats.org/officeDocument/2006/relationships/customXml" Target="../ink/ink588.xml"/><Relationship Id="rId50" Type="http://schemas.openxmlformats.org/officeDocument/2006/relationships/customXml" Target="../ink/ink596.xml"/><Relationship Id="rId55" Type="http://schemas.openxmlformats.org/officeDocument/2006/relationships/image" Target="../media/image5720.png"/><Relationship Id="rId76" Type="http://schemas.openxmlformats.org/officeDocument/2006/relationships/customXml" Target="../ink/ink609.xml"/><Relationship Id="rId97" Type="http://schemas.openxmlformats.org/officeDocument/2006/relationships/image" Target="../media/image593.png"/><Relationship Id="rId104" Type="http://schemas.openxmlformats.org/officeDocument/2006/relationships/customXml" Target="../ink/ink62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customXml" Target="../ink/ink626.xml"/><Relationship Id="rId13" Type="http://schemas.openxmlformats.org/officeDocument/2006/relationships/image" Target="../media/image602.png"/><Relationship Id="rId18" Type="http://schemas.openxmlformats.org/officeDocument/2006/relationships/image" Target="../media/image605.png"/><Relationship Id="rId3" Type="http://schemas.openxmlformats.org/officeDocument/2006/relationships/oleObject" Target="../embeddings/oleObject21.bin"/><Relationship Id="rId21" Type="http://schemas.openxmlformats.org/officeDocument/2006/relationships/customXml" Target="../ink/ink632.xml"/><Relationship Id="rId7" Type="http://schemas.openxmlformats.org/officeDocument/2006/relationships/image" Target="../media/image5990.png"/><Relationship Id="rId12" Type="http://schemas.openxmlformats.org/officeDocument/2006/relationships/customXml" Target="../ink/ink628.xml"/><Relationship Id="rId17" Type="http://schemas.openxmlformats.org/officeDocument/2006/relationships/customXml" Target="../ink/ink630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604.png"/><Relationship Id="rId20" Type="http://schemas.openxmlformats.org/officeDocument/2006/relationships/image" Target="../media/image606.png"/><Relationship Id="rId1" Type="http://schemas.openxmlformats.org/officeDocument/2006/relationships/tags" Target="../tags/tag22.xml"/><Relationship Id="rId6" Type="http://schemas.openxmlformats.org/officeDocument/2006/relationships/customXml" Target="../ink/ink625.xml"/><Relationship Id="rId11" Type="http://schemas.openxmlformats.org/officeDocument/2006/relationships/image" Target="../media/image601.png"/><Relationship Id="rId5" Type="http://schemas.openxmlformats.org/officeDocument/2006/relationships/image" Target="../media/image599.png"/><Relationship Id="rId15" Type="http://schemas.openxmlformats.org/officeDocument/2006/relationships/customXml" Target="../ink/ink629.xml"/><Relationship Id="rId10" Type="http://schemas.openxmlformats.org/officeDocument/2006/relationships/customXml" Target="../ink/ink627.xml"/><Relationship Id="rId19" Type="http://schemas.openxmlformats.org/officeDocument/2006/relationships/customXml" Target="../ink/ink631.xml"/><Relationship Id="rId4" Type="http://schemas.openxmlformats.org/officeDocument/2006/relationships/image" Target="../media/image1.emf"/><Relationship Id="rId9" Type="http://schemas.openxmlformats.org/officeDocument/2006/relationships/image" Target="../media/image600.png"/><Relationship Id="rId14" Type="http://schemas.openxmlformats.org/officeDocument/2006/relationships/image" Target="../media/image603.png"/><Relationship Id="rId22" Type="http://schemas.openxmlformats.org/officeDocument/2006/relationships/image" Target="../media/image60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7" Type="http://schemas.openxmlformats.org/officeDocument/2006/relationships/image" Target="../media/image60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6" Type="http://schemas.openxmlformats.org/officeDocument/2006/relationships/customXml" Target="../ink/ink633.xml"/><Relationship Id="rId5" Type="http://schemas.openxmlformats.org/officeDocument/2006/relationships/image" Target="../media/image608.png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5" Type="http://schemas.openxmlformats.org/officeDocument/2006/relationships/image" Target="../media/image610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7.png"/><Relationship Id="rId18" Type="http://schemas.openxmlformats.org/officeDocument/2006/relationships/customXml" Target="../ink/ink8.xml"/><Relationship Id="rId26" Type="http://schemas.openxmlformats.org/officeDocument/2006/relationships/customXml" Target="../ink/ink12.xml"/><Relationship Id="rId39" Type="http://schemas.openxmlformats.org/officeDocument/2006/relationships/image" Target="../media/image20.png"/><Relationship Id="rId21" Type="http://schemas.openxmlformats.org/officeDocument/2006/relationships/image" Target="../media/image11.png"/><Relationship Id="rId34" Type="http://schemas.openxmlformats.org/officeDocument/2006/relationships/customXml" Target="../ink/ink16.xml"/><Relationship Id="rId42" Type="http://schemas.openxmlformats.org/officeDocument/2006/relationships/customXml" Target="../ink/ink20.xml"/><Relationship Id="rId47" Type="http://schemas.openxmlformats.org/officeDocument/2006/relationships/image" Target="../media/image24.png"/><Relationship Id="rId50" Type="http://schemas.openxmlformats.org/officeDocument/2006/relationships/customXml" Target="../ink/ink24.xml"/><Relationship Id="rId55" Type="http://schemas.openxmlformats.org/officeDocument/2006/relationships/image" Target="../media/image28.png"/><Relationship Id="rId63" Type="http://schemas.openxmlformats.org/officeDocument/2006/relationships/image" Target="../media/image32.png"/><Relationship Id="rId68" Type="http://schemas.openxmlformats.org/officeDocument/2006/relationships/customXml" Target="../ink/ink33.xml"/><Relationship Id="rId76" Type="http://schemas.openxmlformats.org/officeDocument/2006/relationships/customXml" Target="../ink/ink37.xml"/><Relationship Id="rId84" Type="http://schemas.openxmlformats.org/officeDocument/2006/relationships/customXml" Target="../ink/ink41.xml"/><Relationship Id="rId89" Type="http://schemas.openxmlformats.org/officeDocument/2006/relationships/image" Target="../media/image45.png"/><Relationship Id="rId7" Type="http://schemas.openxmlformats.org/officeDocument/2006/relationships/image" Target="../media/image4100.png"/><Relationship Id="rId71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6" Type="http://schemas.openxmlformats.org/officeDocument/2006/relationships/customXml" Target="../ink/ink7.xml"/><Relationship Id="rId29" Type="http://schemas.openxmlformats.org/officeDocument/2006/relationships/image" Target="../media/image15.png"/><Relationship Id="rId11" Type="http://schemas.openxmlformats.org/officeDocument/2006/relationships/image" Target="../media/image6.png"/><Relationship Id="rId24" Type="http://schemas.openxmlformats.org/officeDocument/2006/relationships/customXml" Target="../ink/ink11.xml"/><Relationship Id="rId32" Type="http://schemas.openxmlformats.org/officeDocument/2006/relationships/customXml" Target="../ink/ink15.xml"/><Relationship Id="rId37" Type="http://schemas.openxmlformats.org/officeDocument/2006/relationships/image" Target="../media/image19.png"/><Relationship Id="rId40" Type="http://schemas.openxmlformats.org/officeDocument/2006/relationships/customXml" Target="../ink/ink19.xml"/><Relationship Id="rId45" Type="http://schemas.openxmlformats.org/officeDocument/2006/relationships/image" Target="../media/image23.png"/><Relationship Id="rId53" Type="http://schemas.openxmlformats.org/officeDocument/2006/relationships/image" Target="../media/image27.png"/><Relationship Id="rId58" Type="http://schemas.openxmlformats.org/officeDocument/2006/relationships/customXml" Target="../ink/ink28.xml"/><Relationship Id="rId66" Type="http://schemas.openxmlformats.org/officeDocument/2006/relationships/customXml" Target="../ink/ink32.xml"/><Relationship Id="rId74" Type="http://schemas.openxmlformats.org/officeDocument/2006/relationships/customXml" Target="../ink/ink36.xml"/><Relationship Id="rId79" Type="http://schemas.openxmlformats.org/officeDocument/2006/relationships/image" Target="../media/image40.png"/><Relationship Id="rId87" Type="http://schemas.openxmlformats.org/officeDocument/2006/relationships/image" Target="../media/image44.png"/><Relationship Id="rId5" Type="http://schemas.openxmlformats.org/officeDocument/2006/relationships/image" Target="../media/image4.png"/><Relationship Id="rId61" Type="http://schemas.openxmlformats.org/officeDocument/2006/relationships/image" Target="../media/image31.png"/><Relationship Id="rId82" Type="http://schemas.openxmlformats.org/officeDocument/2006/relationships/customXml" Target="../ink/ink40.xml"/><Relationship Id="rId19" Type="http://schemas.openxmlformats.org/officeDocument/2006/relationships/image" Target="../media/image10.png"/><Relationship Id="rId4" Type="http://schemas.openxmlformats.org/officeDocument/2006/relationships/image" Target="../media/image1.emf"/><Relationship Id="rId9" Type="http://schemas.openxmlformats.org/officeDocument/2006/relationships/image" Target="../media/image5.png"/><Relationship Id="rId14" Type="http://schemas.openxmlformats.org/officeDocument/2006/relationships/customXml" Target="../ink/ink6.xml"/><Relationship Id="rId22" Type="http://schemas.openxmlformats.org/officeDocument/2006/relationships/customXml" Target="../ink/ink10.xml"/><Relationship Id="rId27" Type="http://schemas.openxmlformats.org/officeDocument/2006/relationships/image" Target="../media/image14.png"/><Relationship Id="rId30" Type="http://schemas.openxmlformats.org/officeDocument/2006/relationships/customXml" Target="../ink/ink14.xml"/><Relationship Id="rId35" Type="http://schemas.openxmlformats.org/officeDocument/2006/relationships/image" Target="../media/image18.png"/><Relationship Id="rId43" Type="http://schemas.openxmlformats.org/officeDocument/2006/relationships/image" Target="../media/image22.png"/><Relationship Id="rId48" Type="http://schemas.openxmlformats.org/officeDocument/2006/relationships/customXml" Target="../ink/ink23.xml"/><Relationship Id="rId56" Type="http://schemas.openxmlformats.org/officeDocument/2006/relationships/customXml" Target="../ink/ink27.xml"/><Relationship Id="rId64" Type="http://schemas.openxmlformats.org/officeDocument/2006/relationships/customXml" Target="../ink/ink31.xml"/><Relationship Id="rId69" Type="http://schemas.openxmlformats.org/officeDocument/2006/relationships/image" Target="../media/image35.png"/><Relationship Id="rId77" Type="http://schemas.openxmlformats.org/officeDocument/2006/relationships/image" Target="../media/image39.png"/><Relationship Id="rId8" Type="http://schemas.openxmlformats.org/officeDocument/2006/relationships/customXml" Target="../ink/ink3.xml"/><Relationship Id="rId51" Type="http://schemas.openxmlformats.org/officeDocument/2006/relationships/image" Target="../media/image26.png"/><Relationship Id="rId72" Type="http://schemas.openxmlformats.org/officeDocument/2006/relationships/customXml" Target="../ink/ink35.xml"/><Relationship Id="rId80" Type="http://schemas.openxmlformats.org/officeDocument/2006/relationships/customXml" Target="../ink/ink39.xml"/><Relationship Id="rId85" Type="http://schemas.openxmlformats.org/officeDocument/2006/relationships/image" Target="../media/image43.png"/><Relationship Id="rId3" Type="http://schemas.openxmlformats.org/officeDocument/2006/relationships/oleObject" Target="../embeddings/oleObject4.bin"/><Relationship Id="rId12" Type="http://schemas.openxmlformats.org/officeDocument/2006/relationships/customXml" Target="../ink/ink5.xml"/><Relationship Id="rId17" Type="http://schemas.openxmlformats.org/officeDocument/2006/relationships/image" Target="../media/image9.png"/><Relationship Id="rId25" Type="http://schemas.openxmlformats.org/officeDocument/2006/relationships/image" Target="../media/image13.png"/><Relationship Id="rId33" Type="http://schemas.openxmlformats.org/officeDocument/2006/relationships/image" Target="../media/image17.png"/><Relationship Id="rId38" Type="http://schemas.openxmlformats.org/officeDocument/2006/relationships/customXml" Target="../ink/ink18.xml"/><Relationship Id="rId46" Type="http://schemas.openxmlformats.org/officeDocument/2006/relationships/customXml" Target="../ink/ink22.xml"/><Relationship Id="rId59" Type="http://schemas.openxmlformats.org/officeDocument/2006/relationships/image" Target="../media/image30.png"/><Relationship Id="rId67" Type="http://schemas.openxmlformats.org/officeDocument/2006/relationships/image" Target="../media/image34.png"/><Relationship Id="rId20" Type="http://schemas.openxmlformats.org/officeDocument/2006/relationships/customXml" Target="../ink/ink9.xml"/><Relationship Id="rId41" Type="http://schemas.openxmlformats.org/officeDocument/2006/relationships/image" Target="../media/image21.png"/><Relationship Id="rId54" Type="http://schemas.openxmlformats.org/officeDocument/2006/relationships/customXml" Target="../ink/ink26.xml"/><Relationship Id="rId62" Type="http://schemas.openxmlformats.org/officeDocument/2006/relationships/customXml" Target="../ink/ink30.xml"/><Relationship Id="rId70" Type="http://schemas.openxmlformats.org/officeDocument/2006/relationships/customXml" Target="../ink/ink34.xml"/><Relationship Id="rId75" Type="http://schemas.openxmlformats.org/officeDocument/2006/relationships/image" Target="../media/image38.png"/><Relationship Id="rId83" Type="http://schemas.openxmlformats.org/officeDocument/2006/relationships/image" Target="../media/image42.png"/><Relationship Id="rId88" Type="http://schemas.openxmlformats.org/officeDocument/2006/relationships/customXml" Target="../ink/ink43.xml"/><Relationship Id="rId1" Type="http://schemas.openxmlformats.org/officeDocument/2006/relationships/tags" Target="../tags/tag5.xml"/><Relationship Id="rId6" Type="http://schemas.openxmlformats.org/officeDocument/2006/relationships/customXml" Target="../ink/ink2.xml"/><Relationship Id="rId15" Type="http://schemas.openxmlformats.org/officeDocument/2006/relationships/image" Target="../media/image8.png"/><Relationship Id="rId23" Type="http://schemas.openxmlformats.org/officeDocument/2006/relationships/image" Target="../media/image12.png"/><Relationship Id="rId28" Type="http://schemas.openxmlformats.org/officeDocument/2006/relationships/customXml" Target="../ink/ink13.xml"/><Relationship Id="rId36" Type="http://schemas.openxmlformats.org/officeDocument/2006/relationships/customXml" Target="../ink/ink17.xml"/><Relationship Id="rId49" Type="http://schemas.openxmlformats.org/officeDocument/2006/relationships/image" Target="../media/image25.png"/><Relationship Id="rId57" Type="http://schemas.openxmlformats.org/officeDocument/2006/relationships/image" Target="../media/image29.png"/><Relationship Id="rId10" Type="http://schemas.openxmlformats.org/officeDocument/2006/relationships/customXml" Target="../ink/ink4.xml"/><Relationship Id="rId31" Type="http://schemas.openxmlformats.org/officeDocument/2006/relationships/image" Target="../media/image16.png"/><Relationship Id="rId44" Type="http://schemas.openxmlformats.org/officeDocument/2006/relationships/customXml" Target="../ink/ink21.xml"/><Relationship Id="rId52" Type="http://schemas.openxmlformats.org/officeDocument/2006/relationships/customXml" Target="../ink/ink25.xml"/><Relationship Id="rId60" Type="http://schemas.openxmlformats.org/officeDocument/2006/relationships/customXml" Target="../ink/ink29.xml"/><Relationship Id="rId65" Type="http://schemas.openxmlformats.org/officeDocument/2006/relationships/image" Target="../media/image33.png"/><Relationship Id="rId73" Type="http://schemas.openxmlformats.org/officeDocument/2006/relationships/image" Target="../media/image37.png"/><Relationship Id="rId78" Type="http://schemas.openxmlformats.org/officeDocument/2006/relationships/customXml" Target="../ink/ink38.xml"/><Relationship Id="rId81" Type="http://schemas.openxmlformats.org/officeDocument/2006/relationships/image" Target="../media/image41.png"/><Relationship Id="rId86" Type="http://schemas.openxmlformats.org/officeDocument/2006/relationships/customXml" Target="../ink/ink42.xml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customXml" Target="../ink/ink54.xml"/><Relationship Id="rId117" Type="http://schemas.openxmlformats.org/officeDocument/2006/relationships/image" Target="../media/image101.png"/><Relationship Id="rId21" Type="http://schemas.openxmlformats.org/officeDocument/2006/relationships/image" Target="../media/image53.png"/><Relationship Id="rId42" Type="http://schemas.openxmlformats.org/officeDocument/2006/relationships/customXml" Target="../ink/ink62.xml"/><Relationship Id="rId47" Type="http://schemas.openxmlformats.org/officeDocument/2006/relationships/image" Target="../media/image66.png"/><Relationship Id="rId63" Type="http://schemas.openxmlformats.org/officeDocument/2006/relationships/image" Target="../media/image74.png"/><Relationship Id="rId68" Type="http://schemas.openxmlformats.org/officeDocument/2006/relationships/customXml" Target="../ink/ink75.xml"/><Relationship Id="rId84" Type="http://schemas.openxmlformats.org/officeDocument/2006/relationships/customXml" Target="../ink/ink83.xml"/><Relationship Id="rId89" Type="http://schemas.openxmlformats.org/officeDocument/2006/relationships/image" Target="../media/image87.png"/><Relationship Id="rId112" Type="http://schemas.openxmlformats.org/officeDocument/2006/relationships/customXml" Target="../ink/ink97.xml"/><Relationship Id="rId133" Type="http://schemas.openxmlformats.org/officeDocument/2006/relationships/image" Target="../media/image109.png"/><Relationship Id="rId138" Type="http://schemas.openxmlformats.org/officeDocument/2006/relationships/customXml" Target="../ink/ink110.xml"/><Relationship Id="rId154" Type="http://schemas.openxmlformats.org/officeDocument/2006/relationships/customXml" Target="../ink/ink118.xml"/><Relationship Id="rId159" Type="http://schemas.openxmlformats.org/officeDocument/2006/relationships/image" Target="../media/image122.png"/><Relationship Id="rId175" Type="http://schemas.openxmlformats.org/officeDocument/2006/relationships/image" Target="../media/image130.png"/><Relationship Id="rId170" Type="http://schemas.openxmlformats.org/officeDocument/2006/relationships/customXml" Target="../ink/ink126.xml"/><Relationship Id="rId191" Type="http://schemas.openxmlformats.org/officeDocument/2006/relationships/image" Target="../media/image138.png"/><Relationship Id="rId16" Type="http://schemas.openxmlformats.org/officeDocument/2006/relationships/customXml" Target="../ink/ink49.xml"/><Relationship Id="rId107" Type="http://schemas.openxmlformats.org/officeDocument/2006/relationships/image" Target="../media/image96.png"/><Relationship Id="rId11" Type="http://schemas.openxmlformats.org/officeDocument/2006/relationships/image" Target="../media/image48.png"/><Relationship Id="rId32" Type="http://schemas.openxmlformats.org/officeDocument/2006/relationships/customXml" Target="../ink/ink57.xml"/><Relationship Id="rId37" Type="http://schemas.openxmlformats.org/officeDocument/2006/relationships/image" Target="../media/image61.png"/><Relationship Id="rId53" Type="http://schemas.openxmlformats.org/officeDocument/2006/relationships/image" Target="../media/image69.png"/><Relationship Id="rId58" Type="http://schemas.openxmlformats.org/officeDocument/2006/relationships/customXml" Target="../ink/ink70.xml"/><Relationship Id="rId74" Type="http://schemas.openxmlformats.org/officeDocument/2006/relationships/customXml" Target="../ink/ink78.xml"/><Relationship Id="rId79" Type="http://schemas.openxmlformats.org/officeDocument/2006/relationships/image" Target="../media/image82.png"/><Relationship Id="rId102" Type="http://schemas.openxmlformats.org/officeDocument/2006/relationships/customXml" Target="../ink/ink92.xml"/><Relationship Id="rId123" Type="http://schemas.openxmlformats.org/officeDocument/2006/relationships/image" Target="../media/image104.png"/><Relationship Id="rId128" Type="http://schemas.openxmlformats.org/officeDocument/2006/relationships/customXml" Target="../ink/ink105.xml"/><Relationship Id="rId144" Type="http://schemas.openxmlformats.org/officeDocument/2006/relationships/customXml" Target="../ink/ink113.xml"/><Relationship Id="rId149" Type="http://schemas.openxmlformats.org/officeDocument/2006/relationships/image" Target="../media/image117.png"/><Relationship Id="rId5" Type="http://schemas.openxmlformats.org/officeDocument/2006/relationships/image" Target="../media/image46.png"/><Relationship Id="rId90" Type="http://schemas.openxmlformats.org/officeDocument/2006/relationships/customXml" Target="../ink/ink86.xml"/><Relationship Id="rId95" Type="http://schemas.openxmlformats.org/officeDocument/2006/relationships/image" Target="../media/image90.png"/><Relationship Id="rId160" Type="http://schemas.openxmlformats.org/officeDocument/2006/relationships/customXml" Target="../ink/ink121.xml"/><Relationship Id="rId165" Type="http://schemas.openxmlformats.org/officeDocument/2006/relationships/image" Target="../media/image125.png"/><Relationship Id="rId181" Type="http://schemas.openxmlformats.org/officeDocument/2006/relationships/image" Target="../media/image133.png"/><Relationship Id="rId186" Type="http://schemas.openxmlformats.org/officeDocument/2006/relationships/customXml" Target="../ink/ink134.xml"/><Relationship Id="rId22" Type="http://schemas.openxmlformats.org/officeDocument/2006/relationships/customXml" Target="../ink/ink52.xml"/><Relationship Id="rId27" Type="http://schemas.openxmlformats.org/officeDocument/2006/relationships/image" Target="../media/image56.png"/><Relationship Id="rId43" Type="http://schemas.openxmlformats.org/officeDocument/2006/relationships/image" Target="../media/image64.png"/><Relationship Id="rId48" Type="http://schemas.openxmlformats.org/officeDocument/2006/relationships/customXml" Target="../ink/ink65.xml"/><Relationship Id="rId64" Type="http://schemas.openxmlformats.org/officeDocument/2006/relationships/customXml" Target="../ink/ink73.xml"/><Relationship Id="rId69" Type="http://schemas.openxmlformats.org/officeDocument/2006/relationships/image" Target="../media/image77.png"/><Relationship Id="rId113" Type="http://schemas.openxmlformats.org/officeDocument/2006/relationships/image" Target="../media/image99.png"/><Relationship Id="rId118" Type="http://schemas.openxmlformats.org/officeDocument/2006/relationships/customXml" Target="../ink/ink100.xml"/><Relationship Id="rId134" Type="http://schemas.openxmlformats.org/officeDocument/2006/relationships/customXml" Target="../ink/ink108.xml"/><Relationship Id="rId139" Type="http://schemas.openxmlformats.org/officeDocument/2006/relationships/image" Target="../media/image112.png"/><Relationship Id="rId80" Type="http://schemas.openxmlformats.org/officeDocument/2006/relationships/customXml" Target="../ink/ink81.xml"/><Relationship Id="rId85" Type="http://schemas.openxmlformats.org/officeDocument/2006/relationships/image" Target="../media/image85.png"/><Relationship Id="rId150" Type="http://schemas.openxmlformats.org/officeDocument/2006/relationships/customXml" Target="../ink/ink116.xml"/><Relationship Id="rId155" Type="http://schemas.openxmlformats.org/officeDocument/2006/relationships/image" Target="../media/image120.png"/><Relationship Id="rId171" Type="http://schemas.openxmlformats.org/officeDocument/2006/relationships/image" Target="../media/image128.png"/><Relationship Id="rId176" Type="http://schemas.openxmlformats.org/officeDocument/2006/relationships/customXml" Target="../ink/ink129.xml"/><Relationship Id="rId12" Type="http://schemas.openxmlformats.org/officeDocument/2006/relationships/customXml" Target="../ink/ink47.xml"/><Relationship Id="rId17" Type="http://schemas.openxmlformats.org/officeDocument/2006/relationships/image" Target="../media/image51.png"/><Relationship Id="rId33" Type="http://schemas.openxmlformats.org/officeDocument/2006/relationships/image" Target="../media/image59.png"/><Relationship Id="rId38" Type="http://schemas.openxmlformats.org/officeDocument/2006/relationships/customXml" Target="../ink/ink60.xml"/><Relationship Id="rId59" Type="http://schemas.openxmlformats.org/officeDocument/2006/relationships/image" Target="../media/image72.png"/><Relationship Id="rId103" Type="http://schemas.openxmlformats.org/officeDocument/2006/relationships/image" Target="../media/image94.png"/><Relationship Id="rId108" Type="http://schemas.openxmlformats.org/officeDocument/2006/relationships/customXml" Target="../ink/ink95.xml"/><Relationship Id="rId124" Type="http://schemas.openxmlformats.org/officeDocument/2006/relationships/customXml" Target="../ink/ink103.xml"/><Relationship Id="rId129" Type="http://schemas.openxmlformats.org/officeDocument/2006/relationships/image" Target="../media/image107.png"/><Relationship Id="rId54" Type="http://schemas.openxmlformats.org/officeDocument/2006/relationships/customXml" Target="../ink/ink68.xml"/><Relationship Id="rId70" Type="http://schemas.openxmlformats.org/officeDocument/2006/relationships/customXml" Target="../ink/ink76.xml"/><Relationship Id="rId75" Type="http://schemas.openxmlformats.org/officeDocument/2006/relationships/image" Target="../media/image80.png"/><Relationship Id="rId91" Type="http://schemas.openxmlformats.org/officeDocument/2006/relationships/image" Target="../media/image88.png"/><Relationship Id="rId96" Type="http://schemas.openxmlformats.org/officeDocument/2006/relationships/customXml" Target="../ink/ink89.xml"/><Relationship Id="rId140" Type="http://schemas.openxmlformats.org/officeDocument/2006/relationships/customXml" Target="../ink/ink111.xml"/><Relationship Id="rId145" Type="http://schemas.openxmlformats.org/officeDocument/2006/relationships/image" Target="../media/image115.png"/><Relationship Id="rId161" Type="http://schemas.openxmlformats.org/officeDocument/2006/relationships/image" Target="../media/image123.png"/><Relationship Id="rId166" Type="http://schemas.openxmlformats.org/officeDocument/2006/relationships/customXml" Target="../ink/ink124.xml"/><Relationship Id="rId182" Type="http://schemas.openxmlformats.org/officeDocument/2006/relationships/customXml" Target="../ink/ink132.xml"/><Relationship Id="rId187" Type="http://schemas.openxmlformats.org/officeDocument/2006/relationships/image" Target="../media/image136.png"/><Relationship Id="rId1" Type="http://schemas.openxmlformats.org/officeDocument/2006/relationships/tags" Target="../tags/tag6.xml"/><Relationship Id="rId6" Type="http://schemas.openxmlformats.org/officeDocument/2006/relationships/customXml" Target="../ink/ink44.xml"/><Relationship Id="rId23" Type="http://schemas.openxmlformats.org/officeDocument/2006/relationships/image" Target="../media/image54.png"/><Relationship Id="rId28" Type="http://schemas.openxmlformats.org/officeDocument/2006/relationships/customXml" Target="../ink/ink55.xml"/><Relationship Id="rId49" Type="http://schemas.openxmlformats.org/officeDocument/2006/relationships/image" Target="../media/image67.png"/><Relationship Id="rId114" Type="http://schemas.openxmlformats.org/officeDocument/2006/relationships/customXml" Target="../ink/ink98.xml"/><Relationship Id="rId119" Type="http://schemas.openxmlformats.org/officeDocument/2006/relationships/image" Target="../media/image102.png"/><Relationship Id="rId44" Type="http://schemas.openxmlformats.org/officeDocument/2006/relationships/customXml" Target="../ink/ink63.xml"/><Relationship Id="rId60" Type="http://schemas.openxmlformats.org/officeDocument/2006/relationships/customXml" Target="../ink/ink71.xml"/><Relationship Id="rId65" Type="http://schemas.openxmlformats.org/officeDocument/2006/relationships/image" Target="../media/image75.png"/><Relationship Id="rId81" Type="http://schemas.openxmlformats.org/officeDocument/2006/relationships/image" Target="../media/image83.png"/><Relationship Id="rId86" Type="http://schemas.openxmlformats.org/officeDocument/2006/relationships/customXml" Target="../ink/ink84.xml"/><Relationship Id="rId130" Type="http://schemas.openxmlformats.org/officeDocument/2006/relationships/customXml" Target="../ink/ink106.xml"/><Relationship Id="rId135" Type="http://schemas.openxmlformats.org/officeDocument/2006/relationships/image" Target="../media/image110.png"/><Relationship Id="rId151" Type="http://schemas.openxmlformats.org/officeDocument/2006/relationships/image" Target="../media/image118.png"/><Relationship Id="rId156" Type="http://schemas.openxmlformats.org/officeDocument/2006/relationships/customXml" Target="../ink/ink119.xml"/><Relationship Id="rId177" Type="http://schemas.openxmlformats.org/officeDocument/2006/relationships/image" Target="../media/image131.png"/><Relationship Id="rId172" Type="http://schemas.openxmlformats.org/officeDocument/2006/relationships/customXml" Target="../ink/ink127.xml"/><Relationship Id="rId13" Type="http://schemas.openxmlformats.org/officeDocument/2006/relationships/image" Target="../media/image49.png"/><Relationship Id="rId18" Type="http://schemas.openxmlformats.org/officeDocument/2006/relationships/customXml" Target="../ink/ink50.xml"/><Relationship Id="rId39" Type="http://schemas.openxmlformats.org/officeDocument/2006/relationships/image" Target="../media/image62.png"/><Relationship Id="rId109" Type="http://schemas.openxmlformats.org/officeDocument/2006/relationships/image" Target="../media/image97.png"/><Relationship Id="rId34" Type="http://schemas.openxmlformats.org/officeDocument/2006/relationships/customXml" Target="../ink/ink58.xml"/><Relationship Id="rId50" Type="http://schemas.openxmlformats.org/officeDocument/2006/relationships/customXml" Target="../ink/ink66.xml"/><Relationship Id="rId55" Type="http://schemas.openxmlformats.org/officeDocument/2006/relationships/image" Target="../media/image70.png"/><Relationship Id="rId76" Type="http://schemas.openxmlformats.org/officeDocument/2006/relationships/customXml" Target="../ink/ink79.xml"/><Relationship Id="rId97" Type="http://schemas.openxmlformats.org/officeDocument/2006/relationships/image" Target="../media/image91.png"/><Relationship Id="rId104" Type="http://schemas.openxmlformats.org/officeDocument/2006/relationships/customXml" Target="../ink/ink93.xml"/><Relationship Id="rId120" Type="http://schemas.openxmlformats.org/officeDocument/2006/relationships/customXml" Target="../ink/ink101.xml"/><Relationship Id="rId125" Type="http://schemas.openxmlformats.org/officeDocument/2006/relationships/image" Target="../media/image105.png"/><Relationship Id="rId141" Type="http://schemas.openxmlformats.org/officeDocument/2006/relationships/image" Target="../media/image113.png"/><Relationship Id="rId146" Type="http://schemas.openxmlformats.org/officeDocument/2006/relationships/customXml" Target="../ink/ink114.xml"/><Relationship Id="rId167" Type="http://schemas.openxmlformats.org/officeDocument/2006/relationships/image" Target="../media/image126.png"/><Relationship Id="rId188" Type="http://schemas.openxmlformats.org/officeDocument/2006/relationships/customXml" Target="../ink/ink135.xml"/><Relationship Id="rId7" Type="http://schemas.openxmlformats.org/officeDocument/2006/relationships/image" Target="../media/image4610.png"/><Relationship Id="rId71" Type="http://schemas.openxmlformats.org/officeDocument/2006/relationships/image" Target="../media/image78.png"/><Relationship Id="rId92" Type="http://schemas.openxmlformats.org/officeDocument/2006/relationships/customXml" Target="../ink/ink87.xml"/><Relationship Id="rId162" Type="http://schemas.openxmlformats.org/officeDocument/2006/relationships/customXml" Target="../ink/ink122.xml"/><Relationship Id="rId183" Type="http://schemas.openxmlformats.org/officeDocument/2006/relationships/image" Target="../media/image134.png"/><Relationship Id="rId2" Type="http://schemas.openxmlformats.org/officeDocument/2006/relationships/slideLayout" Target="../slideLayouts/slideLayout2.xml"/><Relationship Id="rId29" Type="http://schemas.openxmlformats.org/officeDocument/2006/relationships/image" Target="../media/image57.png"/><Relationship Id="rId24" Type="http://schemas.openxmlformats.org/officeDocument/2006/relationships/customXml" Target="../ink/ink53.xml"/><Relationship Id="rId40" Type="http://schemas.openxmlformats.org/officeDocument/2006/relationships/customXml" Target="../ink/ink61.xml"/><Relationship Id="rId45" Type="http://schemas.openxmlformats.org/officeDocument/2006/relationships/image" Target="../media/image65.png"/><Relationship Id="rId66" Type="http://schemas.openxmlformats.org/officeDocument/2006/relationships/customXml" Target="../ink/ink74.xml"/><Relationship Id="rId87" Type="http://schemas.openxmlformats.org/officeDocument/2006/relationships/image" Target="../media/image86.png"/><Relationship Id="rId110" Type="http://schemas.openxmlformats.org/officeDocument/2006/relationships/customXml" Target="../ink/ink96.xml"/><Relationship Id="rId115" Type="http://schemas.openxmlformats.org/officeDocument/2006/relationships/image" Target="../media/image100.png"/><Relationship Id="rId131" Type="http://schemas.openxmlformats.org/officeDocument/2006/relationships/image" Target="../media/image108.png"/><Relationship Id="rId136" Type="http://schemas.openxmlformats.org/officeDocument/2006/relationships/customXml" Target="../ink/ink109.xml"/><Relationship Id="rId157" Type="http://schemas.openxmlformats.org/officeDocument/2006/relationships/image" Target="../media/image121.png"/><Relationship Id="rId178" Type="http://schemas.openxmlformats.org/officeDocument/2006/relationships/customXml" Target="../ink/ink130.xml"/><Relationship Id="rId61" Type="http://schemas.openxmlformats.org/officeDocument/2006/relationships/image" Target="../media/image73.png"/><Relationship Id="rId82" Type="http://schemas.openxmlformats.org/officeDocument/2006/relationships/customXml" Target="../ink/ink82.xml"/><Relationship Id="rId152" Type="http://schemas.openxmlformats.org/officeDocument/2006/relationships/customXml" Target="../ink/ink117.xml"/><Relationship Id="rId173" Type="http://schemas.openxmlformats.org/officeDocument/2006/relationships/image" Target="../media/image129.png"/><Relationship Id="rId19" Type="http://schemas.openxmlformats.org/officeDocument/2006/relationships/image" Target="../media/image52.png"/><Relationship Id="rId14" Type="http://schemas.openxmlformats.org/officeDocument/2006/relationships/customXml" Target="../ink/ink48.xml"/><Relationship Id="rId30" Type="http://schemas.openxmlformats.org/officeDocument/2006/relationships/customXml" Target="../ink/ink56.xml"/><Relationship Id="rId35" Type="http://schemas.openxmlformats.org/officeDocument/2006/relationships/image" Target="../media/image60.png"/><Relationship Id="rId56" Type="http://schemas.openxmlformats.org/officeDocument/2006/relationships/customXml" Target="../ink/ink69.xml"/><Relationship Id="rId77" Type="http://schemas.openxmlformats.org/officeDocument/2006/relationships/image" Target="../media/image81.png"/><Relationship Id="rId100" Type="http://schemas.openxmlformats.org/officeDocument/2006/relationships/customXml" Target="../ink/ink91.xml"/><Relationship Id="rId105" Type="http://schemas.openxmlformats.org/officeDocument/2006/relationships/image" Target="../media/image95.png"/><Relationship Id="rId126" Type="http://schemas.openxmlformats.org/officeDocument/2006/relationships/customXml" Target="../ink/ink104.xml"/><Relationship Id="rId147" Type="http://schemas.openxmlformats.org/officeDocument/2006/relationships/image" Target="../media/image116.png"/><Relationship Id="rId168" Type="http://schemas.openxmlformats.org/officeDocument/2006/relationships/customXml" Target="../ink/ink125.xml"/><Relationship Id="rId8" Type="http://schemas.openxmlformats.org/officeDocument/2006/relationships/customXml" Target="../ink/ink45.xml"/><Relationship Id="rId51" Type="http://schemas.openxmlformats.org/officeDocument/2006/relationships/image" Target="../media/image68.png"/><Relationship Id="rId72" Type="http://schemas.openxmlformats.org/officeDocument/2006/relationships/customXml" Target="../ink/ink77.xml"/><Relationship Id="rId93" Type="http://schemas.openxmlformats.org/officeDocument/2006/relationships/image" Target="../media/image89.png"/><Relationship Id="rId98" Type="http://schemas.openxmlformats.org/officeDocument/2006/relationships/customXml" Target="../ink/ink90.xml"/><Relationship Id="rId121" Type="http://schemas.openxmlformats.org/officeDocument/2006/relationships/image" Target="../media/image103.png"/><Relationship Id="rId142" Type="http://schemas.openxmlformats.org/officeDocument/2006/relationships/customXml" Target="../ink/ink112.xml"/><Relationship Id="rId163" Type="http://schemas.openxmlformats.org/officeDocument/2006/relationships/image" Target="../media/image124.png"/><Relationship Id="rId184" Type="http://schemas.openxmlformats.org/officeDocument/2006/relationships/customXml" Target="../ink/ink133.xml"/><Relationship Id="rId189" Type="http://schemas.openxmlformats.org/officeDocument/2006/relationships/image" Target="../media/image137.png"/><Relationship Id="rId3" Type="http://schemas.openxmlformats.org/officeDocument/2006/relationships/oleObject" Target="../embeddings/oleObject5.bin"/><Relationship Id="rId25" Type="http://schemas.openxmlformats.org/officeDocument/2006/relationships/image" Target="../media/image55.png"/><Relationship Id="rId46" Type="http://schemas.openxmlformats.org/officeDocument/2006/relationships/customXml" Target="../ink/ink64.xml"/><Relationship Id="rId67" Type="http://schemas.openxmlformats.org/officeDocument/2006/relationships/image" Target="../media/image76.png"/><Relationship Id="rId116" Type="http://schemas.openxmlformats.org/officeDocument/2006/relationships/customXml" Target="../ink/ink99.xml"/><Relationship Id="rId137" Type="http://schemas.openxmlformats.org/officeDocument/2006/relationships/image" Target="../media/image111.png"/><Relationship Id="rId158" Type="http://schemas.openxmlformats.org/officeDocument/2006/relationships/customXml" Target="../ink/ink120.xml"/><Relationship Id="rId20" Type="http://schemas.openxmlformats.org/officeDocument/2006/relationships/customXml" Target="../ink/ink51.xml"/><Relationship Id="rId41" Type="http://schemas.openxmlformats.org/officeDocument/2006/relationships/image" Target="../media/image63.png"/><Relationship Id="rId62" Type="http://schemas.openxmlformats.org/officeDocument/2006/relationships/customXml" Target="../ink/ink72.xml"/><Relationship Id="rId83" Type="http://schemas.openxmlformats.org/officeDocument/2006/relationships/image" Target="../media/image84.png"/><Relationship Id="rId88" Type="http://schemas.openxmlformats.org/officeDocument/2006/relationships/customXml" Target="../ink/ink85.xml"/><Relationship Id="rId111" Type="http://schemas.openxmlformats.org/officeDocument/2006/relationships/image" Target="../media/image98.png"/><Relationship Id="rId132" Type="http://schemas.openxmlformats.org/officeDocument/2006/relationships/customXml" Target="../ink/ink107.xml"/><Relationship Id="rId153" Type="http://schemas.openxmlformats.org/officeDocument/2006/relationships/image" Target="../media/image119.png"/><Relationship Id="rId174" Type="http://schemas.openxmlformats.org/officeDocument/2006/relationships/customXml" Target="../ink/ink128.xml"/><Relationship Id="rId179" Type="http://schemas.openxmlformats.org/officeDocument/2006/relationships/image" Target="../media/image132.png"/><Relationship Id="rId190" Type="http://schemas.openxmlformats.org/officeDocument/2006/relationships/customXml" Target="../ink/ink136.xml"/><Relationship Id="rId15" Type="http://schemas.openxmlformats.org/officeDocument/2006/relationships/image" Target="../media/image50.png"/><Relationship Id="rId36" Type="http://schemas.openxmlformats.org/officeDocument/2006/relationships/customXml" Target="../ink/ink59.xml"/><Relationship Id="rId57" Type="http://schemas.openxmlformats.org/officeDocument/2006/relationships/image" Target="../media/image71.png"/><Relationship Id="rId106" Type="http://schemas.openxmlformats.org/officeDocument/2006/relationships/customXml" Target="../ink/ink94.xml"/><Relationship Id="rId127" Type="http://schemas.openxmlformats.org/officeDocument/2006/relationships/image" Target="../media/image106.png"/><Relationship Id="rId10" Type="http://schemas.openxmlformats.org/officeDocument/2006/relationships/customXml" Target="../ink/ink46.xml"/><Relationship Id="rId31" Type="http://schemas.openxmlformats.org/officeDocument/2006/relationships/image" Target="../media/image58.png"/><Relationship Id="rId52" Type="http://schemas.openxmlformats.org/officeDocument/2006/relationships/customXml" Target="../ink/ink67.xml"/><Relationship Id="rId73" Type="http://schemas.openxmlformats.org/officeDocument/2006/relationships/image" Target="../media/image79.png"/><Relationship Id="rId78" Type="http://schemas.openxmlformats.org/officeDocument/2006/relationships/customXml" Target="../ink/ink80.xml"/><Relationship Id="rId94" Type="http://schemas.openxmlformats.org/officeDocument/2006/relationships/customXml" Target="../ink/ink88.xml"/><Relationship Id="rId99" Type="http://schemas.openxmlformats.org/officeDocument/2006/relationships/image" Target="../media/image92.png"/><Relationship Id="rId101" Type="http://schemas.openxmlformats.org/officeDocument/2006/relationships/image" Target="../media/image93.png"/><Relationship Id="rId122" Type="http://schemas.openxmlformats.org/officeDocument/2006/relationships/customXml" Target="../ink/ink102.xml"/><Relationship Id="rId143" Type="http://schemas.openxmlformats.org/officeDocument/2006/relationships/image" Target="../media/image114.png"/><Relationship Id="rId148" Type="http://schemas.openxmlformats.org/officeDocument/2006/relationships/customXml" Target="../ink/ink115.xml"/><Relationship Id="rId164" Type="http://schemas.openxmlformats.org/officeDocument/2006/relationships/customXml" Target="../ink/ink123.xml"/><Relationship Id="rId169" Type="http://schemas.openxmlformats.org/officeDocument/2006/relationships/image" Target="../media/image127.png"/><Relationship Id="rId185" Type="http://schemas.openxmlformats.org/officeDocument/2006/relationships/image" Target="../media/image135.png"/><Relationship Id="rId4" Type="http://schemas.openxmlformats.org/officeDocument/2006/relationships/image" Target="../media/image1.emf"/><Relationship Id="rId9" Type="http://schemas.openxmlformats.org/officeDocument/2006/relationships/image" Target="../media/image47.png"/><Relationship Id="rId180" Type="http://schemas.openxmlformats.org/officeDocument/2006/relationships/customXml" Target="../ink/ink131.xml"/></Relationships>
</file>

<file path=ppt/slides/_rels/slide5.xml.rels><?xml version="1.0" encoding="UTF-8" standalone="yes"?>
<Relationships xmlns="http://schemas.openxmlformats.org/package/2006/relationships"><Relationship Id="rId26" Type="http://schemas.openxmlformats.org/officeDocument/2006/relationships/customXml" Target="../ink/ink147.xml"/><Relationship Id="rId117" Type="http://schemas.openxmlformats.org/officeDocument/2006/relationships/customXml" Target="../ink/ink192.xml"/><Relationship Id="rId21" Type="http://schemas.openxmlformats.org/officeDocument/2006/relationships/image" Target="../media/image146.png"/><Relationship Id="rId42" Type="http://schemas.openxmlformats.org/officeDocument/2006/relationships/customXml" Target="../ink/ink155.xml"/><Relationship Id="rId47" Type="http://schemas.openxmlformats.org/officeDocument/2006/relationships/image" Target="../media/image159.png"/><Relationship Id="rId63" Type="http://schemas.openxmlformats.org/officeDocument/2006/relationships/image" Target="../media/image167.png"/><Relationship Id="rId68" Type="http://schemas.openxmlformats.org/officeDocument/2006/relationships/customXml" Target="../ink/ink168.xml"/><Relationship Id="rId84" Type="http://schemas.openxmlformats.org/officeDocument/2006/relationships/customXml" Target="../ink/ink176.xml"/><Relationship Id="rId89" Type="http://schemas.openxmlformats.org/officeDocument/2006/relationships/image" Target="../media/image180.png"/><Relationship Id="rId112" Type="http://schemas.openxmlformats.org/officeDocument/2006/relationships/customXml" Target="../ink/ink190.xml"/><Relationship Id="rId133" Type="http://schemas.openxmlformats.org/officeDocument/2006/relationships/customXml" Target="../ink/ink200.xml"/><Relationship Id="rId138" Type="http://schemas.openxmlformats.org/officeDocument/2006/relationships/image" Target="../media/image205.png"/><Relationship Id="rId154" Type="http://schemas.openxmlformats.org/officeDocument/2006/relationships/image" Target="../media/image213.png"/><Relationship Id="rId159" Type="http://schemas.openxmlformats.org/officeDocument/2006/relationships/customXml" Target="../ink/ink213.xml"/><Relationship Id="rId175" Type="http://schemas.openxmlformats.org/officeDocument/2006/relationships/customXml" Target="../ink/ink221.xml"/><Relationship Id="rId170" Type="http://schemas.openxmlformats.org/officeDocument/2006/relationships/image" Target="../media/image221.png"/><Relationship Id="rId16" Type="http://schemas.openxmlformats.org/officeDocument/2006/relationships/customXml" Target="../ink/ink142.xml"/><Relationship Id="rId107" Type="http://schemas.openxmlformats.org/officeDocument/2006/relationships/image" Target="../media/image189.png"/><Relationship Id="rId11" Type="http://schemas.openxmlformats.org/officeDocument/2006/relationships/image" Target="../media/image141.png"/><Relationship Id="rId32" Type="http://schemas.openxmlformats.org/officeDocument/2006/relationships/customXml" Target="../ink/ink150.xml"/><Relationship Id="rId37" Type="http://schemas.openxmlformats.org/officeDocument/2006/relationships/image" Target="../media/image154.png"/><Relationship Id="rId53" Type="http://schemas.openxmlformats.org/officeDocument/2006/relationships/image" Target="../media/image162.png"/><Relationship Id="rId58" Type="http://schemas.openxmlformats.org/officeDocument/2006/relationships/customXml" Target="../ink/ink163.xml"/><Relationship Id="rId74" Type="http://schemas.openxmlformats.org/officeDocument/2006/relationships/customXml" Target="../ink/ink171.xml"/><Relationship Id="rId79" Type="http://schemas.openxmlformats.org/officeDocument/2006/relationships/image" Target="../media/image175.png"/><Relationship Id="rId102" Type="http://schemas.openxmlformats.org/officeDocument/2006/relationships/customXml" Target="../ink/ink185.xml"/><Relationship Id="rId123" Type="http://schemas.openxmlformats.org/officeDocument/2006/relationships/customXml" Target="../ink/ink195.xml"/><Relationship Id="rId128" Type="http://schemas.openxmlformats.org/officeDocument/2006/relationships/image" Target="../media/image200.png"/><Relationship Id="rId144" Type="http://schemas.openxmlformats.org/officeDocument/2006/relationships/image" Target="../media/image208.png"/><Relationship Id="rId149" Type="http://schemas.openxmlformats.org/officeDocument/2006/relationships/customXml" Target="../ink/ink208.xml"/><Relationship Id="rId5" Type="http://schemas.openxmlformats.org/officeDocument/2006/relationships/image" Target="../media/image139.png"/><Relationship Id="rId90" Type="http://schemas.openxmlformats.org/officeDocument/2006/relationships/customXml" Target="../ink/ink179.xml"/><Relationship Id="rId95" Type="http://schemas.openxmlformats.org/officeDocument/2006/relationships/image" Target="../media/image183.png"/><Relationship Id="rId160" Type="http://schemas.openxmlformats.org/officeDocument/2006/relationships/image" Target="../media/image216.png"/><Relationship Id="rId165" Type="http://schemas.openxmlformats.org/officeDocument/2006/relationships/customXml" Target="../ink/ink216.xml"/><Relationship Id="rId22" Type="http://schemas.openxmlformats.org/officeDocument/2006/relationships/customXml" Target="../ink/ink145.xml"/><Relationship Id="rId27" Type="http://schemas.openxmlformats.org/officeDocument/2006/relationships/image" Target="../media/image149.png"/><Relationship Id="rId43" Type="http://schemas.openxmlformats.org/officeDocument/2006/relationships/image" Target="../media/image157.png"/><Relationship Id="rId48" Type="http://schemas.openxmlformats.org/officeDocument/2006/relationships/customXml" Target="../ink/ink158.xml"/><Relationship Id="rId64" Type="http://schemas.openxmlformats.org/officeDocument/2006/relationships/customXml" Target="../ink/ink166.xml"/><Relationship Id="rId69" Type="http://schemas.openxmlformats.org/officeDocument/2006/relationships/image" Target="../media/image170.png"/><Relationship Id="rId113" Type="http://schemas.openxmlformats.org/officeDocument/2006/relationships/image" Target="../media/image192.png"/><Relationship Id="rId118" Type="http://schemas.openxmlformats.org/officeDocument/2006/relationships/image" Target="../media/image195.png"/><Relationship Id="rId134" Type="http://schemas.openxmlformats.org/officeDocument/2006/relationships/image" Target="../media/image203.png"/><Relationship Id="rId139" Type="http://schemas.openxmlformats.org/officeDocument/2006/relationships/customXml" Target="../ink/ink203.xml"/><Relationship Id="rId80" Type="http://schemas.openxmlformats.org/officeDocument/2006/relationships/customXml" Target="../ink/ink174.xml"/><Relationship Id="rId85" Type="http://schemas.openxmlformats.org/officeDocument/2006/relationships/image" Target="../media/image178.png"/><Relationship Id="rId150" Type="http://schemas.openxmlformats.org/officeDocument/2006/relationships/image" Target="../media/image211.png"/><Relationship Id="rId155" Type="http://schemas.openxmlformats.org/officeDocument/2006/relationships/customXml" Target="../ink/ink211.xml"/><Relationship Id="rId171" Type="http://schemas.openxmlformats.org/officeDocument/2006/relationships/customXml" Target="../ink/ink219.xml"/><Relationship Id="rId176" Type="http://schemas.openxmlformats.org/officeDocument/2006/relationships/image" Target="../media/image224.png"/><Relationship Id="rId12" Type="http://schemas.openxmlformats.org/officeDocument/2006/relationships/customXml" Target="../ink/ink140.xml"/><Relationship Id="rId17" Type="http://schemas.openxmlformats.org/officeDocument/2006/relationships/image" Target="../media/image144.png"/><Relationship Id="rId33" Type="http://schemas.openxmlformats.org/officeDocument/2006/relationships/image" Target="../media/image152.png"/><Relationship Id="rId38" Type="http://schemas.openxmlformats.org/officeDocument/2006/relationships/customXml" Target="../ink/ink153.xml"/><Relationship Id="rId59" Type="http://schemas.openxmlformats.org/officeDocument/2006/relationships/image" Target="../media/image165.png"/><Relationship Id="rId103" Type="http://schemas.openxmlformats.org/officeDocument/2006/relationships/image" Target="../media/image187.png"/><Relationship Id="rId108" Type="http://schemas.openxmlformats.org/officeDocument/2006/relationships/customXml" Target="../ink/ink188.xml"/><Relationship Id="rId124" Type="http://schemas.openxmlformats.org/officeDocument/2006/relationships/image" Target="../media/image198.png"/><Relationship Id="rId129" Type="http://schemas.openxmlformats.org/officeDocument/2006/relationships/customXml" Target="../ink/ink198.xml"/><Relationship Id="rId54" Type="http://schemas.openxmlformats.org/officeDocument/2006/relationships/customXml" Target="../ink/ink161.xml"/><Relationship Id="rId70" Type="http://schemas.openxmlformats.org/officeDocument/2006/relationships/customXml" Target="../ink/ink169.xml"/><Relationship Id="rId75" Type="http://schemas.openxmlformats.org/officeDocument/2006/relationships/image" Target="../media/image173.png"/><Relationship Id="rId91" Type="http://schemas.openxmlformats.org/officeDocument/2006/relationships/image" Target="../media/image181.png"/><Relationship Id="rId96" Type="http://schemas.openxmlformats.org/officeDocument/2006/relationships/customXml" Target="../ink/ink182.xml"/><Relationship Id="rId140" Type="http://schemas.openxmlformats.org/officeDocument/2006/relationships/image" Target="../media/image206.png"/><Relationship Id="rId145" Type="http://schemas.openxmlformats.org/officeDocument/2006/relationships/customXml" Target="../ink/ink206.xml"/><Relationship Id="rId161" Type="http://schemas.openxmlformats.org/officeDocument/2006/relationships/customXml" Target="../ink/ink214.xml"/><Relationship Id="rId166" Type="http://schemas.openxmlformats.org/officeDocument/2006/relationships/image" Target="../media/image219.png"/><Relationship Id="rId1" Type="http://schemas.openxmlformats.org/officeDocument/2006/relationships/tags" Target="../tags/tag7.xml"/><Relationship Id="rId6" Type="http://schemas.openxmlformats.org/officeDocument/2006/relationships/customXml" Target="../ink/ink137.xml"/><Relationship Id="rId23" Type="http://schemas.openxmlformats.org/officeDocument/2006/relationships/image" Target="../media/image147.png"/><Relationship Id="rId28" Type="http://schemas.openxmlformats.org/officeDocument/2006/relationships/customXml" Target="../ink/ink148.xml"/><Relationship Id="rId49" Type="http://schemas.openxmlformats.org/officeDocument/2006/relationships/image" Target="../media/image160.png"/><Relationship Id="rId114" Type="http://schemas.openxmlformats.org/officeDocument/2006/relationships/image" Target="../media/image193.png"/><Relationship Id="rId119" Type="http://schemas.openxmlformats.org/officeDocument/2006/relationships/customXml" Target="../ink/ink193.xml"/><Relationship Id="rId10" Type="http://schemas.openxmlformats.org/officeDocument/2006/relationships/customXml" Target="../ink/ink139.xml"/><Relationship Id="rId31" Type="http://schemas.openxmlformats.org/officeDocument/2006/relationships/image" Target="../media/image151.png"/><Relationship Id="rId44" Type="http://schemas.openxmlformats.org/officeDocument/2006/relationships/customXml" Target="../ink/ink156.xml"/><Relationship Id="rId52" Type="http://schemas.openxmlformats.org/officeDocument/2006/relationships/customXml" Target="../ink/ink160.xml"/><Relationship Id="rId60" Type="http://schemas.openxmlformats.org/officeDocument/2006/relationships/customXml" Target="../ink/ink164.xml"/><Relationship Id="rId65" Type="http://schemas.openxmlformats.org/officeDocument/2006/relationships/image" Target="../media/image168.png"/><Relationship Id="rId73" Type="http://schemas.openxmlformats.org/officeDocument/2006/relationships/image" Target="../media/image172.png"/><Relationship Id="rId78" Type="http://schemas.openxmlformats.org/officeDocument/2006/relationships/customXml" Target="../ink/ink173.xml"/><Relationship Id="rId81" Type="http://schemas.openxmlformats.org/officeDocument/2006/relationships/image" Target="../media/image176.png"/><Relationship Id="rId86" Type="http://schemas.openxmlformats.org/officeDocument/2006/relationships/customXml" Target="../ink/ink177.xml"/><Relationship Id="rId94" Type="http://schemas.openxmlformats.org/officeDocument/2006/relationships/customXml" Target="../ink/ink181.xml"/><Relationship Id="rId99" Type="http://schemas.openxmlformats.org/officeDocument/2006/relationships/image" Target="../media/image185.png"/><Relationship Id="rId101" Type="http://schemas.openxmlformats.org/officeDocument/2006/relationships/image" Target="../media/image186.png"/><Relationship Id="rId122" Type="http://schemas.openxmlformats.org/officeDocument/2006/relationships/image" Target="../media/image197.png"/><Relationship Id="rId130" Type="http://schemas.openxmlformats.org/officeDocument/2006/relationships/image" Target="../media/image201.png"/><Relationship Id="rId135" Type="http://schemas.openxmlformats.org/officeDocument/2006/relationships/customXml" Target="../ink/ink201.xml"/><Relationship Id="rId143" Type="http://schemas.openxmlformats.org/officeDocument/2006/relationships/customXml" Target="../ink/ink205.xml"/><Relationship Id="rId148" Type="http://schemas.openxmlformats.org/officeDocument/2006/relationships/image" Target="../media/image210.png"/><Relationship Id="rId151" Type="http://schemas.openxmlformats.org/officeDocument/2006/relationships/customXml" Target="../ink/ink209.xml"/><Relationship Id="rId156" Type="http://schemas.openxmlformats.org/officeDocument/2006/relationships/image" Target="../media/image214.png"/><Relationship Id="rId164" Type="http://schemas.openxmlformats.org/officeDocument/2006/relationships/image" Target="../media/image218.png"/><Relationship Id="rId169" Type="http://schemas.openxmlformats.org/officeDocument/2006/relationships/customXml" Target="../ink/ink218.xml"/><Relationship Id="rId177" Type="http://schemas.openxmlformats.org/officeDocument/2006/relationships/customXml" Target="../ink/ink222.xml"/><Relationship Id="rId4" Type="http://schemas.openxmlformats.org/officeDocument/2006/relationships/image" Target="../media/image1.emf"/><Relationship Id="rId9" Type="http://schemas.openxmlformats.org/officeDocument/2006/relationships/image" Target="../media/image140.png"/><Relationship Id="rId172" Type="http://schemas.openxmlformats.org/officeDocument/2006/relationships/image" Target="../media/image222.png"/><Relationship Id="rId180" Type="http://schemas.openxmlformats.org/officeDocument/2006/relationships/image" Target="../media/image226.png"/><Relationship Id="rId13" Type="http://schemas.openxmlformats.org/officeDocument/2006/relationships/image" Target="../media/image142.png"/><Relationship Id="rId18" Type="http://schemas.openxmlformats.org/officeDocument/2006/relationships/customXml" Target="../ink/ink143.xml"/><Relationship Id="rId39" Type="http://schemas.openxmlformats.org/officeDocument/2006/relationships/image" Target="../media/image155.png"/><Relationship Id="rId109" Type="http://schemas.openxmlformats.org/officeDocument/2006/relationships/image" Target="../media/image190.png"/><Relationship Id="rId34" Type="http://schemas.openxmlformats.org/officeDocument/2006/relationships/customXml" Target="../ink/ink151.xml"/><Relationship Id="rId50" Type="http://schemas.openxmlformats.org/officeDocument/2006/relationships/customXml" Target="../ink/ink159.xml"/><Relationship Id="rId55" Type="http://schemas.openxmlformats.org/officeDocument/2006/relationships/image" Target="../media/image163.png"/><Relationship Id="rId76" Type="http://schemas.openxmlformats.org/officeDocument/2006/relationships/customXml" Target="../ink/ink172.xml"/><Relationship Id="rId97" Type="http://schemas.openxmlformats.org/officeDocument/2006/relationships/image" Target="../media/image184.png"/><Relationship Id="rId104" Type="http://schemas.openxmlformats.org/officeDocument/2006/relationships/customXml" Target="../ink/ink186.xml"/><Relationship Id="rId120" Type="http://schemas.openxmlformats.org/officeDocument/2006/relationships/image" Target="../media/image196.png"/><Relationship Id="rId125" Type="http://schemas.openxmlformats.org/officeDocument/2006/relationships/customXml" Target="../ink/ink196.xml"/><Relationship Id="rId141" Type="http://schemas.openxmlformats.org/officeDocument/2006/relationships/customXml" Target="../ink/ink204.xml"/><Relationship Id="rId146" Type="http://schemas.openxmlformats.org/officeDocument/2006/relationships/image" Target="../media/image209.png"/><Relationship Id="rId167" Type="http://schemas.openxmlformats.org/officeDocument/2006/relationships/customXml" Target="../ink/ink217.xml"/><Relationship Id="rId7" Type="http://schemas.openxmlformats.org/officeDocument/2006/relationships/image" Target="../media/image1390.png"/><Relationship Id="rId71" Type="http://schemas.openxmlformats.org/officeDocument/2006/relationships/image" Target="../media/image171.png"/><Relationship Id="rId92" Type="http://schemas.openxmlformats.org/officeDocument/2006/relationships/customXml" Target="../ink/ink180.xml"/><Relationship Id="rId162" Type="http://schemas.openxmlformats.org/officeDocument/2006/relationships/image" Target="../media/image217.png"/><Relationship Id="rId2" Type="http://schemas.openxmlformats.org/officeDocument/2006/relationships/slideLayout" Target="../slideLayouts/slideLayout2.xml"/><Relationship Id="rId29" Type="http://schemas.openxmlformats.org/officeDocument/2006/relationships/image" Target="../media/image150.png"/><Relationship Id="rId24" Type="http://schemas.openxmlformats.org/officeDocument/2006/relationships/customXml" Target="../ink/ink146.xml"/><Relationship Id="rId40" Type="http://schemas.openxmlformats.org/officeDocument/2006/relationships/customXml" Target="../ink/ink154.xml"/><Relationship Id="rId45" Type="http://schemas.openxmlformats.org/officeDocument/2006/relationships/image" Target="../media/image158.png"/><Relationship Id="rId66" Type="http://schemas.openxmlformats.org/officeDocument/2006/relationships/customXml" Target="../ink/ink167.xml"/><Relationship Id="rId87" Type="http://schemas.openxmlformats.org/officeDocument/2006/relationships/image" Target="../media/image179.png"/><Relationship Id="rId110" Type="http://schemas.openxmlformats.org/officeDocument/2006/relationships/customXml" Target="../ink/ink189.xml"/><Relationship Id="rId115" Type="http://schemas.openxmlformats.org/officeDocument/2006/relationships/customXml" Target="../ink/ink191.xml"/><Relationship Id="rId131" Type="http://schemas.openxmlformats.org/officeDocument/2006/relationships/customXml" Target="../ink/ink199.xml"/><Relationship Id="rId136" Type="http://schemas.openxmlformats.org/officeDocument/2006/relationships/image" Target="../media/image204.png"/><Relationship Id="rId157" Type="http://schemas.openxmlformats.org/officeDocument/2006/relationships/customXml" Target="../ink/ink212.xml"/><Relationship Id="rId178" Type="http://schemas.openxmlformats.org/officeDocument/2006/relationships/image" Target="../media/image225.png"/><Relationship Id="rId61" Type="http://schemas.openxmlformats.org/officeDocument/2006/relationships/image" Target="../media/image166.png"/><Relationship Id="rId82" Type="http://schemas.openxmlformats.org/officeDocument/2006/relationships/customXml" Target="../ink/ink175.xml"/><Relationship Id="rId152" Type="http://schemas.openxmlformats.org/officeDocument/2006/relationships/image" Target="../media/image212.png"/><Relationship Id="rId173" Type="http://schemas.openxmlformats.org/officeDocument/2006/relationships/customXml" Target="../ink/ink220.xml"/><Relationship Id="rId19" Type="http://schemas.openxmlformats.org/officeDocument/2006/relationships/image" Target="../media/image145.png"/><Relationship Id="rId14" Type="http://schemas.openxmlformats.org/officeDocument/2006/relationships/customXml" Target="../ink/ink141.xml"/><Relationship Id="rId30" Type="http://schemas.openxmlformats.org/officeDocument/2006/relationships/customXml" Target="../ink/ink149.xml"/><Relationship Id="rId35" Type="http://schemas.openxmlformats.org/officeDocument/2006/relationships/image" Target="../media/image153.png"/><Relationship Id="rId56" Type="http://schemas.openxmlformats.org/officeDocument/2006/relationships/customXml" Target="../ink/ink162.xml"/><Relationship Id="rId77" Type="http://schemas.openxmlformats.org/officeDocument/2006/relationships/image" Target="../media/image174.png"/><Relationship Id="rId100" Type="http://schemas.openxmlformats.org/officeDocument/2006/relationships/customXml" Target="../ink/ink184.xml"/><Relationship Id="rId105" Type="http://schemas.openxmlformats.org/officeDocument/2006/relationships/image" Target="../media/image188.png"/><Relationship Id="rId126" Type="http://schemas.openxmlformats.org/officeDocument/2006/relationships/image" Target="../media/image199.png"/><Relationship Id="rId147" Type="http://schemas.openxmlformats.org/officeDocument/2006/relationships/customXml" Target="../ink/ink207.xml"/><Relationship Id="rId168" Type="http://schemas.openxmlformats.org/officeDocument/2006/relationships/image" Target="../media/image220.png"/><Relationship Id="rId8" Type="http://schemas.openxmlformats.org/officeDocument/2006/relationships/customXml" Target="../ink/ink138.xml"/><Relationship Id="rId51" Type="http://schemas.openxmlformats.org/officeDocument/2006/relationships/image" Target="../media/image161.png"/><Relationship Id="rId72" Type="http://schemas.openxmlformats.org/officeDocument/2006/relationships/customXml" Target="../ink/ink170.xml"/><Relationship Id="rId93" Type="http://schemas.openxmlformats.org/officeDocument/2006/relationships/image" Target="../media/image182.png"/><Relationship Id="rId98" Type="http://schemas.openxmlformats.org/officeDocument/2006/relationships/customXml" Target="../ink/ink183.xml"/><Relationship Id="rId121" Type="http://schemas.openxmlformats.org/officeDocument/2006/relationships/customXml" Target="../ink/ink194.xml"/><Relationship Id="rId142" Type="http://schemas.openxmlformats.org/officeDocument/2006/relationships/image" Target="../media/image207.png"/><Relationship Id="rId163" Type="http://schemas.openxmlformats.org/officeDocument/2006/relationships/customXml" Target="../ink/ink215.xml"/><Relationship Id="rId3" Type="http://schemas.openxmlformats.org/officeDocument/2006/relationships/oleObject" Target="../embeddings/oleObject6.bin"/><Relationship Id="rId25" Type="http://schemas.openxmlformats.org/officeDocument/2006/relationships/image" Target="../media/image148.png"/><Relationship Id="rId46" Type="http://schemas.openxmlformats.org/officeDocument/2006/relationships/customXml" Target="../ink/ink157.xml"/><Relationship Id="rId67" Type="http://schemas.openxmlformats.org/officeDocument/2006/relationships/image" Target="../media/image169.png"/><Relationship Id="rId116" Type="http://schemas.openxmlformats.org/officeDocument/2006/relationships/image" Target="../media/image194.png"/><Relationship Id="rId137" Type="http://schemas.openxmlformats.org/officeDocument/2006/relationships/customXml" Target="../ink/ink202.xml"/><Relationship Id="rId158" Type="http://schemas.openxmlformats.org/officeDocument/2006/relationships/image" Target="../media/image215.png"/><Relationship Id="rId20" Type="http://schemas.openxmlformats.org/officeDocument/2006/relationships/customXml" Target="../ink/ink144.xml"/><Relationship Id="rId41" Type="http://schemas.openxmlformats.org/officeDocument/2006/relationships/image" Target="../media/image156.png"/><Relationship Id="rId62" Type="http://schemas.openxmlformats.org/officeDocument/2006/relationships/customXml" Target="../ink/ink165.xml"/><Relationship Id="rId83" Type="http://schemas.openxmlformats.org/officeDocument/2006/relationships/image" Target="../media/image177.png"/><Relationship Id="rId88" Type="http://schemas.openxmlformats.org/officeDocument/2006/relationships/customXml" Target="../ink/ink178.xml"/><Relationship Id="rId111" Type="http://schemas.openxmlformats.org/officeDocument/2006/relationships/image" Target="../media/image191.png"/><Relationship Id="rId132" Type="http://schemas.openxmlformats.org/officeDocument/2006/relationships/image" Target="../media/image202.png"/><Relationship Id="rId153" Type="http://schemas.openxmlformats.org/officeDocument/2006/relationships/customXml" Target="../ink/ink210.xml"/><Relationship Id="rId174" Type="http://schemas.openxmlformats.org/officeDocument/2006/relationships/image" Target="../media/image223.png"/><Relationship Id="rId179" Type="http://schemas.openxmlformats.org/officeDocument/2006/relationships/customXml" Target="../ink/ink223.xml"/><Relationship Id="rId15" Type="http://schemas.openxmlformats.org/officeDocument/2006/relationships/image" Target="../media/image143.png"/><Relationship Id="rId36" Type="http://schemas.openxmlformats.org/officeDocument/2006/relationships/customXml" Target="../ink/ink152.xml"/><Relationship Id="rId57" Type="http://schemas.openxmlformats.org/officeDocument/2006/relationships/image" Target="../media/image164.png"/><Relationship Id="rId106" Type="http://schemas.openxmlformats.org/officeDocument/2006/relationships/customXml" Target="../ink/ink187.xml"/><Relationship Id="rId127" Type="http://schemas.openxmlformats.org/officeDocument/2006/relationships/customXml" Target="../ink/ink197.xml"/></Relationships>
</file>

<file path=ppt/slides/_rels/slide6.xml.rels><?xml version="1.0" encoding="UTF-8" standalone="yes"?>
<Relationships xmlns="http://schemas.openxmlformats.org/package/2006/relationships"><Relationship Id="rId117" Type="http://schemas.openxmlformats.org/officeDocument/2006/relationships/image" Target="../media/image283.png"/><Relationship Id="rId21" Type="http://schemas.openxmlformats.org/officeDocument/2006/relationships/image" Target="../media/image235.png"/><Relationship Id="rId42" Type="http://schemas.openxmlformats.org/officeDocument/2006/relationships/customXml" Target="../ink/ink242.xml"/><Relationship Id="rId47" Type="http://schemas.openxmlformats.org/officeDocument/2006/relationships/image" Target="../media/image248.png"/><Relationship Id="rId63" Type="http://schemas.openxmlformats.org/officeDocument/2006/relationships/image" Target="../media/image256.png"/><Relationship Id="rId68" Type="http://schemas.openxmlformats.org/officeDocument/2006/relationships/customXml" Target="../ink/ink255.xml"/><Relationship Id="rId84" Type="http://schemas.openxmlformats.org/officeDocument/2006/relationships/customXml" Target="../ink/ink263.xml"/><Relationship Id="rId89" Type="http://schemas.openxmlformats.org/officeDocument/2006/relationships/image" Target="../media/image269.png"/><Relationship Id="rId112" Type="http://schemas.openxmlformats.org/officeDocument/2006/relationships/customXml" Target="../ink/ink277.xml"/><Relationship Id="rId133" Type="http://schemas.openxmlformats.org/officeDocument/2006/relationships/image" Target="../media/image291.png"/><Relationship Id="rId138" Type="http://schemas.openxmlformats.org/officeDocument/2006/relationships/customXml" Target="../ink/ink290.xml"/><Relationship Id="rId154" Type="http://schemas.openxmlformats.org/officeDocument/2006/relationships/customXml" Target="../ink/ink298.xml"/><Relationship Id="rId159" Type="http://schemas.openxmlformats.org/officeDocument/2006/relationships/image" Target="../media/image304.png"/><Relationship Id="rId175" Type="http://schemas.openxmlformats.org/officeDocument/2006/relationships/image" Target="../media/image312.png"/><Relationship Id="rId170" Type="http://schemas.openxmlformats.org/officeDocument/2006/relationships/customXml" Target="../ink/ink306.xml"/><Relationship Id="rId191" Type="http://schemas.openxmlformats.org/officeDocument/2006/relationships/image" Target="../media/image320.png"/><Relationship Id="rId196" Type="http://schemas.openxmlformats.org/officeDocument/2006/relationships/customXml" Target="../ink/ink319.xml"/><Relationship Id="rId16" Type="http://schemas.openxmlformats.org/officeDocument/2006/relationships/customXml" Target="../ink/ink229.xml"/><Relationship Id="rId107" Type="http://schemas.openxmlformats.org/officeDocument/2006/relationships/image" Target="../media/image278.png"/><Relationship Id="rId11" Type="http://schemas.openxmlformats.org/officeDocument/2006/relationships/image" Target="../media/image230.png"/><Relationship Id="rId32" Type="http://schemas.openxmlformats.org/officeDocument/2006/relationships/customXml" Target="../ink/ink237.xml"/><Relationship Id="rId37" Type="http://schemas.openxmlformats.org/officeDocument/2006/relationships/image" Target="../media/image243.png"/><Relationship Id="rId53" Type="http://schemas.openxmlformats.org/officeDocument/2006/relationships/image" Target="../media/image251.png"/><Relationship Id="rId58" Type="http://schemas.openxmlformats.org/officeDocument/2006/relationships/customXml" Target="../ink/ink250.xml"/><Relationship Id="rId74" Type="http://schemas.openxmlformats.org/officeDocument/2006/relationships/customXml" Target="../ink/ink258.xml"/><Relationship Id="rId79" Type="http://schemas.openxmlformats.org/officeDocument/2006/relationships/image" Target="../media/image264.png"/><Relationship Id="rId102" Type="http://schemas.openxmlformats.org/officeDocument/2006/relationships/customXml" Target="../ink/ink272.xml"/><Relationship Id="rId123" Type="http://schemas.openxmlformats.org/officeDocument/2006/relationships/image" Target="../media/image286.png"/><Relationship Id="rId128" Type="http://schemas.openxmlformats.org/officeDocument/2006/relationships/customXml" Target="../ink/ink285.xml"/><Relationship Id="rId144" Type="http://schemas.openxmlformats.org/officeDocument/2006/relationships/customXml" Target="../ink/ink293.xml"/><Relationship Id="rId149" Type="http://schemas.openxmlformats.org/officeDocument/2006/relationships/image" Target="../media/image299.png"/><Relationship Id="rId5" Type="http://schemas.openxmlformats.org/officeDocument/2006/relationships/image" Target="../media/image227.png"/><Relationship Id="rId90" Type="http://schemas.openxmlformats.org/officeDocument/2006/relationships/customXml" Target="../ink/ink266.xml"/><Relationship Id="rId95" Type="http://schemas.openxmlformats.org/officeDocument/2006/relationships/image" Target="../media/image272.png"/><Relationship Id="rId160" Type="http://schemas.openxmlformats.org/officeDocument/2006/relationships/customXml" Target="../ink/ink301.xml"/><Relationship Id="rId165" Type="http://schemas.openxmlformats.org/officeDocument/2006/relationships/image" Target="../media/image307.png"/><Relationship Id="rId181" Type="http://schemas.openxmlformats.org/officeDocument/2006/relationships/image" Target="../media/image315.png"/><Relationship Id="rId186" Type="http://schemas.openxmlformats.org/officeDocument/2006/relationships/customXml" Target="../ink/ink314.xml"/><Relationship Id="rId22" Type="http://schemas.openxmlformats.org/officeDocument/2006/relationships/customXml" Target="../ink/ink232.xml"/><Relationship Id="rId27" Type="http://schemas.openxmlformats.org/officeDocument/2006/relationships/image" Target="../media/image238.png"/><Relationship Id="rId43" Type="http://schemas.openxmlformats.org/officeDocument/2006/relationships/image" Target="../media/image246.png"/><Relationship Id="rId48" Type="http://schemas.openxmlformats.org/officeDocument/2006/relationships/customXml" Target="../ink/ink245.xml"/><Relationship Id="rId64" Type="http://schemas.openxmlformats.org/officeDocument/2006/relationships/customXml" Target="../ink/ink253.xml"/><Relationship Id="rId69" Type="http://schemas.openxmlformats.org/officeDocument/2006/relationships/image" Target="../media/image259.png"/><Relationship Id="rId113" Type="http://schemas.openxmlformats.org/officeDocument/2006/relationships/image" Target="../media/image281.png"/><Relationship Id="rId118" Type="http://schemas.openxmlformats.org/officeDocument/2006/relationships/customXml" Target="../ink/ink280.xml"/><Relationship Id="rId134" Type="http://schemas.openxmlformats.org/officeDocument/2006/relationships/customXml" Target="../ink/ink288.xml"/><Relationship Id="rId139" Type="http://schemas.openxmlformats.org/officeDocument/2006/relationships/image" Target="../media/image294.png"/><Relationship Id="rId80" Type="http://schemas.openxmlformats.org/officeDocument/2006/relationships/customXml" Target="../ink/ink261.xml"/><Relationship Id="rId85" Type="http://schemas.openxmlformats.org/officeDocument/2006/relationships/image" Target="../media/image267.png"/><Relationship Id="rId150" Type="http://schemas.openxmlformats.org/officeDocument/2006/relationships/customXml" Target="../ink/ink296.xml"/><Relationship Id="rId155" Type="http://schemas.openxmlformats.org/officeDocument/2006/relationships/image" Target="../media/image302.png"/><Relationship Id="rId171" Type="http://schemas.openxmlformats.org/officeDocument/2006/relationships/image" Target="../media/image310.png"/><Relationship Id="rId176" Type="http://schemas.openxmlformats.org/officeDocument/2006/relationships/customXml" Target="../ink/ink309.xml"/><Relationship Id="rId192" Type="http://schemas.openxmlformats.org/officeDocument/2006/relationships/customXml" Target="../ink/ink317.xml"/><Relationship Id="rId197" Type="http://schemas.openxmlformats.org/officeDocument/2006/relationships/image" Target="../media/image323.png"/><Relationship Id="rId12" Type="http://schemas.openxmlformats.org/officeDocument/2006/relationships/customXml" Target="../ink/ink227.xml"/><Relationship Id="rId17" Type="http://schemas.openxmlformats.org/officeDocument/2006/relationships/image" Target="../media/image233.png"/><Relationship Id="rId33" Type="http://schemas.openxmlformats.org/officeDocument/2006/relationships/image" Target="../media/image241.png"/><Relationship Id="rId38" Type="http://schemas.openxmlformats.org/officeDocument/2006/relationships/customXml" Target="../ink/ink240.xml"/><Relationship Id="rId59" Type="http://schemas.openxmlformats.org/officeDocument/2006/relationships/image" Target="../media/image254.png"/><Relationship Id="rId103" Type="http://schemas.openxmlformats.org/officeDocument/2006/relationships/image" Target="../media/image276.png"/><Relationship Id="rId108" Type="http://schemas.openxmlformats.org/officeDocument/2006/relationships/customXml" Target="../ink/ink275.xml"/><Relationship Id="rId124" Type="http://schemas.openxmlformats.org/officeDocument/2006/relationships/customXml" Target="../ink/ink283.xml"/><Relationship Id="rId129" Type="http://schemas.openxmlformats.org/officeDocument/2006/relationships/image" Target="../media/image289.png"/><Relationship Id="rId54" Type="http://schemas.openxmlformats.org/officeDocument/2006/relationships/customXml" Target="../ink/ink248.xml"/><Relationship Id="rId70" Type="http://schemas.openxmlformats.org/officeDocument/2006/relationships/customXml" Target="../ink/ink256.xml"/><Relationship Id="rId75" Type="http://schemas.openxmlformats.org/officeDocument/2006/relationships/image" Target="../media/image262.png"/><Relationship Id="rId91" Type="http://schemas.openxmlformats.org/officeDocument/2006/relationships/image" Target="../media/image270.png"/><Relationship Id="rId96" Type="http://schemas.openxmlformats.org/officeDocument/2006/relationships/customXml" Target="../ink/ink269.xml"/><Relationship Id="rId140" Type="http://schemas.openxmlformats.org/officeDocument/2006/relationships/customXml" Target="../ink/ink291.xml"/><Relationship Id="rId145" Type="http://schemas.openxmlformats.org/officeDocument/2006/relationships/image" Target="../media/image297.png"/><Relationship Id="rId161" Type="http://schemas.openxmlformats.org/officeDocument/2006/relationships/image" Target="../media/image305.png"/><Relationship Id="rId166" Type="http://schemas.openxmlformats.org/officeDocument/2006/relationships/customXml" Target="../ink/ink304.xml"/><Relationship Id="rId182" Type="http://schemas.openxmlformats.org/officeDocument/2006/relationships/customXml" Target="../ink/ink312.xml"/><Relationship Id="rId187" Type="http://schemas.openxmlformats.org/officeDocument/2006/relationships/image" Target="../media/image318.png"/><Relationship Id="rId1" Type="http://schemas.openxmlformats.org/officeDocument/2006/relationships/tags" Target="../tags/tag8.xml"/><Relationship Id="rId6" Type="http://schemas.openxmlformats.org/officeDocument/2006/relationships/customXml" Target="../ink/ink224.xml"/><Relationship Id="rId23" Type="http://schemas.openxmlformats.org/officeDocument/2006/relationships/image" Target="../media/image236.png"/><Relationship Id="rId28" Type="http://schemas.openxmlformats.org/officeDocument/2006/relationships/customXml" Target="../ink/ink235.xml"/><Relationship Id="rId49" Type="http://schemas.openxmlformats.org/officeDocument/2006/relationships/image" Target="../media/image249.png"/><Relationship Id="rId114" Type="http://schemas.openxmlformats.org/officeDocument/2006/relationships/customXml" Target="../ink/ink278.xml"/><Relationship Id="rId119" Type="http://schemas.openxmlformats.org/officeDocument/2006/relationships/image" Target="../media/image284.png"/><Relationship Id="rId44" Type="http://schemas.openxmlformats.org/officeDocument/2006/relationships/customXml" Target="../ink/ink243.xml"/><Relationship Id="rId60" Type="http://schemas.openxmlformats.org/officeDocument/2006/relationships/customXml" Target="../ink/ink251.xml"/><Relationship Id="rId65" Type="http://schemas.openxmlformats.org/officeDocument/2006/relationships/image" Target="../media/image257.png"/><Relationship Id="rId81" Type="http://schemas.openxmlformats.org/officeDocument/2006/relationships/image" Target="../media/image265.png"/><Relationship Id="rId86" Type="http://schemas.openxmlformats.org/officeDocument/2006/relationships/customXml" Target="../ink/ink264.xml"/><Relationship Id="rId130" Type="http://schemas.openxmlformats.org/officeDocument/2006/relationships/customXml" Target="../ink/ink286.xml"/><Relationship Id="rId135" Type="http://schemas.openxmlformats.org/officeDocument/2006/relationships/image" Target="../media/image292.png"/><Relationship Id="rId151" Type="http://schemas.openxmlformats.org/officeDocument/2006/relationships/image" Target="../media/image300.png"/><Relationship Id="rId156" Type="http://schemas.openxmlformats.org/officeDocument/2006/relationships/customXml" Target="../ink/ink299.xml"/><Relationship Id="rId177" Type="http://schemas.openxmlformats.org/officeDocument/2006/relationships/image" Target="../media/image313.png"/><Relationship Id="rId172" Type="http://schemas.openxmlformats.org/officeDocument/2006/relationships/customXml" Target="../ink/ink307.xml"/><Relationship Id="rId193" Type="http://schemas.openxmlformats.org/officeDocument/2006/relationships/image" Target="../media/image321.png"/><Relationship Id="rId13" Type="http://schemas.openxmlformats.org/officeDocument/2006/relationships/image" Target="../media/image231.png"/><Relationship Id="rId18" Type="http://schemas.openxmlformats.org/officeDocument/2006/relationships/customXml" Target="../ink/ink230.xml"/><Relationship Id="rId39" Type="http://schemas.openxmlformats.org/officeDocument/2006/relationships/image" Target="../media/image244.png"/><Relationship Id="rId109" Type="http://schemas.openxmlformats.org/officeDocument/2006/relationships/image" Target="../media/image279.png"/><Relationship Id="rId34" Type="http://schemas.openxmlformats.org/officeDocument/2006/relationships/customXml" Target="../ink/ink238.xml"/><Relationship Id="rId50" Type="http://schemas.openxmlformats.org/officeDocument/2006/relationships/customXml" Target="../ink/ink246.xml"/><Relationship Id="rId55" Type="http://schemas.openxmlformats.org/officeDocument/2006/relationships/image" Target="../media/image252.png"/><Relationship Id="rId76" Type="http://schemas.openxmlformats.org/officeDocument/2006/relationships/customXml" Target="../ink/ink259.xml"/><Relationship Id="rId97" Type="http://schemas.openxmlformats.org/officeDocument/2006/relationships/image" Target="../media/image273.png"/><Relationship Id="rId104" Type="http://schemas.openxmlformats.org/officeDocument/2006/relationships/customXml" Target="../ink/ink273.xml"/><Relationship Id="rId120" Type="http://schemas.openxmlformats.org/officeDocument/2006/relationships/customXml" Target="../ink/ink281.xml"/><Relationship Id="rId125" Type="http://schemas.openxmlformats.org/officeDocument/2006/relationships/image" Target="../media/image287.png"/><Relationship Id="rId141" Type="http://schemas.openxmlformats.org/officeDocument/2006/relationships/image" Target="../media/image295.png"/><Relationship Id="rId146" Type="http://schemas.openxmlformats.org/officeDocument/2006/relationships/customXml" Target="../ink/ink294.xml"/><Relationship Id="rId167" Type="http://schemas.openxmlformats.org/officeDocument/2006/relationships/image" Target="../media/image308.png"/><Relationship Id="rId188" Type="http://schemas.openxmlformats.org/officeDocument/2006/relationships/customXml" Target="../ink/ink315.xml"/><Relationship Id="rId7" Type="http://schemas.openxmlformats.org/officeDocument/2006/relationships/image" Target="../media/image228.png"/><Relationship Id="rId71" Type="http://schemas.openxmlformats.org/officeDocument/2006/relationships/image" Target="../media/image260.png"/><Relationship Id="rId92" Type="http://schemas.openxmlformats.org/officeDocument/2006/relationships/customXml" Target="../ink/ink267.xml"/><Relationship Id="rId162" Type="http://schemas.openxmlformats.org/officeDocument/2006/relationships/customXml" Target="../ink/ink302.xml"/><Relationship Id="rId183" Type="http://schemas.openxmlformats.org/officeDocument/2006/relationships/image" Target="../media/image316.png"/><Relationship Id="rId2" Type="http://schemas.openxmlformats.org/officeDocument/2006/relationships/slideLayout" Target="../slideLayouts/slideLayout2.xml"/><Relationship Id="rId29" Type="http://schemas.openxmlformats.org/officeDocument/2006/relationships/image" Target="../media/image239.png"/><Relationship Id="rId24" Type="http://schemas.openxmlformats.org/officeDocument/2006/relationships/customXml" Target="../ink/ink233.xml"/><Relationship Id="rId40" Type="http://schemas.openxmlformats.org/officeDocument/2006/relationships/customXml" Target="../ink/ink241.xml"/><Relationship Id="rId45" Type="http://schemas.openxmlformats.org/officeDocument/2006/relationships/image" Target="../media/image247.png"/><Relationship Id="rId66" Type="http://schemas.openxmlformats.org/officeDocument/2006/relationships/customXml" Target="../ink/ink254.xml"/><Relationship Id="rId87" Type="http://schemas.openxmlformats.org/officeDocument/2006/relationships/image" Target="../media/image268.png"/><Relationship Id="rId110" Type="http://schemas.openxmlformats.org/officeDocument/2006/relationships/customXml" Target="../ink/ink276.xml"/><Relationship Id="rId115" Type="http://schemas.openxmlformats.org/officeDocument/2006/relationships/image" Target="../media/image282.png"/><Relationship Id="rId131" Type="http://schemas.openxmlformats.org/officeDocument/2006/relationships/image" Target="../media/image290.png"/><Relationship Id="rId136" Type="http://schemas.openxmlformats.org/officeDocument/2006/relationships/customXml" Target="../ink/ink289.xml"/><Relationship Id="rId157" Type="http://schemas.openxmlformats.org/officeDocument/2006/relationships/image" Target="../media/image303.png"/><Relationship Id="rId178" Type="http://schemas.openxmlformats.org/officeDocument/2006/relationships/customXml" Target="../ink/ink310.xml"/><Relationship Id="rId61" Type="http://schemas.openxmlformats.org/officeDocument/2006/relationships/image" Target="../media/image255.png"/><Relationship Id="rId82" Type="http://schemas.openxmlformats.org/officeDocument/2006/relationships/customXml" Target="../ink/ink262.xml"/><Relationship Id="rId152" Type="http://schemas.openxmlformats.org/officeDocument/2006/relationships/customXml" Target="../ink/ink297.xml"/><Relationship Id="rId173" Type="http://schemas.openxmlformats.org/officeDocument/2006/relationships/image" Target="../media/image311.png"/><Relationship Id="rId194" Type="http://schemas.openxmlformats.org/officeDocument/2006/relationships/customXml" Target="../ink/ink318.xml"/><Relationship Id="rId19" Type="http://schemas.openxmlformats.org/officeDocument/2006/relationships/image" Target="../media/image234.png"/><Relationship Id="rId14" Type="http://schemas.openxmlformats.org/officeDocument/2006/relationships/customXml" Target="../ink/ink228.xml"/><Relationship Id="rId30" Type="http://schemas.openxmlformats.org/officeDocument/2006/relationships/customXml" Target="../ink/ink236.xml"/><Relationship Id="rId35" Type="http://schemas.openxmlformats.org/officeDocument/2006/relationships/image" Target="../media/image242.png"/><Relationship Id="rId56" Type="http://schemas.openxmlformats.org/officeDocument/2006/relationships/customXml" Target="../ink/ink249.xml"/><Relationship Id="rId77" Type="http://schemas.openxmlformats.org/officeDocument/2006/relationships/image" Target="../media/image263.png"/><Relationship Id="rId100" Type="http://schemas.openxmlformats.org/officeDocument/2006/relationships/customXml" Target="../ink/ink271.xml"/><Relationship Id="rId105" Type="http://schemas.openxmlformats.org/officeDocument/2006/relationships/image" Target="../media/image277.png"/><Relationship Id="rId126" Type="http://schemas.openxmlformats.org/officeDocument/2006/relationships/customXml" Target="../ink/ink284.xml"/><Relationship Id="rId147" Type="http://schemas.openxmlformats.org/officeDocument/2006/relationships/image" Target="../media/image298.png"/><Relationship Id="rId168" Type="http://schemas.openxmlformats.org/officeDocument/2006/relationships/customXml" Target="../ink/ink305.xml"/><Relationship Id="rId8" Type="http://schemas.openxmlformats.org/officeDocument/2006/relationships/customXml" Target="../ink/ink225.xml"/><Relationship Id="rId51" Type="http://schemas.openxmlformats.org/officeDocument/2006/relationships/image" Target="../media/image250.png"/><Relationship Id="rId72" Type="http://schemas.openxmlformats.org/officeDocument/2006/relationships/customXml" Target="../ink/ink257.xml"/><Relationship Id="rId93" Type="http://schemas.openxmlformats.org/officeDocument/2006/relationships/image" Target="../media/image271.png"/><Relationship Id="rId98" Type="http://schemas.openxmlformats.org/officeDocument/2006/relationships/customXml" Target="../ink/ink270.xml"/><Relationship Id="rId121" Type="http://schemas.openxmlformats.org/officeDocument/2006/relationships/image" Target="../media/image285.png"/><Relationship Id="rId142" Type="http://schemas.openxmlformats.org/officeDocument/2006/relationships/customXml" Target="../ink/ink292.xml"/><Relationship Id="rId163" Type="http://schemas.openxmlformats.org/officeDocument/2006/relationships/image" Target="../media/image306.png"/><Relationship Id="rId184" Type="http://schemas.openxmlformats.org/officeDocument/2006/relationships/customXml" Target="../ink/ink313.xml"/><Relationship Id="rId189" Type="http://schemas.openxmlformats.org/officeDocument/2006/relationships/image" Target="../media/image319.png"/><Relationship Id="rId3" Type="http://schemas.openxmlformats.org/officeDocument/2006/relationships/oleObject" Target="../embeddings/oleObject7.bin"/><Relationship Id="rId25" Type="http://schemas.openxmlformats.org/officeDocument/2006/relationships/image" Target="../media/image237.png"/><Relationship Id="rId46" Type="http://schemas.openxmlformats.org/officeDocument/2006/relationships/customXml" Target="../ink/ink244.xml"/><Relationship Id="rId67" Type="http://schemas.openxmlformats.org/officeDocument/2006/relationships/image" Target="../media/image258.png"/><Relationship Id="rId116" Type="http://schemas.openxmlformats.org/officeDocument/2006/relationships/customXml" Target="../ink/ink279.xml"/><Relationship Id="rId137" Type="http://schemas.openxmlformats.org/officeDocument/2006/relationships/image" Target="../media/image293.png"/><Relationship Id="rId158" Type="http://schemas.openxmlformats.org/officeDocument/2006/relationships/customXml" Target="../ink/ink300.xml"/><Relationship Id="rId20" Type="http://schemas.openxmlformats.org/officeDocument/2006/relationships/customXml" Target="../ink/ink231.xml"/><Relationship Id="rId41" Type="http://schemas.openxmlformats.org/officeDocument/2006/relationships/image" Target="../media/image245.png"/><Relationship Id="rId62" Type="http://schemas.openxmlformats.org/officeDocument/2006/relationships/customXml" Target="../ink/ink252.xml"/><Relationship Id="rId83" Type="http://schemas.openxmlformats.org/officeDocument/2006/relationships/image" Target="../media/image266.png"/><Relationship Id="rId88" Type="http://schemas.openxmlformats.org/officeDocument/2006/relationships/customXml" Target="../ink/ink265.xml"/><Relationship Id="rId111" Type="http://schemas.openxmlformats.org/officeDocument/2006/relationships/image" Target="../media/image280.png"/><Relationship Id="rId132" Type="http://schemas.openxmlformats.org/officeDocument/2006/relationships/customXml" Target="../ink/ink287.xml"/><Relationship Id="rId153" Type="http://schemas.openxmlformats.org/officeDocument/2006/relationships/image" Target="../media/image301.png"/><Relationship Id="rId174" Type="http://schemas.openxmlformats.org/officeDocument/2006/relationships/customXml" Target="../ink/ink308.xml"/><Relationship Id="rId179" Type="http://schemas.openxmlformats.org/officeDocument/2006/relationships/image" Target="../media/image314.png"/><Relationship Id="rId195" Type="http://schemas.openxmlformats.org/officeDocument/2006/relationships/image" Target="../media/image322.png"/><Relationship Id="rId190" Type="http://schemas.openxmlformats.org/officeDocument/2006/relationships/customXml" Target="../ink/ink316.xml"/><Relationship Id="rId15" Type="http://schemas.openxmlformats.org/officeDocument/2006/relationships/image" Target="../media/image232.png"/><Relationship Id="rId36" Type="http://schemas.openxmlformats.org/officeDocument/2006/relationships/customXml" Target="../ink/ink239.xml"/><Relationship Id="rId57" Type="http://schemas.openxmlformats.org/officeDocument/2006/relationships/image" Target="../media/image253.png"/><Relationship Id="rId106" Type="http://schemas.openxmlformats.org/officeDocument/2006/relationships/customXml" Target="../ink/ink274.xml"/><Relationship Id="rId127" Type="http://schemas.openxmlformats.org/officeDocument/2006/relationships/image" Target="../media/image288.png"/><Relationship Id="rId10" Type="http://schemas.openxmlformats.org/officeDocument/2006/relationships/customXml" Target="../ink/ink226.xml"/><Relationship Id="rId31" Type="http://schemas.openxmlformats.org/officeDocument/2006/relationships/image" Target="../media/image240.png"/><Relationship Id="rId52" Type="http://schemas.openxmlformats.org/officeDocument/2006/relationships/customXml" Target="../ink/ink247.xml"/><Relationship Id="rId73" Type="http://schemas.openxmlformats.org/officeDocument/2006/relationships/image" Target="../media/image261.png"/><Relationship Id="rId78" Type="http://schemas.openxmlformats.org/officeDocument/2006/relationships/customXml" Target="../ink/ink260.xml"/><Relationship Id="rId94" Type="http://schemas.openxmlformats.org/officeDocument/2006/relationships/customXml" Target="../ink/ink268.xml"/><Relationship Id="rId99" Type="http://schemas.openxmlformats.org/officeDocument/2006/relationships/image" Target="../media/image274.png"/><Relationship Id="rId101" Type="http://schemas.openxmlformats.org/officeDocument/2006/relationships/image" Target="../media/image275.png"/><Relationship Id="rId122" Type="http://schemas.openxmlformats.org/officeDocument/2006/relationships/customXml" Target="../ink/ink282.xml"/><Relationship Id="rId143" Type="http://schemas.openxmlformats.org/officeDocument/2006/relationships/image" Target="../media/image296.png"/><Relationship Id="rId148" Type="http://schemas.openxmlformats.org/officeDocument/2006/relationships/customXml" Target="../ink/ink295.xml"/><Relationship Id="rId164" Type="http://schemas.openxmlformats.org/officeDocument/2006/relationships/customXml" Target="../ink/ink303.xml"/><Relationship Id="rId169" Type="http://schemas.openxmlformats.org/officeDocument/2006/relationships/image" Target="../media/image309.png"/><Relationship Id="rId185" Type="http://schemas.openxmlformats.org/officeDocument/2006/relationships/image" Target="../media/image317.png"/><Relationship Id="rId4" Type="http://schemas.openxmlformats.org/officeDocument/2006/relationships/image" Target="../media/image1.emf"/><Relationship Id="rId9" Type="http://schemas.openxmlformats.org/officeDocument/2006/relationships/image" Target="../media/image229.png"/><Relationship Id="rId180" Type="http://schemas.openxmlformats.org/officeDocument/2006/relationships/customXml" Target="../ink/ink311.xml"/><Relationship Id="rId26" Type="http://schemas.openxmlformats.org/officeDocument/2006/relationships/customXml" Target="../ink/ink234.xml"/></Relationships>
</file>

<file path=ppt/slides/_rels/slide7.xml.rels><?xml version="1.0" encoding="UTF-8" standalone="yes"?>
<Relationships xmlns="http://schemas.openxmlformats.org/package/2006/relationships"><Relationship Id="rId26" Type="http://schemas.openxmlformats.org/officeDocument/2006/relationships/customXml" Target="../ink/ink330.xml"/><Relationship Id="rId21" Type="http://schemas.openxmlformats.org/officeDocument/2006/relationships/image" Target="../media/image331.png"/><Relationship Id="rId42" Type="http://schemas.openxmlformats.org/officeDocument/2006/relationships/customXml" Target="../ink/ink338.xml"/><Relationship Id="rId47" Type="http://schemas.openxmlformats.org/officeDocument/2006/relationships/image" Target="../media/image344.png"/><Relationship Id="rId63" Type="http://schemas.openxmlformats.org/officeDocument/2006/relationships/image" Target="../media/image352.png"/><Relationship Id="rId68" Type="http://schemas.openxmlformats.org/officeDocument/2006/relationships/customXml" Target="../ink/ink351.xml"/><Relationship Id="rId84" Type="http://schemas.openxmlformats.org/officeDocument/2006/relationships/customXml" Target="../ink/ink359.xml"/><Relationship Id="rId89" Type="http://schemas.openxmlformats.org/officeDocument/2006/relationships/image" Target="../media/image365.png"/><Relationship Id="rId2" Type="http://schemas.openxmlformats.org/officeDocument/2006/relationships/slideLayout" Target="../slideLayouts/slideLayout2.xml"/><Relationship Id="rId16" Type="http://schemas.openxmlformats.org/officeDocument/2006/relationships/customXml" Target="../ink/ink325.xml"/><Relationship Id="rId29" Type="http://schemas.openxmlformats.org/officeDocument/2006/relationships/image" Target="../media/image335.png"/><Relationship Id="rId107" Type="http://schemas.openxmlformats.org/officeDocument/2006/relationships/image" Target="../media/image374.png"/><Relationship Id="rId11" Type="http://schemas.openxmlformats.org/officeDocument/2006/relationships/image" Target="../media/image326.png"/><Relationship Id="rId24" Type="http://schemas.openxmlformats.org/officeDocument/2006/relationships/customXml" Target="../ink/ink329.xml"/><Relationship Id="rId32" Type="http://schemas.openxmlformats.org/officeDocument/2006/relationships/customXml" Target="../ink/ink333.xml"/><Relationship Id="rId37" Type="http://schemas.openxmlformats.org/officeDocument/2006/relationships/image" Target="../media/image339.png"/><Relationship Id="rId40" Type="http://schemas.openxmlformats.org/officeDocument/2006/relationships/customXml" Target="../ink/ink337.xml"/><Relationship Id="rId45" Type="http://schemas.openxmlformats.org/officeDocument/2006/relationships/image" Target="../media/image343.png"/><Relationship Id="rId53" Type="http://schemas.openxmlformats.org/officeDocument/2006/relationships/image" Target="../media/image347.png"/><Relationship Id="rId58" Type="http://schemas.openxmlformats.org/officeDocument/2006/relationships/customXml" Target="../ink/ink346.xml"/><Relationship Id="rId66" Type="http://schemas.openxmlformats.org/officeDocument/2006/relationships/customXml" Target="../ink/ink350.xml"/><Relationship Id="rId74" Type="http://schemas.openxmlformats.org/officeDocument/2006/relationships/customXml" Target="../ink/ink354.xml"/><Relationship Id="rId79" Type="http://schemas.openxmlformats.org/officeDocument/2006/relationships/image" Target="../media/image360.png"/><Relationship Id="rId87" Type="http://schemas.openxmlformats.org/officeDocument/2006/relationships/image" Target="../media/image364.png"/><Relationship Id="rId102" Type="http://schemas.openxmlformats.org/officeDocument/2006/relationships/customXml" Target="../ink/ink368.xml"/><Relationship Id="rId5" Type="http://schemas.openxmlformats.org/officeDocument/2006/relationships/image" Target="../media/image324.png"/><Relationship Id="rId61" Type="http://schemas.openxmlformats.org/officeDocument/2006/relationships/image" Target="../media/image351.png"/><Relationship Id="rId82" Type="http://schemas.openxmlformats.org/officeDocument/2006/relationships/customXml" Target="../ink/ink358.xml"/><Relationship Id="rId90" Type="http://schemas.openxmlformats.org/officeDocument/2006/relationships/customXml" Target="../ink/ink362.xml"/><Relationship Id="rId95" Type="http://schemas.openxmlformats.org/officeDocument/2006/relationships/image" Target="../media/image368.png"/><Relationship Id="rId19" Type="http://schemas.openxmlformats.org/officeDocument/2006/relationships/image" Target="../media/image330.png"/><Relationship Id="rId14" Type="http://schemas.openxmlformats.org/officeDocument/2006/relationships/customXml" Target="../ink/ink324.xml"/><Relationship Id="rId22" Type="http://schemas.openxmlformats.org/officeDocument/2006/relationships/customXml" Target="../ink/ink328.xml"/><Relationship Id="rId27" Type="http://schemas.openxmlformats.org/officeDocument/2006/relationships/image" Target="../media/image334.png"/><Relationship Id="rId30" Type="http://schemas.openxmlformats.org/officeDocument/2006/relationships/customXml" Target="../ink/ink332.xml"/><Relationship Id="rId35" Type="http://schemas.openxmlformats.org/officeDocument/2006/relationships/image" Target="../media/image338.png"/><Relationship Id="rId43" Type="http://schemas.openxmlformats.org/officeDocument/2006/relationships/image" Target="../media/image342.png"/><Relationship Id="rId48" Type="http://schemas.openxmlformats.org/officeDocument/2006/relationships/customXml" Target="../ink/ink341.xml"/><Relationship Id="rId56" Type="http://schemas.openxmlformats.org/officeDocument/2006/relationships/customXml" Target="../ink/ink345.xml"/><Relationship Id="rId64" Type="http://schemas.openxmlformats.org/officeDocument/2006/relationships/customXml" Target="../ink/ink349.xml"/><Relationship Id="rId69" Type="http://schemas.openxmlformats.org/officeDocument/2006/relationships/image" Target="../media/image355.png"/><Relationship Id="rId77" Type="http://schemas.openxmlformats.org/officeDocument/2006/relationships/image" Target="../media/image359.png"/><Relationship Id="rId100" Type="http://schemas.openxmlformats.org/officeDocument/2006/relationships/customXml" Target="../ink/ink367.xml"/><Relationship Id="rId105" Type="http://schemas.openxmlformats.org/officeDocument/2006/relationships/image" Target="../media/image373.png"/><Relationship Id="rId8" Type="http://schemas.openxmlformats.org/officeDocument/2006/relationships/customXml" Target="../ink/ink321.xml"/><Relationship Id="rId51" Type="http://schemas.openxmlformats.org/officeDocument/2006/relationships/image" Target="../media/image346.png"/><Relationship Id="rId72" Type="http://schemas.openxmlformats.org/officeDocument/2006/relationships/customXml" Target="../ink/ink353.xml"/><Relationship Id="rId80" Type="http://schemas.openxmlformats.org/officeDocument/2006/relationships/customXml" Target="../ink/ink357.xml"/><Relationship Id="rId85" Type="http://schemas.openxmlformats.org/officeDocument/2006/relationships/image" Target="../media/image363.png"/><Relationship Id="rId93" Type="http://schemas.openxmlformats.org/officeDocument/2006/relationships/image" Target="../media/image367.png"/><Relationship Id="rId98" Type="http://schemas.openxmlformats.org/officeDocument/2006/relationships/customXml" Target="../ink/ink366.xml"/><Relationship Id="rId3" Type="http://schemas.openxmlformats.org/officeDocument/2006/relationships/oleObject" Target="../embeddings/oleObject8.bin"/><Relationship Id="rId12" Type="http://schemas.openxmlformats.org/officeDocument/2006/relationships/customXml" Target="../ink/ink323.xml"/><Relationship Id="rId17" Type="http://schemas.openxmlformats.org/officeDocument/2006/relationships/image" Target="../media/image329.png"/><Relationship Id="rId25" Type="http://schemas.openxmlformats.org/officeDocument/2006/relationships/image" Target="../media/image333.png"/><Relationship Id="rId33" Type="http://schemas.openxmlformats.org/officeDocument/2006/relationships/image" Target="../media/image337.png"/><Relationship Id="rId38" Type="http://schemas.openxmlformats.org/officeDocument/2006/relationships/customXml" Target="../ink/ink336.xml"/><Relationship Id="rId46" Type="http://schemas.openxmlformats.org/officeDocument/2006/relationships/customXml" Target="../ink/ink340.xml"/><Relationship Id="rId59" Type="http://schemas.openxmlformats.org/officeDocument/2006/relationships/image" Target="../media/image350.png"/><Relationship Id="rId67" Type="http://schemas.openxmlformats.org/officeDocument/2006/relationships/image" Target="../media/image354.png"/><Relationship Id="rId103" Type="http://schemas.openxmlformats.org/officeDocument/2006/relationships/image" Target="../media/image372.png"/><Relationship Id="rId108" Type="http://schemas.openxmlformats.org/officeDocument/2006/relationships/customXml" Target="../ink/ink371.xml"/><Relationship Id="rId20" Type="http://schemas.openxmlformats.org/officeDocument/2006/relationships/customXml" Target="../ink/ink327.xml"/><Relationship Id="rId41" Type="http://schemas.openxmlformats.org/officeDocument/2006/relationships/image" Target="../media/image341.png"/><Relationship Id="rId54" Type="http://schemas.openxmlformats.org/officeDocument/2006/relationships/customXml" Target="../ink/ink344.xml"/><Relationship Id="rId62" Type="http://schemas.openxmlformats.org/officeDocument/2006/relationships/customXml" Target="../ink/ink348.xml"/><Relationship Id="rId70" Type="http://schemas.openxmlformats.org/officeDocument/2006/relationships/customXml" Target="../ink/ink352.xml"/><Relationship Id="rId75" Type="http://schemas.openxmlformats.org/officeDocument/2006/relationships/image" Target="../media/image358.png"/><Relationship Id="rId83" Type="http://schemas.openxmlformats.org/officeDocument/2006/relationships/image" Target="../media/image362.png"/><Relationship Id="rId88" Type="http://schemas.openxmlformats.org/officeDocument/2006/relationships/customXml" Target="../ink/ink361.xml"/><Relationship Id="rId91" Type="http://schemas.openxmlformats.org/officeDocument/2006/relationships/image" Target="../media/image366.png"/><Relationship Id="rId96" Type="http://schemas.openxmlformats.org/officeDocument/2006/relationships/customXml" Target="../ink/ink365.xml"/><Relationship Id="rId1" Type="http://schemas.openxmlformats.org/officeDocument/2006/relationships/tags" Target="../tags/tag9.xml"/><Relationship Id="rId6" Type="http://schemas.openxmlformats.org/officeDocument/2006/relationships/customXml" Target="../ink/ink320.xml"/><Relationship Id="rId15" Type="http://schemas.openxmlformats.org/officeDocument/2006/relationships/image" Target="../media/image328.png"/><Relationship Id="rId23" Type="http://schemas.openxmlformats.org/officeDocument/2006/relationships/image" Target="../media/image332.png"/><Relationship Id="rId28" Type="http://schemas.openxmlformats.org/officeDocument/2006/relationships/customXml" Target="../ink/ink331.xml"/><Relationship Id="rId36" Type="http://schemas.openxmlformats.org/officeDocument/2006/relationships/customXml" Target="../ink/ink335.xml"/><Relationship Id="rId49" Type="http://schemas.openxmlformats.org/officeDocument/2006/relationships/image" Target="../media/image345.png"/><Relationship Id="rId57" Type="http://schemas.openxmlformats.org/officeDocument/2006/relationships/image" Target="../media/image349.png"/><Relationship Id="rId106" Type="http://schemas.openxmlformats.org/officeDocument/2006/relationships/customXml" Target="../ink/ink370.xml"/><Relationship Id="rId10" Type="http://schemas.openxmlformats.org/officeDocument/2006/relationships/customXml" Target="../ink/ink322.xml"/><Relationship Id="rId31" Type="http://schemas.openxmlformats.org/officeDocument/2006/relationships/image" Target="../media/image336.png"/><Relationship Id="rId44" Type="http://schemas.openxmlformats.org/officeDocument/2006/relationships/customXml" Target="../ink/ink339.xml"/><Relationship Id="rId52" Type="http://schemas.openxmlformats.org/officeDocument/2006/relationships/customXml" Target="../ink/ink343.xml"/><Relationship Id="rId60" Type="http://schemas.openxmlformats.org/officeDocument/2006/relationships/customXml" Target="../ink/ink347.xml"/><Relationship Id="rId65" Type="http://schemas.openxmlformats.org/officeDocument/2006/relationships/image" Target="../media/image353.png"/><Relationship Id="rId73" Type="http://schemas.openxmlformats.org/officeDocument/2006/relationships/image" Target="../media/image357.png"/><Relationship Id="rId78" Type="http://schemas.openxmlformats.org/officeDocument/2006/relationships/customXml" Target="../ink/ink356.xml"/><Relationship Id="rId81" Type="http://schemas.openxmlformats.org/officeDocument/2006/relationships/image" Target="../media/image361.png"/><Relationship Id="rId86" Type="http://schemas.openxmlformats.org/officeDocument/2006/relationships/customXml" Target="../ink/ink360.xml"/><Relationship Id="rId94" Type="http://schemas.openxmlformats.org/officeDocument/2006/relationships/customXml" Target="../ink/ink364.xml"/><Relationship Id="rId99" Type="http://schemas.openxmlformats.org/officeDocument/2006/relationships/image" Target="../media/image370.png"/><Relationship Id="rId101" Type="http://schemas.openxmlformats.org/officeDocument/2006/relationships/image" Target="../media/image371.png"/><Relationship Id="rId4" Type="http://schemas.openxmlformats.org/officeDocument/2006/relationships/image" Target="../media/image1.emf"/><Relationship Id="rId9" Type="http://schemas.openxmlformats.org/officeDocument/2006/relationships/image" Target="../media/image325.png"/><Relationship Id="rId13" Type="http://schemas.openxmlformats.org/officeDocument/2006/relationships/image" Target="../media/image327.png"/><Relationship Id="rId18" Type="http://schemas.openxmlformats.org/officeDocument/2006/relationships/customXml" Target="../ink/ink326.xml"/><Relationship Id="rId39" Type="http://schemas.openxmlformats.org/officeDocument/2006/relationships/image" Target="../media/image340.png"/><Relationship Id="rId109" Type="http://schemas.openxmlformats.org/officeDocument/2006/relationships/image" Target="../media/image375.png"/><Relationship Id="rId34" Type="http://schemas.openxmlformats.org/officeDocument/2006/relationships/customXml" Target="../ink/ink334.xml"/><Relationship Id="rId50" Type="http://schemas.openxmlformats.org/officeDocument/2006/relationships/customXml" Target="../ink/ink342.xml"/><Relationship Id="rId55" Type="http://schemas.openxmlformats.org/officeDocument/2006/relationships/image" Target="../media/image348.png"/><Relationship Id="rId76" Type="http://schemas.openxmlformats.org/officeDocument/2006/relationships/customXml" Target="../ink/ink355.xml"/><Relationship Id="rId97" Type="http://schemas.openxmlformats.org/officeDocument/2006/relationships/image" Target="../media/image369.png"/><Relationship Id="rId104" Type="http://schemas.openxmlformats.org/officeDocument/2006/relationships/customXml" Target="../ink/ink369.xml"/><Relationship Id="rId7" Type="http://schemas.openxmlformats.org/officeDocument/2006/relationships/image" Target="../media/image3240.png"/><Relationship Id="rId71" Type="http://schemas.openxmlformats.org/officeDocument/2006/relationships/image" Target="../media/image356.png"/><Relationship Id="rId92" Type="http://schemas.openxmlformats.org/officeDocument/2006/relationships/customXml" Target="../ink/ink363.xml"/></Relationships>
</file>

<file path=ppt/slides/_rels/slide8.xml.rels><?xml version="1.0" encoding="UTF-8" standalone="yes"?>
<Relationships xmlns="http://schemas.openxmlformats.org/package/2006/relationships"><Relationship Id="rId26" Type="http://schemas.openxmlformats.org/officeDocument/2006/relationships/customXml" Target="../ink/ink382.xml"/><Relationship Id="rId117" Type="http://schemas.openxmlformats.org/officeDocument/2006/relationships/image" Target="../media/image431.png"/><Relationship Id="rId21" Type="http://schemas.openxmlformats.org/officeDocument/2006/relationships/image" Target="../media/image383.png"/><Relationship Id="rId42" Type="http://schemas.openxmlformats.org/officeDocument/2006/relationships/customXml" Target="../ink/ink390.xml"/><Relationship Id="rId47" Type="http://schemas.openxmlformats.org/officeDocument/2006/relationships/image" Target="../media/image396.png"/><Relationship Id="rId63" Type="http://schemas.openxmlformats.org/officeDocument/2006/relationships/image" Target="../media/image404.png"/><Relationship Id="rId68" Type="http://schemas.openxmlformats.org/officeDocument/2006/relationships/customXml" Target="../ink/ink403.xml"/><Relationship Id="rId84" Type="http://schemas.openxmlformats.org/officeDocument/2006/relationships/customXml" Target="../ink/ink411.xml"/><Relationship Id="rId89" Type="http://schemas.openxmlformats.org/officeDocument/2006/relationships/image" Target="../media/image417.png"/><Relationship Id="rId112" Type="http://schemas.openxmlformats.org/officeDocument/2006/relationships/customXml" Target="../ink/ink425.xml"/><Relationship Id="rId133" Type="http://schemas.openxmlformats.org/officeDocument/2006/relationships/image" Target="../media/image439.png"/><Relationship Id="rId138" Type="http://schemas.openxmlformats.org/officeDocument/2006/relationships/customXml" Target="../ink/ink438.xml"/><Relationship Id="rId154" Type="http://schemas.openxmlformats.org/officeDocument/2006/relationships/customXml" Target="../ink/ink445.xml"/><Relationship Id="rId159" Type="http://schemas.openxmlformats.org/officeDocument/2006/relationships/image" Target="../media/image453.png"/><Relationship Id="rId16" Type="http://schemas.openxmlformats.org/officeDocument/2006/relationships/customXml" Target="../ink/ink377.xml"/><Relationship Id="rId107" Type="http://schemas.openxmlformats.org/officeDocument/2006/relationships/image" Target="../media/image426.png"/><Relationship Id="rId11" Type="http://schemas.openxmlformats.org/officeDocument/2006/relationships/image" Target="../media/image378.png"/><Relationship Id="rId32" Type="http://schemas.openxmlformats.org/officeDocument/2006/relationships/customXml" Target="../ink/ink385.xml"/><Relationship Id="rId37" Type="http://schemas.openxmlformats.org/officeDocument/2006/relationships/image" Target="../media/image391.png"/><Relationship Id="rId53" Type="http://schemas.openxmlformats.org/officeDocument/2006/relationships/image" Target="../media/image399.png"/><Relationship Id="rId58" Type="http://schemas.openxmlformats.org/officeDocument/2006/relationships/customXml" Target="../ink/ink398.xml"/><Relationship Id="rId74" Type="http://schemas.openxmlformats.org/officeDocument/2006/relationships/customXml" Target="../ink/ink406.xml"/><Relationship Id="rId79" Type="http://schemas.openxmlformats.org/officeDocument/2006/relationships/image" Target="../media/image412.png"/><Relationship Id="rId102" Type="http://schemas.openxmlformats.org/officeDocument/2006/relationships/customXml" Target="../ink/ink420.xml"/><Relationship Id="rId123" Type="http://schemas.openxmlformats.org/officeDocument/2006/relationships/image" Target="../media/image434.png"/><Relationship Id="rId128" Type="http://schemas.openxmlformats.org/officeDocument/2006/relationships/customXml" Target="../ink/ink433.xml"/><Relationship Id="rId144" Type="http://schemas.openxmlformats.org/officeDocument/2006/relationships/image" Target="../media/image445.png"/><Relationship Id="rId149" Type="http://schemas.openxmlformats.org/officeDocument/2006/relationships/image" Target="../media/image448.png"/><Relationship Id="rId5" Type="http://schemas.openxmlformats.org/officeDocument/2006/relationships/image" Target="../media/image376.png"/><Relationship Id="rId90" Type="http://schemas.openxmlformats.org/officeDocument/2006/relationships/customXml" Target="../ink/ink414.xml"/><Relationship Id="rId95" Type="http://schemas.openxmlformats.org/officeDocument/2006/relationships/image" Target="../media/image420.png"/><Relationship Id="rId160" Type="http://schemas.openxmlformats.org/officeDocument/2006/relationships/customXml" Target="../ink/ink448.xml"/><Relationship Id="rId165" Type="http://schemas.openxmlformats.org/officeDocument/2006/relationships/image" Target="../media/image456.png"/><Relationship Id="rId22" Type="http://schemas.openxmlformats.org/officeDocument/2006/relationships/customXml" Target="../ink/ink380.xml"/><Relationship Id="rId27" Type="http://schemas.openxmlformats.org/officeDocument/2006/relationships/image" Target="../media/image386.png"/><Relationship Id="rId43" Type="http://schemas.openxmlformats.org/officeDocument/2006/relationships/image" Target="../media/image394.png"/><Relationship Id="rId48" Type="http://schemas.openxmlformats.org/officeDocument/2006/relationships/customXml" Target="../ink/ink393.xml"/><Relationship Id="rId64" Type="http://schemas.openxmlformats.org/officeDocument/2006/relationships/customXml" Target="../ink/ink401.xml"/><Relationship Id="rId69" Type="http://schemas.openxmlformats.org/officeDocument/2006/relationships/image" Target="../media/image407.png"/><Relationship Id="rId113" Type="http://schemas.openxmlformats.org/officeDocument/2006/relationships/image" Target="../media/image429.png"/><Relationship Id="rId118" Type="http://schemas.openxmlformats.org/officeDocument/2006/relationships/customXml" Target="../ink/ink428.xml"/><Relationship Id="rId134" Type="http://schemas.openxmlformats.org/officeDocument/2006/relationships/customXml" Target="../ink/ink436.xml"/><Relationship Id="rId139" Type="http://schemas.openxmlformats.org/officeDocument/2006/relationships/image" Target="../media/image442.png"/><Relationship Id="rId80" Type="http://schemas.openxmlformats.org/officeDocument/2006/relationships/customXml" Target="../ink/ink409.xml"/><Relationship Id="rId85" Type="http://schemas.openxmlformats.org/officeDocument/2006/relationships/image" Target="../media/image415.png"/><Relationship Id="rId150" Type="http://schemas.openxmlformats.org/officeDocument/2006/relationships/customXml" Target="../ink/ink443.xml"/><Relationship Id="rId155" Type="http://schemas.openxmlformats.org/officeDocument/2006/relationships/image" Target="../media/image451.png"/><Relationship Id="rId12" Type="http://schemas.openxmlformats.org/officeDocument/2006/relationships/customXml" Target="../ink/ink375.xml"/><Relationship Id="rId17" Type="http://schemas.openxmlformats.org/officeDocument/2006/relationships/image" Target="../media/image381.png"/><Relationship Id="rId33" Type="http://schemas.openxmlformats.org/officeDocument/2006/relationships/image" Target="../media/image389.png"/><Relationship Id="rId38" Type="http://schemas.openxmlformats.org/officeDocument/2006/relationships/customXml" Target="../ink/ink388.xml"/><Relationship Id="rId59" Type="http://schemas.openxmlformats.org/officeDocument/2006/relationships/image" Target="../media/image402.png"/><Relationship Id="rId103" Type="http://schemas.openxmlformats.org/officeDocument/2006/relationships/image" Target="../media/image424.png"/><Relationship Id="rId108" Type="http://schemas.openxmlformats.org/officeDocument/2006/relationships/customXml" Target="../ink/ink423.xml"/><Relationship Id="rId124" Type="http://schemas.openxmlformats.org/officeDocument/2006/relationships/customXml" Target="../ink/ink431.xml"/><Relationship Id="rId129" Type="http://schemas.openxmlformats.org/officeDocument/2006/relationships/image" Target="../media/image437.png"/><Relationship Id="rId54" Type="http://schemas.openxmlformats.org/officeDocument/2006/relationships/customXml" Target="../ink/ink396.xml"/><Relationship Id="rId70" Type="http://schemas.openxmlformats.org/officeDocument/2006/relationships/customXml" Target="../ink/ink404.xml"/><Relationship Id="rId75" Type="http://schemas.openxmlformats.org/officeDocument/2006/relationships/image" Target="../media/image410.png"/><Relationship Id="rId91" Type="http://schemas.openxmlformats.org/officeDocument/2006/relationships/image" Target="../media/image418.png"/><Relationship Id="rId96" Type="http://schemas.openxmlformats.org/officeDocument/2006/relationships/customXml" Target="../ink/ink417.xml"/><Relationship Id="rId140" Type="http://schemas.openxmlformats.org/officeDocument/2006/relationships/customXml" Target="../ink/ink439.xml"/><Relationship Id="rId145" Type="http://schemas.openxmlformats.org/officeDocument/2006/relationships/image" Target="../media/image446.png"/><Relationship Id="rId161" Type="http://schemas.openxmlformats.org/officeDocument/2006/relationships/image" Target="../media/image454.png"/><Relationship Id="rId166" Type="http://schemas.openxmlformats.org/officeDocument/2006/relationships/customXml" Target="../ink/ink451.xml"/><Relationship Id="rId1" Type="http://schemas.openxmlformats.org/officeDocument/2006/relationships/tags" Target="../tags/tag10.xml"/><Relationship Id="rId6" Type="http://schemas.openxmlformats.org/officeDocument/2006/relationships/customXml" Target="../ink/ink372.xml"/><Relationship Id="rId15" Type="http://schemas.openxmlformats.org/officeDocument/2006/relationships/image" Target="../media/image380.png"/><Relationship Id="rId23" Type="http://schemas.openxmlformats.org/officeDocument/2006/relationships/image" Target="../media/image384.png"/><Relationship Id="rId28" Type="http://schemas.openxmlformats.org/officeDocument/2006/relationships/customXml" Target="../ink/ink383.xml"/><Relationship Id="rId36" Type="http://schemas.openxmlformats.org/officeDocument/2006/relationships/customXml" Target="../ink/ink387.xml"/><Relationship Id="rId49" Type="http://schemas.openxmlformats.org/officeDocument/2006/relationships/image" Target="../media/image397.png"/><Relationship Id="rId57" Type="http://schemas.openxmlformats.org/officeDocument/2006/relationships/image" Target="../media/image401.png"/><Relationship Id="rId106" Type="http://schemas.openxmlformats.org/officeDocument/2006/relationships/customXml" Target="../ink/ink422.xml"/><Relationship Id="rId114" Type="http://schemas.openxmlformats.org/officeDocument/2006/relationships/customXml" Target="../ink/ink426.xml"/><Relationship Id="rId119" Type="http://schemas.openxmlformats.org/officeDocument/2006/relationships/image" Target="../media/image432.png"/><Relationship Id="rId127" Type="http://schemas.openxmlformats.org/officeDocument/2006/relationships/image" Target="../media/image436.png"/><Relationship Id="rId10" Type="http://schemas.openxmlformats.org/officeDocument/2006/relationships/customXml" Target="../ink/ink374.xml"/><Relationship Id="rId31" Type="http://schemas.openxmlformats.org/officeDocument/2006/relationships/image" Target="../media/image388.png"/><Relationship Id="rId44" Type="http://schemas.openxmlformats.org/officeDocument/2006/relationships/customXml" Target="../ink/ink391.xml"/><Relationship Id="rId52" Type="http://schemas.openxmlformats.org/officeDocument/2006/relationships/customXml" Target="../ink/ink395.xml"/><Relationship Id="rId60" Type="http://schemas.openxmlformats.org/officeDocument/2006/relationships/customXml" Target="../ink/ink399.xml"/><Relationship Id="rId65" Type="http://schemas.openxmlformats.org/officeDocument/2006/relationships/image" Target="../media/image405.png"/><Relationship Id="rId73" Type="http://schemas.openxmlformats.org/officeDocument/2006/relationships/image" Target="../media/image409.png"/><Relationship Id="rId78" Type="http://schemas.openxmlformats.org/officeDocument/2006/relationships/customXml" Target="../ink/ink408.xml"/><Relationship Id="rId81" Type="http://schemas.openxmlformats.org/officeDocument/2006/relationships/image" Target="../media/image413.png"/><Relationship Id="rId86" Type="http://schemas.openxmlformats.org/officeDocument/2006/relationships/customXml" Target="../ink/ink412.xml"/><Relationship Id="rId94" Type="http://schemas.openxmlformats.org/officeDocument/2006/relationships/customXml" Target="../ink/ink416.xml"/><Relationship Id="rId99" Type="http://schemas.openxmlformats.org/officeDocument/2006/relationships/image" Target="../media/image422.png"/><Relationship Id="rId101" Type="http://schemas.openxmlformats.org/officeDocument/2006/relationships/image" Target="../media/image423.png"/><Relationship Id="rId122" Type="http://schemas.openxmlformats.org/officeDocument/2006/relationships/customXml" Target="../ink/ink430.xml"/><Relationship Id="rId130" Type="http://schemas.openxmlformats.org/officeDocument/2006/relationships/customXml" Target="../ink/ink434.xml"/><Relationship Id="rId135" Type="http://schemas.openxmlformats.org/officeDocument/2006/relationships/image" Target="../media/image440.png"/><Relationship Id="rId143" Type="http://schemas.openxmlformats.org/officeDocument/2006/relationships/image" Target="../media/image444.png"/><Relationship Id="rId148" Type="http://schemas.openxmlformats.org/officeDocument/2006/relationships/customXml" Target="../ink/ink442.xml"/><Relationship Id="rId151" Type="http://schemas.openxmlformats.org/officeDocument/2006/relationships/image" Target="../media/image449.png"/><Relationship Id="rId156" Type="http://schemas.openxmlformats.org/officeDocument/2006/relationships/customXml" Target="../ink/ink446.xml"/><Relationship Id="rId164" Type="http://schemas.openxmlformats.org/officeDocument/2006/relationships/customXml" Target="../ink/ink450.xml"/><Relationship Id="rId169" Type="http://schemas.openxmlformats.org/officeDocument/2006/relationships/image" Target="../media/image458.png"/><Relationship Id="rId4" Type="http://schemas.openxmlformats.org/officeDocument/2006/relationships/image" Target="../media/image1.emf"/><Relationship Id="rId9" Type="http://schemas.openxmlformats.org/officeDocument/2006/relationships/image" Target="../media/image377.png"/><Relationship Id="rId13" Type="http://schemas.openxmlformats.org/officeDocument/2006/relationships/image" Target="../media/image379.png"/><Relationship Id="rId18" Type="http://schemas.openxmlformats.org/officeDocument/2006/relationships/customXml" Target="../ink/ink378.xml"/><Relationship Id="rId39" Type="http://schemas.openxmlformats.org/officeDocument/2006/relationships/image" Target="../media/image392.png"/><Relationship Id="rId109" Type="http://schemas.openxmlformats.org/officeDocument/2006/relationships/image" Target="../media/image427.png"/><Relationship Id="rId34" Type="http://schemas.openxmlformats.org/officeDocument/2006/relationships/customXml" Target="../ink/ink386.xml"/><Relationship Id="rId50" Type="http://schemas.openxmlformats.org/officeDocument/2006/relationships/customXml" Target="../ink/ink394.xml"/><Relationship Id="rId55" Type="http://schemas.openxmlformats.org/officeDocument/2006/relationships/image" Target="../media/image400.png"/><Relationship Id="rId76" Type="http://schemas.openxmlformats.org/officeDocument/2006/relationships/customXml" Target="../ink/ink407.xml"/><Relationship Id="rId97" Type="http://schemas.openxmlformats.org/officeDocument/2006/relationships/image" Target="../media/image421.png"/><Relationship Id="rId104" Type="http://schemas.openxmlformats.org/officeDocument/2006/relationships/customXml" Target="../ink/ink421.xml"/><Relationship Id="rId120" Type="http://schemas.openxmlformats.org/officeDocument/2006/relationships/customXml" Target="../ink/ink429.xml"/><Relationship Id="rId125" Type="http://schemas.openxmlformats.org/officeDocument/2006/relationships/image" Target="../media/image435.png"/><Relationship Id="rId141" Type="http://schemas.openxmlformats.org/officeDocument/2006/relationships/image" Target="../media/image443.png"/><Relationship Id="rId146" Type="http://schemas.openxmlformats.org/officeDocument/2006/relationships/customXml" Target="../ink/ink441.xml"/><Relationship Id="rId167" Type="http://schemas.openxmlformats.org/officeDocument/2006/relationships/image" Target="../media/image457.png"/><Relationship Id="rId7" Type="http://schemas.openxmlformats.org/officeDocument/2006/relationships/image" Target="../media/image3760.png"/><Relationship Id="rId71" Type="http://schemas.openxmlformats.org/officeDocument/2006/relationships/image" Target="../media/image408.png"/><Relationship Id="rId92" Type="http://schemas.openxmlformats.org/officeDocument/2006/relationships/customXml" Target="../ink/ink415.xml"/><Relationship Id="rId162" Type="http://schemas.openxmlformats.org/officeDocument/2006/relationships/customXml" Target="../ink/ink449.xml"/><Relationship Id="rId2" Type="http://schemas.openxmlformats.org/officeDocument/2006/relationships/slideLayout" Target="../slideLayouts/slideLayout2.xml"/><Relationship Id="rId29" Type="http://schemas.openxmlformats.org/officeDocument/2006/relationships/image" Target="../media/image387.png"/><Relationship Id="rId24" Type="http://schemas.openxmlformats.org/officeDocument/2006/relationships/customXml" Target="../ink/ink381.xml"/><Relationship Id="rId40" Type="http://schemas.openxmlformats.org/officeDocument/2006/relationships/customXml" Target="../ink/ink389.xml"/><Relationship Id="rId45" Type="http://schemas.openxmlformats.org/officeDocument/2006/relationships/image" Target="../media/image395.png"/><Relationship Id="rId66" Type="http://schemas.openxmlformats.org/officeDocument/2006/relationships/customXml" Target="../ink/ink402.xml"/><Relationship Id="rId87" Type="http://schemas.openxmlformats.org/officeDocument/2006/relationships/image" Target="../media/image416.png"/><Relationship Id="rId110" Type="http://schemas.openxmlformats.org/officeDocument/2006/relationships/customXml" Target="../ink/ink424.xml"/><Relationship Id="rId115" Type="http://schemas.openxmlformats.org/officeDocument/2006/relationships/image" Target="../media/image430.png"/><Relationship Id="rId131" Type="http://schemas.openxmlformats.org/officeDocument/2006/relationships/image" Target="../media/image438.png"/><Relationship Id="rId136" Type="http://schemas.openxmlformats.org/officeDocument/2006/relationships/customXml" Target="../ink/ink437.xml"/><Relationship Id="rId157" Type="http://schemas.openxmlformats.org/officeDocument/2006/relationships/image" Target="../media/image452.png"/><Relationship Id="rId61" Type="http://schemas.openxmlformats.org/officeDocument/2006/relationships/image" Target="../media/image403.png"/><Relationship Id="rId82" Type="http://schemas.openxmlformats.org/officeDocument/2006/relationships/customXml" Target="../ink/ink410.xml"/><Relationship Id="rId152" Type="http://schemas.openxmlformats.org/officeDocument/2006/relationships/customXml" Target="../ink/ink444.xml"/><Relationship Id="rId19" Type="http://schemas.openxmlformats.org/officeDocument/2006/relationships/image" Target="../media/image382.png"/><Relationship Id="rId14" Type="http://schemas.openxmlformats.org/officeDocument/2006/relationships/customXml" Target="../ink/ink376.xml"/><Relationship Id="rId30" Type="http://schemas.openxmlformats.org/officeDocument/2006/relationships/customXml" Target="../ink/ink384.xml"/><Relationship Id="rId35" Type="http://schemas.openxmlformats.org/officeDocument/2006/relationships/image" Target="../media/image390.png"/><Relationship Id="rId56" Type="http://schemas.openxmlformats.org/officeDocument/2006/relationships/customXml" Target="../ink/ink397.xml"/><Relationship Id="rId77" Type="http://schemas.openxmlformats.org/officeDocument/2006/relationships/image" Target="../media/image411.png"/><Relationship Id="rId100" Type="http://schemas.openxmlformats.org/officeDocument/2006/relationships/customXml" Target="../ink/ink419.xml"/><Relationship Id="rId105" Type="http://schemas.openxmlformats.org/officeDocument/2006/relationships/image" Target="../media/image425.png"/><Relationship Id="rId126" Type="http://schemas.openxmlformats.org/officeDocument/2006/relationships/customXml" Target="../ink/ink432.xml"/><Relationship Id="rId147" Type="http://schemas.openxmlformats.org/officeDocument/2006/relationships/image" Target="../media/image447.png"/><Relationship Id="rId168" Type="http://schemas.openxmlformats.org/officeDocument/2006/relationships/customXml" Target="../ink/ink452.xml"/><Relationship Id="rId8" Type="http://schemas.openxmlformats.org/officeDocument/2006/relationships/customXml" Target="../ink/ink373.xml"/><Relationship Id="rId51" Type="http://schemas.openxmlformats.org/officeDocument/2006/relationships/image" Target="../media/image398.png"/><Relationship Id="rId72" Type="http://schemas.openxmlformats.org/officeDocument/2006/relationships/customXml" Target="../ink/ink405.xml"/><Relationship Id="rId93" Type="http://schemas.openxmlformats.org/officeDocument/2006/relationships/image" Target="../media/image419.png"/><Relationship Id="rId98" Type="http://schemas.openxmlformats.org/officeDocument/2006/relationships/customXml" Target="../ink/ink418.xml"/><Relationship Id="rId121" Type="http://schemas.openxmlformats.org/officeDocument/2006/relationships/image" Target="../media/image433.png"/><Relationship Id="rId142" Type="http://schemas.openxmlformats.org/officeDocument/2006/relationships/customXml" Target="../ink/ink440.xml"/><Relationship Id="rId163" Type="http://schemas.openxmlformats.org/officeDocument/2006/relationships/image" Target="../media/image455.png"/><Relationship Id="rId3" Type="http://schemas.openxmlformats.org/officeDocument/2006/relationships/oleObject" Target="../embeddings/oleObject9.bin"/><Relationship Id="rId25" Type="http://schemas.openxmlformats.org/officeDocument/2006/relationships/image" Target="../media/image385.png"/><Relationship Id="rId46" Type="http://schemas.openxmlformats.org/officeDocument/2006/relationships/customXml" Target="../ink/ink392.xml"/><Relationship Id="rId67" Type="http://schemas.openxmlformats.org/officeDocument/2006/relationships/image" Target="../media/image406.png"/><Relationship Id="rId116" Type="http://schemas.openxmlformats.org/officeDocument/2006/relationships/customXml" Target="../ink/ink427.xml"/><Relationship Id="rId137" Type="http://schemas.openxmlformats.org/officeDocument/2006/relationships/image" Target="../media/image441.png"/><Relationship Id="rId158" Type="http://schemas.openxmlformats.org/officeDocument/2006/relationships/customXml" Target="../ink/ink447.xml"/><Relationship Id="rId20" Type="http://schemas.openxmlformats.org/officeDocument/2006/relationships/customXml" Target="../ink/ink379.xml"/><Relationship Id="rId41" Type="http://schemas.openxmlformats.org/officeDocument/2006/relationships/image" Target="../media/image393.png"/><Relationship Id="rId62" Type="http://schemas.openxmlformats.org/officeDocument/2006/relationships/customXml" Target="../ink/ink400.xml"/><Relationship Id="rId83" Type="http://schemas.openxmlformats.org/officeDocument/2006/relationships/image" Target="../media/image414.png"/><Relationship Id="rId88" Type="http://schemas.openxmlformats.org/officeDocument/2006/relationships/customXml" Target="../ink/ink413.xml"/><Relationship Id="rId111" Type="http://schemas.openxmlformats.org/officeDocument/2006/relationships/image" Target="../media/image428.png"/><Relationship Id="rId132" Type="http://schemas.openxmlformats.org/officeDocument/2006/relationships/customXml" Target="../ink/ink435.xml"/><Relationship Id="rId153" Type="http://schemas.openxmlformats.org/officeDocument/2006/relationships/image" Target="../media/image45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ustomXml" Target="../ink/ink453.xml"/><Relationship Id="rId3" Type="http://schemas.openxmlformats.org/officeDocument/2006/relationships/oleObject" Target="../embeddings/oleObject10.bin"/><Relationship Id="rId7" Type="http://schemas.openxmlformats.org/officeDocument/2006/relationships/image" Target="../media/image46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460.png"/><Relationship Id="rId5" Type="http://schemas.openxmlformats.org/officeDocument/2006/relationships/image" Target="../media/image459.png"/><Relationship Id="rId4" Type="http://schemas.openxmlformats.org/officeDocument/2006/relationships/image" Target="../media/image1.emf"/><Relationship Id="rId9" Type="http://schemas.openxmlformats.org/officeDocument/2006/relationships/image" Target="../media/image46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B850215-396C-4538-AC48-77598C1E98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2084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B850215-396C-4538-AC48-77598C1E98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C1132A8-4429-429E-ADDF-C03047D7459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Collaborative Filter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DDE3E0B-6220-42FC-842F-35307DF9DB4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493712"/>
          </a:xfrm>
        </p:spPr>
        <p:txBody>
          <a:bodyPr/>
          <a:lstStyle/>
          <a:p>
            <a:r>
              <a:rPr lang="en-US" dirty="0"/>
              <a:t>Aniket Chhabra</a:t>
            </a:r>
          </a:p>
        </p:txBody>
      </p:sp>
    </p:spTree>
    <p:extLst>
      <p:ext uri="{BB962C8B-B14F-4D97-AF65-F5344CB8AC3E}">
        <p14:creationId xmlns:p14="http://schemas.microsoft.com/office/powerpoint/2010/main" val="15418959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9C046B6-2439-4160-8554-41E06BFB05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7266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9C046B6-2439-4160-8554-41E06BFB05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F8F841-2F76-46C6-B1C7-FC23A45155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517775"/>
            <a:ext cx="10515600" cy="1325563"/>
          </a:xfrm>
        </p:spPr>
        <p:txBody>
          <a:bodyPr vert="horz"/>
          <a:lstStyle/>
          <a:p>
            <a:pPr algn="ctr"/>
            <a:r>
              <a:rPr lang="en-US" b="1" dirty="0"/>
              <a:t>SVD</a:t>
            </a:r>
          </a:p>
        </p:txBody>
      </p:sp>
    </p:spTree>
    <p:extLst>
      <p:ext uri="{BB962C8B-B14F-4D97-AF65-F5344CB8AC3E}">
        <p14:creationId xmlns:p14="http://schemas.microsoft.com/office/powerpoint/2010/main" val="8787011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90FB48A-DA98-4950-A2C8-ACECFD903A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90FB48A-DA98-4950-A2C8-ACECFD903A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6C7479C1-B5A9-4130-A8F1-6B0356716A2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6699" y="0"/>
            <a:ext cx="8391525" cy="6622100"/>
          </a:xfrm>
          <a:prstGeom prst="rect">
            <a:avLst/>
          </a:prstGeom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8AEB1390-A293-4EE3-8163-20870F4EFC08}"/>
              </a:ext>
            </a:extLst>
          </p:cNvPr>
          <p:cNvGrpSpPr/>
          <p:nvPr/>
        </p:nvGrpSpPr>
        <p:grpSpPr>
          <a:xfrm>
            <a:off x="8753835" y="4673505"/>
            <a:ext cx="3177000" cy="551160"/>
            <a:chOff x="8753835" y="4673505"/>
            <a:chExt cx="3177000" cy="5511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">
              <p14:nvContentPartPr>
                <p14:cNvPr id="10" name="Ink 9">
                  <a:extLst>
                    <a:ext uri="{FF2B5EF4-FFF2-40B4-BE49-F238E27FC236}">
                      <a16:creationId xmlns:a16="http://schemas.microsoft.com/office/drawing/2014/main" id="{14C244FD-27E3-4AD0-BE60-20C30CCADC59}"/>
                    </a:ext>
                  </a:extLst>
                </p14:cNvPr>
                <p14:cNvContentPartPr/>
                <p14:nvPr/>
              </p14:nvContentPartPr>
              <p14:xfrm>
                <a:off x="8753835" y="5058705"/>
                <a:ext cx="180720" cy="18000"/>
              </p14:xfrm>
            </p:contentPart>
          </mc:Choice>
          <mc:Fallback xmlns="">
            <p:pic>
              <p:nvPicPr>
                <p:cNvPr id="10" name="Ink 9">
                  <a:extLst>
                    <a:ext uri="{FF2B5EF4-FFF2-40B4-BE49-F238E27FC236}">
                      <a16:creationId xmlns:a16="http://schemas.microsoft.com/office/drawing/2014/main" id="{14C244FD-27E3-4AD0-BE60-20C30CCADC59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8735835" y="5040705"/>
                  <a:ext cx="216360" cy="53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">
              <p14:nvContentPartPr>
                <p14:cNvPr id="11" name="Ink 10">
                  <a:extLst>
                    <a:ext uri="{FF2B5EF4-FFF2-40B4-BE49-F238E27FC236}">
                      <a16:creationId xmlns:a16="http://schemas.microsoft.com/office/drawing/2014/main" id="{C7F8D26B-E885-4CA1-B18C-0378A2230B91}"/>
                    </a:ext>
                  </a:extLst>
                </p14:cNvPr>
                <p14:cNvContentPartPr/>
                <p14:nvPr/>
              </p14:nvContentPartPr>
              <p14:xfrm>
                <a:off x="9118875" y="4942785"/>
                <a:ext cx="54000" cy="156240"/>
              </p14:xfrm>
            </p:contentPart>
          </mc:Choice>
          <mc:Fallback xmlns="">
            <p:pic>
              <p:nvPicPr>
                <p:cNvPr id="11" name="Ink 10">
                  <a:extLst>
                    <a:ext uri="{FF2B5EF4-FFF2-40B4-BE49-F238E27FC236}">
                      <a16:creationId xmlns:a16="http://schemas.microsoft.com/office/drawing/2014/main" id="{C7F8D26B-E885-4CA1-B18C-0378A2230B91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9100875" y="4924785"/>
                  <a:ext cx="89640" cy="191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99CB0751-4593-43DF-A387-C8D84B875606}"/>
                    </a:ext>
                  </a:extLst>
                </p14:cNvPr>
                <p14:cNvContentPartPr/>
                <p14:nvPr/>
              </p14:nvContentPartPr>
              <p14:xfrm>
                <a:off x="9126075" y="4946385"/>
                <a:ext cx="174600" cy="158040"/>
              </p14:xfrm>
            </p:contentPart>
          </mc:Choice>
          <mc:Fallback xmlns=""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99CB0751-4593-43DF-A387-C8D84B875606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9108075" y="4928745"/>
                  <a:ext cx="210240" cy="193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">
              <p14:nvContentPartPr>
                <p14:cNvPr id="13" name="Ink 12">
                  <a:extLst>
                    <a:ext uri="{FF2B5EF4-FFF2-40B4-BE49-F238E27FC236}">
                      <a16:creationId xmlns:a16="http://schemas.microsoft.com/office/drawing/2014/main" id="{4EDAED2A-EC16-4BAA-935F-2FE4B2E0D7A7}"/>
                    </a:ext>
                  </a:extLst>
                </p14:cNvPr>
                <p14:cNvContentPartPr/>
                <p14:nvPr/>
              </p14:nvContentPartPr>
              <p14:xfrm>
                <a:off x="9343515" y="4940625"/>
                <a:ext cx="82440" cy="99360"/>
              </p14:xfrm>
            </p:contentPart>
          </mc:Choice>
          <mc:Fallback xmlns="">
            <p:pic>
              <p:nvPicPr>
                <p:cNvPr id="13" name="Ink 12">
                  <a:extLst>
                    <a:ext uri="{FF2B5EF4-FFF2-40B4-BE49-F238E27FC236}">
                      <a16:creationId xmlns:a16="http://schemas.microsoft.com/office/drawing/2014/main" id="{4EDAED2A-EC16-4BAA-935F-2FE4B2E0D7A7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9325515" y="4922985"/>
                  <a:ext cx="118080" cy="135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">
              <p14:nvContentPartPr>
                <p14:cNvPr id="14" name="Ink 13">
                  <a:extLst>
                    <a:ext uri="{FF2B5EF4-FFF2-40B4-BE49-F238E27FC236}">
                      <a16:creationId xmlns:a16="http://schemas.microsoft.com/office/drawing/2014/main" id="{1E071AD3-5D1A-493A-9794-4AAAC21C57CC}"/>
                    </a:ext>
                  </a:extLst>
                </p14:cNvPr>
                <p14:cNvContentPartPr/>
                <p14:nvPr/>
              </p14:nvContentPartPr>
              <p14:xfrm>
                <a:off x="9458715" y="4947105"/>
                <a:ext cx="155160" cy="130680"/>
              </p14:xfrm>
            </p:contentPart>
          </mc:Choice>
          <mc:Fallback xmlns="">
            <p:pic>
              <p:nvPicPr>
                <p:cNvPr id="14" name="Ink 13">
                  <a:extLst>
                    <a:ext uri="{FF2B5EF4-FFF2-40B4-BE49-F238E27FC236}">
                      <a16:creationId xmlns:a16="http://schemas.microsoft.com/office/drawing/2014/main" id="{1E071AD3-5D1A-493A-9794-4AAAC21C57CC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9440715" y="4929465"/>
                  <a:ext cx="190800" cy="166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">
              <p14:nvContentPartPr>
                <p14:cNvPr id="17" name="Ink 16">
                  <a:extLst>
                    <a:ext uri="{FF2B5EF4-FFF2-40B4-BE49-F238E27FC236}">
                      <a16:creationId xmlns:a16="http://schemas.microsoft.com/office/drawing/2014/main" id="{75A26A4F-B98B-49A3-810F-B14266388BC7}"/>
                    </a:ext>
                  </a:extLst>
                </p14:cNvPr>
                <p14:cNvContentPartPr/>
                <p14:nvPr/>
              </p14:nvContentPartPr>
              <p14:xfrm>
                <a:off x="9699915" y="4877985"/>
                <a:ext cx="567000" cy="213120"/>
              </p14:xfrm>
            </p:contentPart>
          </mc:Choice>
          <mc:Fallback xmlns="">
            <p:pic>
              <p:nvPicPr>
                <p:cNvPr id="17" name="Ink 16">
                  <a:extLst>
                    <a:ext uri="{FF2B5EF4-FFF2-40B4-BE49-F238E27FC236}">
                      <a16:creationId xmlns:a16="http://schemas.microsoft.com/office/drawing/2014/main" id="{75A26A4F-B98B-49A3-810F-B14266388BC7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9681915" y="4860345"/>
                  <a:ext cx="602640" cy="248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">
              <p14:nvContentPartPr>
                <p14:cNvPr id="18" name="Ink 17">
                  <a:extLst>
                    <a:ext uri="{FF2B5EF4-FFF2-40B4-BE49-F238E27FC236}">
                      <a16:creationId xmlns:a16="http://schemas.microsoft.com/office/drawing/2014/main" id="{A7F3BF65-58BC-4072-AABD-E7AA0C45F9CE}"/>
                    </a:ext>
                  </a:extLst>
                </p14:cNvPr>
                <p14:cNvContentPartPr/>
                <p14:nvPr/>
              </p14:nvContentPartPr>
              <p14:xfrm>
                <a:off x="10453755" y="4799505"/>
                <a:ext cx="164520" cy="190440"/>
              </p14:xfrm>
            </p:contentPart>
          </mc:Choice>
          <mc:Fallback xmlns="">
            <p:pic>
              <p:nvPicPr>
                <p:cNvPr id="18" name="Ink 17">
                  <a:extLst>
                    <a:ext uri="{FF2B5EF4-FFF2-40B4-BE49-F238E27FC236}">
                      <a16:creationId xmlns:a16="http://schemas.microsoft.com/office/drawing/2014/main" id="{A7F3BF65-58BC-4072-AABD-E7AA0C45F9CE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10435755" y="4781505"/>
                  <a:ext cx="200160" cy="226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">
              <p14:nvContentPartPr>
                <p14:cNvPr id="20" name="Ink 19">
                  <a:extLst>
                    <a:ext uri="{FF2B5EF4-FFF2-40B4-BE49-F238E27FC236}">
                      <a16:creationId xmlns:a16="http://schemas.microsoft.com/office/drawing/2014/main" id="{00D8E05C-FECD-4983-B721-E14A0F2EE280}"/>
                    </a:ext>
                  </a:extLst>
                </p14:cNvPr>
                <p14:cNvContentPartPr/>
                <p14:nvPr/>
              </p14:nvContentPartPr>
              <p14:xfrm>
                <a:off x="10915995" y="4803825"/>
                <a:ext cx="14760" cy="56160"/>
              </p14:xfrm>
            </p:contentPart>
          </mc:Choice>
          <mc:Fallback xmlns="">
            <p:pic>
              <p:nvPicPr>
                <p:cNvPr id="20" name="Ink 19">
                  <a:extLst>
                    <a:ext uri="{FF2B5EF4-FFF2-40B4-BE49-F238E27FC236}">
                      <a16:creationId xmlns:a16="http://schemas.microsoft.com/office/drawing/2014/main" id="{00D8E05C-FECD-4983-B721-E14A0F2EE280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10897995" y="4786185"/>
                  <a:ext cx="50400" cy="91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">
              <p14:nvContentPartPr>
                <p14:cNvPr id="22" name="Ink 21">
                  <a:extLst>
                    <a:ext uri="{FF2B5EF4-FFF2-40B4-BE49-F238E27FC236}">
                      <a16:creationId xmlns:a16="http://schemas.microsoft.com/office/drawing/2014/main" id="{16BBE9E3-772A-4A10-AF97-79C70885EE4B}"/>
                    </a:ext>
                  </a:extLst>
                </p14:cNvPr>
                <p14:cNvContentPartPr/>
                <p14:nvPr/>
              </p14:nvContentPartPr>
              <p14:xfrm>
                <a:off x="11326035" y="4805985"/>
                <a:ext cx="265680" cy="138960"/>
              </p14:xfrm>
            </p:contentPart>
          </mc:Choice>
          <mc:Fallback xmlns="">
            <p:pic>
              <p:nvPicPr>
                <p:cNvPr id="22" name="Ink 21">
                  <a:extLst>
                    <a:ext uri="{FF2B5EF4-FFF2-40B4-BE49-F238E27FC236}">
                      <a16:creationId xmlns:a16="http://schemas.microsoft.com/office/drawing/2014/main" id="{16BBE9E3-772A-4A10-AF97-79C70885EE4B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11308395" y="4788345"/>
                  <a:ext cx="301320" cy="174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4">
              <p14:nvContentPartPr>
                <p14:cNvPr id="23" name="Ink 22">
                  <a:extLst>
                    <a:ext uri="{FF2B5EF4-FFF2-40B4-BE49-F238E27FC236}">
                      <a16:creationId xmlns:a16="http://schemas.microsoft.com/office/drawing/2014/main" id="{3DBCECB0-4BA4-40B4-8179-9CB8AD9ED105}"/>
                    </a:ext>
                  </a:extLst>
                </p14:cNvPr>
                <p14:cNvContentPartPr/>
                <p14:nvPr/>
              </p14:nvContentPartPr>
              <p14:xfrm>
                <a:off x="11635995" y="4724985"/>
                <a:ext cx="203040" cy="148320"/>
              </p14:xfrm>
            </p:contentPart>
          </mc:Choice>
          <mc:Fallback xmlns="">
            <p:pic>
              <p:nvPicPr>
                <p:cNvPr id="23" name="Ink 22">
                  <a:extLst>
                    <a:ext uri="{FF2B5EF4-FFF2-40B4-BE49-F238E27FC236}">
                      <a16:creationId xmlns:a16="http://schemas.microsoft.com/office/drawing/2014/main" id="{3DBCECB0-4BA4-40B4-8179-9CB8AD9ED105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11617995" y="4706985"/>
                  <a:ext cx="238680" cy="183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6">
              <p14:nvContentPartPr>
                <p14:cNvPr id="26" name="Ink 25">
                  <a:extLst>
                    <a:ext uri="{FF2B5EF4-FFF2-40B4-BE49-F238E27FC236}">
                      <a16:creationId xmlns:a16="http://schemas.microsoft.com/office/drawing/2014/main" id="{576A655A-C5AB-409E-9972-04C817EA14B3}"/>
                    </a:ext>
                  </a:extLst>
                </p14:cNvPr>
                <p14:cNvContentPartPr/>
                <p14:nvPr/>
              </p14:nvContentPartPr>
              <p14:xfrm>
                <a:off x="10477515" y="4870065"/>
                <a:ext cx="228600" cy="12960"/>
              </p14:xfrm>
            </p:contentPart>
          </mc:Choice>
          <mc:Fallback xmlns="">
            <p:pic>
              <p:nvPicPr>
                <p:cNvPr id="26" name="Ink 25">
                  <a:extLst>
                    <a:ext uri="{FF2B5EF4-FFF2-40B4-BE49-F238E27FC236}">
                      <a16:creationId xmlns:a16="http://schemas.microsoft.com/office/drawing/2014/main" id="{576A655A-C5AB-409E-9972-04C817EA14B3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10459515" y="4852425"/>
                  <a:ext cx="264240" cy="48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8">
              <p14:nvContentPartPr>
                <p14:cNvPr id="27" name="Ink 26">
                  <a:extLst>
                    <a:ext uri="{FF2B5EF4-FFF2-40B4-BE49-F238E27FC236}">
                      <a16:creationId xmlns:a16="http://schemas.microsoft.com/office/drawing/2014/main" id="{60F2E083-1CD0-4B1F-8B2A-03632A570FD5}"/>
                    </a:ext>
                  </a:extLst>
                </p14:cNvPr>
                <p14:cNvContentPartPr/>
                <p14:nvPr/>
              </p14:nvContentPartPr>
              <p14:xfrm>
                <a:off x="10840035" y="4771425"/>
                <a:ext cx="204120" cy="240480"/>
              </p14:xfrm>
            </p:contentPart>
          </mc:Choice>
          <mc:Fallback xmlns="">
            <p:pic>
              <p:nvPicPr>
                <p:cNvPr id="27" name="Ink 26">
                  <a:extLst>
                    <a:ext uri="{FF2B5EF4-FFF2-40B4-BE49-F238E27FC236}">
                      <a16:creationId xmlns:a16="http://schemas.microsoft.com/office/drawing/2014/main" id="{60F2E083-1CD0-4B1F-8B2A-03632A570FD5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10822035" y="4753785"/>
                  <a:ext cx="239760" cy="276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0">
              <p14:nvContentPartPr>
                <p14:cNvPr id="28" name="Ink 27">
                  <a:extLst>
                    <a:ext uri="{FF2B5EF4-FFF2-40B4-BE49-F238E27FC236}">
                      <a16:creationId xmlns:a16="http://schemas.microsoft.com/office/drawing/2014/main" id="{427D9394-332D-4324-AA23-19237A664BE1}"/>
                    </a:ext>
                  </a:extLst>
                </p14:cNvPr>
                <p14:cNvContentPartPr/>
                <p14:nvPr/>
              </p14:nvContentPartPr>
              <p14:xfrm>
                <a:off x="11038395" y="4822185"/>
                <a:ext cx="14760" cy="50400"/>
              </p14:xfrm>
            </p:contentPart>
          </mc:Choice>
          <mc:Fallback xmlns="">
            <p:pic>
              <p:nvPicPr>
                <p:cNvPr id="28" name="Ink 27">
                  <a:extLst>
                    <a:ext uri="{FF2B5EF4-FFF2-40B4-BE49-F238E27FC236}">
                      <a16:creationId xmlns:a16="http://schemas.microsoft.com/office/drawing/2014/main" id="{427D9394-332D-4324-AA23-19237A664BE1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11020395" y="4804185"/>
                  <a:ext cx="50400" cy="86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2">
              <p14:nvContentPartPr>
                <p14:cNvPr id="29" name="Ink 28">
                  <a:extLst>
                    <a:ext uri="{FF2B5EF4-FFF2-40B4-BE49-F238E27FC236}">
                      <a16:creationId xmlns:a16="http://schemas.microsoft.com/office/drawing/2014/main" id="{A73B8830-3551-460C-944B-72525A9DDF08}"/>
                    </a:ext>
                  </a:extLst>
                </p14:cNvPr>
                <p14:cNvContentPartPr/>
                <p14:nvPr/>
              </p14:nvContentPartPr>
              <p14:xfrm>
                <a:off x="11095635" y="4798425"/>
                <a:ext cx="243360" cy="295920"/>
              </p14:xfrm>
            </p:contentPart>
          </mc:Choice>
          <mc:Fallback xmlns="">
            <p:pic>
              <p:nvPicPr>
                <p:cNvPr id="29" name="Ink 28">
                  <a:extLst>
                    <a:ext uri="{FF2B5EF4-FFF2-40B4-BE49-F238E27FC236}">
                      <a16:creationId xmlns:a16="http://schemas.microsoft.com/office/drawing/2014/main" id="{A73B8830-3551-460C-944B-72525A9DDF08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11077635" y="4780785"/>
                  <a:ext cx="279000" cy="331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4">
              <p14:nvContentPartPr>
                <p14:cNvPr id="30" name="Ink 29">
                  <a:extLst>
                    <a:ext uri="{FF2B5EF4-FFF2-40B4-BE49-F238E27FC236}">
                      <a16:creationId xmlns:a16="http://schemas.microsoft.com/office/drawing/2014/main" id="{BF3F1D61-4057-44F1-8058-EC9DDF563644}"/>
                    </a:ext>
                  </a:extLst>
                </p14:cNvPr>
                <p14:cNvContentPartPr/>
                <p14:nvPr/>
              </p14:nvContentPartPr>
              <p14:xfrm>
                <a:off x="11425395" y="4847025"/>
                <a:ext cx="96840" cy="104400"/>
              </p14:xfrm>
            </p:contentPart>
          </mc:Choice>
          <mc:Fallback xmlns="">
            <p:pic>
              <p:nvPicPr>
                <p:cNvPr id="30" name="Ink 29">
                  <a:extLst>
                    <a:ext uri="{FF2B5EF4-FFF2-40B4-BE49-F238E27FC236}">
                      <a16:creationId xmlns:a16="http://schemas.microsoft.com/office/drawing/2014/main" id="{BF3F1D61-4057-44F1-8058-EC9DDF563644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11407395" y="4829025"/>
                  <a:ext cx="132480" cy="140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6">
              <p14:nvContentPartPr>
                <p14:cNvPr id="32" name="Ink 31">
                  <a:extLst>
                    <a:ext uri="{FF2B5EF4-FFF2-40B4-BE49-F238E27FC236}">
                      <a16:creationId xmlns:a16="http://schemas.microsoft.com/office/drawing/2014/main" id="{B6290B4B-F297-49F0-B77C-05EF06298231}"/>
                    </a:ext>
                  </a:extLst>
                </p14:cNvPr>
                <p14:cNvContentPartPr/>
                <p14:nvPr/>
              </p14:nvContentPartPr>
              <p14:xfrm>
                <a:off x="11604675" y="4673505"/>
                <a:ext cx="326160" cy="277200"/>
              </p14:xfrm>
            </p:contentPart>
          </mc:Choice>
          <mc:Fallback xmlns="">
            <p:pic>
              <p:nvPicPr>
                <p:cNvPr id="32" name="Ink 31">
                  <a:extLst>
                    <a:ext uri="{FF2B5EF4-FFF2-40B4-BE49-F238E27FC236}">
                      <a16:creationId xmlns:a16="http://schemas.microsoft.com/office/drawing/2014/main" id="{B6290B4B-F297-49F0-B77C-05EF06298231}"/>
                    </a:ext>
                  </a:extLst>
                </p:cNvPr>
                <p:cNvPicPr/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11586675" y="4655865"/>
                  <a:ext cx="361800" cy="312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8">
              <p14:nvContentPartPr>
                <p14:cNvPr id="33" name="Ink 32">
                  <a:extLst>
                    <a:ext uri="{FF2B5EF4-FFF2-40B4-BE49-F238E27FC236}">
                      <a16:creationId xmlns:a16="http://schemas.microsoft.com/office/drawing/2014/main" id="{8C540B13-130B-4C8C-94D5-7EE4DB9071C4}"/>
                    </a:ext>
                  </a:extLst>
                </p14:cNvPr>
                <p14:cNvContentPartPr/>
                <p14:nvPr/>
              </p14:nvContentPartPr>
              <p14:xfrm>
                <a:off x="11400195" y="5140425"/>
                <a:ext cx="254520" cy="10440"/>
              </p14:xfrm>
            </p:contentPart>
          </mc:Choice>
          <mc:Fallback xmlns="">
            <p:pic>
              <p:nvPicPr>
                <p:cNvPr id="33" name="Ink 32">
                  <a:extLst>
                    <a:ext uri="{FF2B5EF4-FFF2-40B4-BE49-F238E27FC236}">
                      <a16:creationId xmlns:a16="http://schemas.microsoft.com/office/drawing/2014/main" id="{8C540B13-130B-4C8C-94D5-7EE4DB9071C4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11382555" y="5122425"/>
                  <a:ext cx="290160" cy="46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0">
              <p14:nvContentPartPr>
                <p14:cNvPr id="35" name="Ink 34">
                  <a:extLst>
                    <a:ext uri="{FF2B5EF4-FFF2-40B4-BE49-F238E27FC236}">
                      <a16:creationId xmlns:a16="http://schemas.microsoft.com/office/drawing/2014/main" id="{30F7C4A3-0AE1-4A89-A601-D0FDF927517B}"/>
                    </a:ext>
                  </a:extLst>
                </p14:cNvPr>
                <p14:cNvContentPartPr/>
                <p14:nvPr/>
              </p14:nvContentPartPr>
              <p14:xfrm>
                <a:off x="11464995" y="5193345"/>
                <a:ext cx="229320" cy="31320"/>
              </p14:xfrm>
            </p:contentPart>
          </mc:Choice>
          <mc:Fallback xmlns="">
            <p:pic>
              <p:nvPicPr>
                <p:cNvPr id="35" name="Ink 34">
                  <a:extLst>
                    <a:ext uri="{FF2B5EF4-FFF2-40B4-BE49-F238E27FC236}">
                      <a16:creationId xmlns:a16="http://schemas.microsoft.com/office/drawing/2014/main" id="{30F7C4A3-0AE1-4A89-A601-D0FDF927517B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11447355" y="5175705"/>
                  <a:ext cx="264960" cy="6696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42">
            <p14:nvContentPartPr>
              <p14:cNvPr id="2" name="Ink 1">
                <a:extLst>
                  <a:ext uri="{FF2B5EF4-FFF2-40B4-BE49-F238E27FC236}">
                    <a16:creationId xmlns:a16="http://schemas.microsoft.com/office/drawing/2014/main" id="{A69688E5-F8B0-4AE7-97B4-55E2409C3416}"/>
                  </a:ext>
                </a:extLst>
              </p14:cNvPr>
              <p14:cNvContentPartPr/>
              <p14:nvPr/>
            </p14:nvContentPartPr>
            <p14:xfrm>
              <a:off x="889200" y="934560"/>
              <a:ext cx="7389720" cy="2417400"/>
            </p14:xfrm>
          </p:contentPart>
        </mc:Choice>
        <mc:Fallback>
          <p:pic>
            <p:nvPicPr>
              <p:cNvPr id="2" name="Ink 1">
                <a:extLst>
                  <a:ext uri="{FF2B5EF4-FFF2-40B4-BE49-F238E27FC236}">
                    <a16:creationId xmlns:a16="http://schemas.microsoft.com/office/drawing/2014/main" id="{A69688E5-F8B0-4AE7-97B4-55E2409C3416}"/>
                  </a:ext>
                </a:extLst>
              </p:cNvPr>
              <p:cNvPicPr/>
              <p:nvPr/>
            </p:nvPicPr>
            <p:blipFill>
              <a:blip r:embed="rId43"/>
              <a:stretch>
                <a:fillRect/>
              </a:stretch>
            </p:blipFill>
            <p:spPr>
              <a:xfrm>
                <a:off x="879840" y="925200"/>
                <a:ext cx="7408440" cy="24361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024476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90FB48A-DA98-4950-A2C8-ACECFD903A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90FB48A-DA98-4950-A2C8-ACECFD903A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6A101907-9D4B-4EA4-8AEC-C783F47CC7E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012" y="147637"/>
            <a:ext cx="5384535" cy="354806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AC77778-DE41-41D0-AB9C-A09A6AE4AF5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19899" y="147637"/>
            <a:ext cx="5152161" cy="3967164"/>
          </a:xfrm>
          <a:prstGeom prst="rect">
            <a:avLst/>
          </a:prstGeom>
        </p:spPr>
      </p:pic>
      <p:sp>
        <p:nvSpPr>
          <p:cNvPr id="14" name="Arrow: Right 13">
            <a:extLst>
              <a:ext uri="{FF2B5EF4-FFF2-40B4-BE49-F238E27FC236}">
                <a16:creationId xmlns:a16="http://schemas.microsoft.com/office/drawing/2014/main" id="{7E0797D5-AB1F-4707-A05D-2F3211655021}"/>
              </a:ext>
            </a:extLst>
          </p:cNvPr>
          <p:cNvSpPr/>
          <p:nvPr/>
        </p:nvSpPr>
        <p:spPr>
          <a:xfrm>
            <a:off x="5591177" y="2131219"/>
            <a:ext cx="1135328" cy="6000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FC58951-C8C7-4403-B9C2-982BA206BCF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12947" y="3317270"/>
            <a:ext cx="5152160" cy="3421668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8">
            <p14:nvContentPartPr>
              <p14:cNvPr id="2" name="Ink 1">
                <a:extLst>
                  <a:ext uri="{FF2B5EF4-FFF2-40B4-BE49-F238E27FC236}">
                    <a16:creationId xmlns:a16="http://schemas.microsoft.com/office/drawing/2014/main" id="{97A2BDF4-C048-46E2-9287-05FD6BC435D0}"/>
                  </a:ext>
                </a:extLst>
              </p14:cNvPr>
              <p14:cNvContentPartPr/>
              <p14:nvPr/>
            </p14:nvContentPartPr>
            <p14:xfrm>
              <a:off x="1375920" y="1387800"/>
              <a:ext cx="10002960" cy="2393640"/>
            </p14:xfrm>
          </p:contentPart>
        </mc:Choice>
        <mc:Fallback>
          <p:pic>
            <p:nvPicPr>
              <p:cNvPr id="2" name="Ink 1">
                <a:extLst>
                  <a:ext uri="{FF2B5EF4-FFF2-40B4-BE49-F238E27FC236}">
                    <a16:creationId xmlns:a16="http://schemas.microsoft.com/office/drawing/2014/main" id="{97A2BDF4-C048-46E2-9287-05FD6BC435D0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1366560" y="1378440"/>
                <a:ext cx="10021680" cy="241236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2615739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90FB48A-DA98-4950-A2C8-ACECFD903A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90FB48A-DA98-4950-A2C8-ACECFD903A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2" name="Group 21">
            <a:extLst>
              <a:ext uri="{FF2B5EF4-FFF2-40B4-BE49-F238E27FC236}">
                <a16:creationId xmlns:a16="http://schemas.microsoft.com/office/drawing/2014/main" id="{9A251303-E6CD-4AAD-BB0F-B217E8BC9592}"/>
              </a:ext>
            </a:extLst>
          </p:cNvPr>
          <p:cNvGrpSpPr/>
          <p:nvPr/>
        </p:nvGrpSpPr>
        <p:grpSpPr>
          <a:xfrm>
            <a:off x="2361675" y="5573865"/>
            <a:ext cx="1217880" cy="614160"/>
            <a:chOff x="2361675" y="5573865"/>
            <a:chExt cx="1217880" cy="6141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5">
              <p14:nvContentPartPr>
                <p14:cNvPr id="18" name="Ink 17">
                  <a:extLst>
                    <a:ext uri="{FF2B5EF4-FFF2-40B4-BE49-F238E27FC236}">
                      <a16:creationId xmlns:a16="http://schemas.microsoft.com/office/drawing/2014/main" id="{55069662-36F9-41CF-AD2B-B4EF00F3221B}"/>
                    </a:ext>
                  </a:extLst>
                </p14:cNvPr>
                <p14:cNvContentPartPr/>
                <p14:nvPr/>
              </p14:nvContentPartPr>
              <p14:xfrm>
                <a:off x="2361675" y="5573865"/>
                <a:ext cx="1152360" cy="240120"/>
              </p14:xfrm>
            </p:contentPart>
          </mc:Choice>
          <mc:Fallback xmlns="">
            <p:pic>
              <p:nvPicPr>
                <p:cNvPr id="18" name="Ink 17">
                  <a:extLst>
                    <a:ext uri="{FF2B5EF4-FFF2-40B4-BE49-F238E27FC236}">
                      <a16:creationId xmlns:a16="http://schemas.microsoft.com/office/drawing/2014/main" id="{55069662-36F9-41CF-AD2B-B4EF00F3221B}"/>
                    </a:ext>
                  </a:extLst>
                </p:cNvPr>
                <p:cNvPicPr/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2344035" y="5555865"/>
                  <a:ext cx="1188000" cy="275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">
              <p14:nvContentPartPr>
                <p14:cNvPr id="19" name="Ink 18">
                  <a:extLst>
                    <a:ext uri="{FF2B5EF4-FFF2-40B4-BE49-F238E27FC236}">
                      <a16:creationId xmlns:a16="http://schemas.microsoft.com/office/drawing/2014/main" id="{7016C991-DF25-42EE-89B4-A18D07F524B1}"/>
                    </a:ext>
                  </a:extLst>
                </p14:cNvPr>
                <p14:cNvContentPartPr/>
                <p14:nvPr/>
              </p14:nvContentPartPr>
              <p14:xfrm>
                <a:off x="2765595" y="5959785"/>
                <a:ext cx="564480" cy="228240"/>
              </p14:xfrm>
            </p:contentPart>
          </mc:Choice>
          <mc:Fallback xmlns="">
            <p:pic>
              <p:nvPicPr>
                <p:cNvPr id="19" name="Ink 18">
                  <a:extLst>
                    <a:ext uri="{FF2B5EF4-FFF2-40B4-BE49-F238E27FC236}">
                      <a16:creationId xmlns:a16="http://schemas.microsoft.com/office/drawing/2014/main" id="{7016C991-DF25-42EE-89B4-A18D07F524B1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2747595" y="5942145"/>
                  <a:ext cx="600120" cy="263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">
              <p14:nvContentPartPr>
                <p14:cNvPr id="20" name="Ink 19">
                  <a:extLst>
                    <a:ext uri="{FF2B5EF4-FFF2-40B4-BE49-F238E27FC236}">
                      <a16:creationId xmlns:a16="http://schemas.microsoft.com/office/drawing/2014/main" id="{5182ADBF-578C-4674-B41F-8C447773084B}"/>
                    </a:ext>
                  </a:extLst>
                </p14:cNvPr>
                <p14:cNvContentPartPr/>
                <p14:nvPr/>
              </p14:nvContentPartPr>
              <p14:xfrm>
                <a:off x="3248715" y="5878785"/>
                <a:ext cx="29160" cy="78840"/>
              </p14:xfrm>
            </p:contentPart>
          </mc:Choice>
          <mc:Fallback xmlns="">
            <p:pic>
              <p:nvPicPr>
                <p:cNvPr id="20" name="Ink 19">
                  <a:extLst>
                    <a:ext uri="{FF2B5EF4-FFF2-40B4-BE49-F238E27FC236}">
                      <a16:creationId xmlns:a16="http://schemas.microsoft.com/office/drawing/2014/main" id="{5182ADBF-578C-4674-B41F-8C447773084B}"/>
                    </a:ext>
                  </a:extLst>
                </p:cNvPr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3231075" y="5861145"/>
                  <a:ext cx="64800" cy="114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">
              <p14:nvContentPartPr>
                <p14:cNvPr id="21" name="Ink 20">
                  <a:extLst>
                    <a:ext uri="{FF2B5EF4-FFF2-40B4-BE49-F238E27FC236}">
                      <a16:creationId xmlns:a16="http://schemas.microsoft.com/office/drawing/2014/main" id="{EB8038A0-C7C3-4387-9EE0-3D6CBEC99521}"/>
                    </a:ext>
                  </a:extLst>
                </p14:cNvPr>
                <p14:cNvContentPartPr/>
                <p14:nvPr/>
              </p14:nvContentPartPr>
              <p14:xfrm>
                <a:off x="3335115" y="5892465"/>
                <a:ext cx="244440" cy="207720"/>
              </p14:xfrm>
            </p:contentPart>
          </mc:Choice>
          <mc:Fallback xmlns="">
            <p:pic>
              <p:nvPicPr>
                <p:cNvPr id="21" name="Ink 20">
                  <a:extLst>
                    <a:ext uri="{FF2B5EF4-FFF2-40B4-BE49-F238E27FC236}">
                      <a16:creationId xmlns:a16="http://schemas.microsoft.com/office/drawing/2014/main" id="{EB8038A0-C7C3-4387-9EE0-3D6CBEC99521}"/>
                    </a:ext>
                  </a:extLst>
                </p:cNvPr>
                <p:cNvPicPr/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3317475" y="5874825"/>
                  <a:ext cx="280080" cy="243360"/>
                </a:xfrm>
                <a:prstGeom prst="rect">
                  <a:avLst/>
                </a:prstGeom>
              </p:spPr>
            </p:pic>
          </mc:Fallback>
        </mc:AlternateContent>
      </p:grpSp>
      <p:pic>
        <p:nvPicPr>
          <p:cNvPr id="26" name="Picture 25">
            <a:extLst>
              <a:ext uri="{FF2B5EF4-FFF2-40B4-BE49-F238E27FC236}">
                <a16:creationId xmlns:a16="http://schemas.microsoft.com/office/drawing/2014/main" id="{602EECC5-AEB7-42BA-A45F-C90DDB47FD9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889715" y="-105150"/>
            <a:ext cx="7924800" cy="5591175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14">
            <p14:nvContentPartPr>
              <p14:cNvPr id="31" name="Ink 30">
                <a:extLst>
                  <a:ext uri="{FF2B5EF4-FFF2-40B4-BE49-F238E27FC236}">
                    <a16:creationId xmlns:a16="http://schemas.microsoft.com/office/drawing/2014/main" id="{9BB9421D-0F8E-46CF-9461-513D33067509}"/>
                  </a:ext>
                </a:extLst>
              </p14:cNvPr>
              <p14:cNvContentPartPr/>
              <p14:nvPr/>
            </p14:nvContentPartPr>
            <p14:xfrm>
              <a:off x="3246555" y="3898095"/>
              <a:ext cx="928440" cy="1075320"/>
            </p14:xfrm>
          </p:contentPart>
        </mc:Choice>
        <mc:Fallback xmlns="">
          <p:pic>
            <p:nvPicPr>
              <p:cNvPr id="31" name="Ink 30">
                <a:extLst>
                  <a:ext uri="{FF2B5EF4-FFF2-40B4-BE49-F238E27FC236}">
                    <a16:creationId xmlns:a16="http://schemas.microsoft.com/office/drawing/2014/main" id="{9BB9421D-0F8E-46CF-9461-513D33067509}"/>
                  </a:ext>
                </a:extLst>
              </p:cNvPr>
              <p:cNvPicPr/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3228915" y="3880455"/>
                <a:ext cx="964080" cy="1110960"/>
              </a:xfrm>
              <a:prstGeom prst="rect">
                <a:avLst/>
              </a:prstGeom>
            </p:spPr>
          </p:pic>
        </mc:Fallback>
      </mc:AlternateContent>
      <p:grpSp>
        <p:nvGrpSpPr>
          <p:cNvPr id="37" name="Group 36">
            <a:extLst>
              <a:ext uri="{FF2B5EF4-FFF2-40B4-BE49-F238E27FC236}">
                <a16:creationId xmlns:a16="http://schemas.microsoft.com/office/drawing/2014/main" id="{93A5E9F1-1606-4632-8606-A74BA93B9FB0}"/>
              </a:ext>
            </a:extLst>
          </p:cNvPr>
          <p:cNvGrpSpPr/>
          <p:nvPr/>
        </p:nvGrpSpPr>
        <p:grpSpPr>
          <a:xfrm>
            <a:off x="945795" y="2482215"/>
            <a:ext cx="2449440" cy="1405800"/>
            <a:chOff x="945795" y="2482215"/>
            <a:chExt cx="2449440" cy="14058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6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5D6599A3-7BB5-4897-8499-92A34079BECE}"/>
                    </a:ext>
                  </a:extLst>
                </p14:cNvPr>
                <p14:cNvContentPartPr/>
                <p14:nvPr/>
              </p14:nvContentPartPr>
              <p14:xfrm>
                <a:off x="973875" y="3023985"/>
                <a:ext cx="838440" cy="169560"/>
              </p14:xfrm>
            </p:contentPart>
          </mc:Choice>
          <mc:Fallback xmlns=""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5D6599A3-7BB5-4897-8499-92A34079BECE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955875" y="3006345"/>
                  <a:ext cx="874080" cy="205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">
              <p14:nvContentPartPr>
                <p14:cNvPr id="13" name="Ink 12">
                  <a:extLst>
                    <a:ext uri="{FF2B5EF4-FFF2-40B4-BE49-F238E27FC236}">
                      <a16:creationId xmlns:a16="http://schemas.microsoft.com/office/drawing/2014/main" id="{06B25C5D-50F6-484F-9E22-20CD52F287D0}"/>
                    </a:ext>
                  </a:extLst>
                </p14:cNvPr>
                <p14:cNvContentPartPr/>
                <p14:nvPr/>
              </p14:nvContentPartPr>
              <p14:xfrm>
                <a:off x="945795" y="2891145"/>
                <a:ext cx="194040" cy="135720"/>
              </p14:xfrm>
            </p:contentPart>
          </mc:Choice>
          <mc:Fallback xmlns="">
            <p:pic>
              <p:nvPicPr>
                <p:cNvPr id="13" name="Ink 12">
                  <a:extLst>
                    <a:ext uri="{FF2B5EF4-FFF2-40B4-BE49-F238E27FC236}">
                      <a16:creationId xmlns:a16="http://schemas.microsoft.com/office/drawing/2014/main" id="{06B25C5D-50F6-484F-9E22-20CD52F287D0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928155" y="2873505"/>
                  <a:ext cx="229680" cy="171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">
              <p14:nvContentPartPr>
                <p14:cNvPr id="14" name="Ink 13">
                  <a:extLst>
                    <a:ext uri="{FF2B5EF4-FFF2-40B4-BE49-F238E27FC236}">
                      <a16:creationId xmlns:a16="http://schemas.microsoft.com/office/drawing/2014/main" id="{BBC457C1-977D-413B-96D2-3B7DD7C99946}"/>
                    </a:ext>
                  </a:extLst>
                </p14:cNvPr>
                <p14:cNvContentPartPr/>
                <p14:nvPr/>
              </p14:nvContentPartPr>
              <p14:xfrm>
                <a:off x="1195635" y="2862345"/>
                <a:ext cx="90360" cy="143640"/>
              </p14:xfrm>
            </p:contentPart>
          </mc:Choice>
          <mc:Fallback xmlns="">
            <p:pic>
              <p:nvPicPr>
                <p:cNvPr id="14" name="Ink 13">
                  <a:extLst>
                    <a:ext uri="{FF2B5EF4-FFF2-40B4-BE49-F238E27FC236}">
                      <a16:creationId xmlns:a16="http://schemas.microsoft.com/office/drawing/2014/main" id="{BBC457C1-977D-413B-96D2-3B7DD7C99946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1177635" y="2844705"/>
                  <a:ext cx="126000" cy="179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">
              <p14:nvContentPartPr>
                <p14:cNvPr id="15" name="Ink 14">
                  <a:extLst>
                    <a:ext uri="{FF2B5EF4-FFF2-40B4-BE49-F238E27FC236}">
                      <a16:creationId xmlns:a16="http://schemas.microsoft.com/office/drawing/2014/main" id="{DBFE31D1-B8A1-4F6B-96D9-ADA386B1E579}"/>
                    </a:ext>
                  </a:extLst>
                </p14:cNvPr>
                <p14:cNvContentPartPr/>
                <p14:nvPr/>
              </p14:nvContentPartPr>
              <p14:xfrm>
                <a:off x="1363395" y="2818425"/>
                <a:ext cx="108000" cy="100440"/>
              </p14:xfrm>
            </p:contentPart>
          </mc:Choice>
          <mc:Fallback xmlns="">
            <p:pic>
              <p:nvPicPr>
                <p:cNvPr id="15" name="Ink 14">
                  <a:extLst>
                    <a:ext uri="{FF2B5EF4-FFF2-40B4-BE49-F238E27FC236}">
                      <a16:creationId xmlns:a16="http://schemas.microsoft.com/office/drawing/2014/main" id="{DBFE31D1-B8A1-4F6B-96D9-ADA386B1E579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1345395" y="2800785"/>
                  <a:ext cx="143640" cy="136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4">
              <p14:nvContentPartPr>
                <p14:cNvPr id="16" name="Ink 15">
                  <a:extLst>
                    <a:ext uri="{FF2B5EF4-FFF2-40B4-BE49-F238E27FC236}">
                      <a16:creationId xmlns:a16="http://schemas.microsoft.com/office/drawing/2014/main" id="{A1F87D14-05FE-4674-95B6-C69209519386}"/>
                    </a:ext>
                  </a:extLst>
                </p14:cNvPr>
                <p14:cNvContentPartPr/>
                <p14:nvPr/>
              </p14:nvContentPartPr>
              <p14:xfrm>
                <a:off x="1500915" y="2777745"/>
                <a:ext cx="124200" cy="97920"/>
              </p14:xfrm>
            </p:contentPart>
          </mc:Choice>
          <mc:Fallback xmlns="">
            <p:pic>
              <p:nvPicPr>
                <p:cNvPr id="16" name="Ink 15">
                  <a:extLst>
                    <a:ext uri="{FF2B5EF4-FFF2-40B4-BE49-F238E27FC236}">
                      <a16:creationId xmlns:a16="http://schemas.microsoft.com/office/drawing/2014/main" id="{A1F87D14-05FE-4674-95B6-C69209519386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1482915" y="2760105"/>
                  <a:ext cx="159840" cy="133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6">
              <p14:nvContentPartPr>
                <p14:cNvPr id="36" name="Ink 35">
                  <a:extLst>
                    <a:ext uri="{FF2B5EF4-FFF2-40B4-BE49-F238E27FC236}">
                      <a16:creationId xmlns:a16="http://schemas.microsoft.com/office/drawing/2014/main" id="{8D87B44B-DE4C-494F-A0CB-EE5B6873FFA7}"/>
                    </a:ext>
                  </a:extLst>
                </p14:cNvPr>
                <p14:cNvContentPartPr/>
                <p14:nvPr/>
              </p14:nvContentPartPr>
              <p14:xfrm>
                <a:off x="2090595" y="2482215"/>
                <a:ext cx="1304640" cy="1405800"/>
              </p14:xfrm>
            </p:contentPart>
          </mc:Choice>
          <mc:Fallback xmlns="">
            <p:pic>
              <p:nvPicPr>
                <p:cNvPr id="36" name="Ink 35">
                  <a:extLst>
                    <a:ext uri="{FF2B5EF4-FFF2-40B4-BE49-F238E27FC236}">
                      <a16:creationId xmlns:a16="http://schemas.microsoft.com/office/drawing/2014/main" id="{8D87B44B-DE4C-494F-A0CB-EE5B6873FFA7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2072595" y="2464215"/>
                  <a:ext cx="1340280" cy="144144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28">
            <p14:nvContentPartPr>
              <p14:cNvPr id="38" name="Ink 37">
                <a:extLst>
                  <a:ext uri="{FF2B5EF4-FFF2-40B4-BE49-F238E27FC236}">
                    <a16:creationId xmlns:a16="http://schemas.microsoft.com/office/drawing/2014/main" id="{5312E80C-8F62-476E-9E02-4D348233B985}"/>
                  </a:ext>
                </a:extLst>
              </p14:cNvPr>
              <p14:cNvContentPartPr/>
              <p14:nvPr/>
            </p14:nvContentPartPr>
            <p14:xfrm>
              <a:off x="2383275" y="1646295"/>
              <a:ext cx="657360" cy="55440"/>
            </p14:xfrm>
          </p:contentPart>
        </mc:Choice>
        <mc:Fallback xmlns="">
          <p:pic>
            <p:nvPicPr>
              <p:cNvPr id="38" name="Ink 37">
                <a:extLst>
                  <a:ext uri="{FF2B5EF4-FFF2-40B4-BE49-F238E27FC236}">
                    <a16:creationId xmlns:a16="http://schemas.microsoft.com/office/drawing/2014/main" id="{5312E80C-8F62-476E-9E02-4D348233B985}"/>
                  </a:ext>
                </a:extLst>
              </p:cNvPr>
              <p:cNvPicPr/>
              <p:nvPr/>
            </p:nvPicPr>
            <p:blipFill>
              <a:blip r:embed="rId29"/>
              <a:stretch>
                <a:fillRect/>
              </a:stretch>
            </p:blipFill>
            <p:spPr>
              <a:xfrm>
                <a:off x="2365635" y="1628655"/>
                <a:ext cx="693000" cy="91080"/>
              </a:xfrm>
              <a:prstGeom prst="rect">
                <a:avLst/>
              </a:prstGeom>
            </p:spPr>
          </p:pic>
        </mc:Fallback>
      </mc:AlternateContent>
      <p:grpSp>
        <p:nvGrpSpPr>
          <p:cNvPr id="45" name="Group 44">
            <a:extLst>
              <a:ext uri="{FF2B5EF4-FFF2-40B4-BE49-F238E27FC236}">
                <a16:creationId xmlns:a16="http://schemas.microsoft.com/office/drawing/2014/main" id="{40C03F3E-CB7F-4B7C-BF77-418516D44545}"/>
              </a:ext>
            </a:extLst>
          </p:cNvPr>
          <p:cNvGrpSpPr/>
          <p:nvPr/>
        </p:nvGrpSpPr>
        <p:grpSpPr>
          <a:xfrm>
            <a:off x="3289755" y="1455855"/>
            <a:ext cx="792000" cy="1205280"/>
            <a:chOff x="3289755" y="1455855"/>
            <a:chExt cx="792000" cy="12052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30">
              <p14:nvContentPartPr>
                <p14:cNvPr id="43" name="Ink 42">
                  <a:extLst>
                    <a:ext uri="{FF2B5EF4-FFF2-40B4-BE49-F238E27FC236}">
                      <a16:creationId xmlns:a16="http://schemas.microsoft.com/office/drawing/2014/main" id="{5D571C59-C216-4AA3-9D96-7E61D63E2437}"/>
                    </a:ext>
                  </a:extLst>
                </p14:cNvPr>
                <p14:cNvContentPartPr/>
                <p14:nvPr/>
              </p14:nvContentPartPr>
              <p14:xfrm>
                <a:off x="3327555" y="1605255"/>
                <a:ext cx="75240" cy="952920"/>
              </p14:xfrm>
            </p:contentPart>
          </mc:Choice>
          <mc:Fallback xmlns="">
            <p:pic>
              <p:nvPicPr>
                <p:cNvPr id="43" name="Ink 42">
                  <a:extLst>
                    <a:ext uri="{FF2B5EF4-FFF2-40B4-BE49-F238E27FC236}">
                      <a16:creationId xmlns:a16="http://schemas.microsoft.com/office/drawing/2014/main" id="{5D571C59-C216-4AA3-9D96-7E61D63E2437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3309555" y="1587615"/>
                  <a:ext cx="110880" cy="988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2">
              <p14:nvContentPartPr>
                <p14:cNvPr id="44" name="Ink 43">
                  <a:extLst>
                    <a:ext uri="{FF2B5EF4-FFF2-40B4-BE49-F238E27FC236}">
                      <a16:creationId xmlns:a16="http://schemas.microsoft.com/office/drawing/2014/main" id="{D1B9998B-3EE7-4712-BDDB-1081C7DD64B4}"/>
                    </a:ext>
                  </a:extLst>
                </p14:cNvPr>
                <p14:cNvContentPartPr/>
                <p14:nvPr/>
              </p14:nvContentPartPr>
              <p14:xfrm>
                <a:off x="3289755" y="1455855"/>
                <a:ext cx="792000" cy="1205280"/>
              </p14:xfrm>
            </p:contentPart>
          </mc:Choice>
          <mc:Fallback xmlns="">
            <p:pic>
              <p:nvPicPr>
                <p:cNvPr id="44" name="Ink 43">
                  <a:extLst>
                    <a:ext uri="{FF2B5EF4-FFF2-40B4-BE49-F238E27FC236}">
                      <a16:creationId xmlns:a16="http://schemas.microsoft.com/office/drawing/2014/main" id="{D1B9998B-3EE7-4712-BDDB-1081C7DD64B4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3272115" y="1437855"/>
                  <a:ext cx="827640" cy="124092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34">
            <p14:nvContentPartPr>
              <p14:cNvPr id="46" name="Ink 45">
                <a:extLst>
                  <a:ext uri="{FF2B5EF4-FFF2-40B4-BE49-F238E27FC236}">
                    <a16:creationId xmlns:a16="http://schemas.microsoft.com/office/drawing/2014/main" id="{BBA08493-67AF-4461-81BD-916DB1FDD683}"/>
                  </a:ext>
                </a:extLst>
              </p14:cNvPr>
              <p14:cNvContentPartPr/>
              <p14:nvPr/>
            </p14:nvContentPartPr>
            <p14:xfrm>
              <a:off x="2300835" y="1580055"/>
              <a:ext cx="1078560" cy="946440"/>
            </p14:xfrm>
          </p:contentPart>
        </mc:Choice>
        <mc:Fallback xmlns="">
          <p:pic>
            <p:nvPicPr>
              <p:cNvPr id="46" name="Ink 45">
                <a:extLst>
                  <a:ext uri="{FF2B5EF4-FFF2-40B4-BE49-F238E27FC236}">
                    <a16:creationId xmlns:a16="http://schemas.microsoft.com/office/drawing/2014/main" id="{BBA08493-67AF-4461-81BD-916DB1FDD683}"/>
                  </a:ext>
                </a:extLst>
              </p:cNvPr>
              <p:cNvPicPr/>
              <p:nvPr/>
            </p:nvPicPr>
            <p:blipFill>
              <a:blip r:embed="rId35"/>
              <a:stretch>
                <a:fillRect/>
              </a:stretch>
            </p:blipFill>
            <p:spPr>
              <a:xfrm>
                <a:off x="2283195" y="1562415"/>
                <a:ext cx="1114200" cy="9820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36">
            <p14:nvContentPartPr>
              <p14:cNvPr id="2" name="Ink 1">
                <a:extLst>
                  <a:ext uri="{FF2B5EF4-FFF2-40B4-BE49-F238E27FC236}">
                    <a16:creationId xmlns:a16="http://schemas.microsoft.com/office/drawing/2014/main" id="{FF244B8F-1912-446D-8F43-8644DEE81C91}"/>
                  </a:ext>
                </a:extLst>
              </p14:cNvPr>
              <p14:cNvContentPartPr/>
              <p14:nvPr/>
            </p14:nvContentPartPr>
            <p14:xfrm>
              <a:off x="1721160" y="2130840"/>
              <a:ext cx="4622040" cy="2789640"/>
            </p14:xfrm>
          </p:contentPart>
        </mc:Choice>
        <mc:Fallback>
          <p:pic>
            <p:nvPicPr>
              <p:cNvPr id="2" name="Ink 1">
                <a:extLst>
                  <a:ext uri="{FF2B5EF4-FFF2-40B4-BE49-F238E27FC236}">
                    <a16:creationId xmlns:a16="http://schemas.microsoft.com/office/drawing/2014/main" id="{FF244B8F-1912-446D-8F43-8644DEE81C91}"/>
                  </a:ext>
                </a:extLst>
              </p:cNvPr>
              <p:cNvPicPr/>
              <p:nvPr/>
            </p:nvPicPr>
            <p:blipFill>
              <a:blip r:embed="rId37"/>
              <a:stretch>
                <a:fillRect/>
              </a:stretch>
            </p:blipFill>
            <p:spPr>
              <a:xfrm>
                <a:off x="1711800" y="2121480"/>
                <a:ext cx="4640760" cy="280836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7752218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90FB48A-DA98-4950-A2C8-ACECFD903A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90FB48A-DA98-4950-A2C8-ACECFD903A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0">
            <a:extLst>
              <a:ext uri="{FF2B5EF4-FFF2-40B4-BE49-F238E27FC236}">
                <a16:creationId xmlns:a16="http://schemas.microsoft.com/office/drawing/2014/main" id="{04168A7A-E6C5-432E-946E-27B7962425E1}"/>
              </a:ext>
            </a:extLst>
          </p:cNvPr>
          <p:cNvGrpSpPr/>
          <p:nvPr/>
        </p:nvGrpSpPr>
        <p:grpSpPr>
          <a:xfrm>
            <a:off x="1933275" y="2199585"/>
            <a:ext cx="360" cy="360"/>
            <a:chOff x="1933275" y="2199585"/>
            <a:chExt cx="360" cy="3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5">
              <p14:nvContentPartPr>
                <p14:cNvPr id="2" name="Ink 1">
                  <a:extLst>
                    <a:ext uri="{FF2B5EF4-FFF2-40B4-BE49-F238E27FC236}">
                      <a16:creationId xmlns:a16="http://schemas.microsoft.com/office/drawing/2014/main" id="{C2CD545E-B4F9-4F12-9EBA-524C7BBFD7D0}"/>
                    </a:ext>
                  </a:extLst>
                </p14:cNvPr>
                <p14:cNvContentPartPr/>
                <p14:nvPr/>
              </p14:nvContentPartPr>
              <p14:xfrm>
                <a:off x="1933275" y="2199585"/>
                <a:ext cx="360" cy="360"/>
              </p14:xfrm>
            </p:contentPart>
          </mc:Choice>
          <mc:Fallback xmlns="">
            <p:pic>
              <p:nvPicPr>
                <p:cNvPr id="2" name="Ink 1">
                  <a:extLst>
                    <a:ext uri="{FF2B5EF4-FFF2-40B4-BE49-F238E27FC236}">
                      <a16:creationId xmlns:a16="http://schemas.microsoft.com/office/drawing/2014/main" id="{C2CD545E-B4F9-4F12-9EBA-524C7BBFD7D0}"/>
                    </a:ext>
                  </a:extLst>
                </p:cNvPr>
                <p:cNvPicPr/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1915275" y="2181585"/>
                  <a:ext cx="36000" cy="3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">
              <p14:nvContentPartPr>
                <p14:cNvPr id="3" name="Ink 2">
                  <a:extLst>
                    <a:ext uri="{FF2B5EF4-FFF2-40B4-BE49-F238E27FC236}">
                      <a16:creationId xmlns:a16="http://schemas.microsoft.com/office/drawing/2014/main" id="{351E494C-84BF-467B-AB25-23719C2F9065}"/>
                    </a:ext>
                  </a:extLst>
                </p14:cNvPr>
                <p14:cNvContentPartPr/>
                <p14:nvPr/>
              </p14:nvContentPartPr>
              <p14:xfrm>
                <a:off x="1933275" y="2199585"/>
                <a:ext cx="360" cy="360"/>
              </p14:xfrm>
            </p:contentPart>
          </mc:Choice>
          <mc:Fallback xmlns="">
            <p:pic>
              <p:nvPicPr>
                <p:cNvPr id="3" name="Ink 2">
                  <a:extLst>
                    <a:ext uri="{FF2B5EF4-FFF2-40B4-BE49-F238E27FC236}">
                      <a16:creationId xmlns:a16="http://schemas.microsoft.com/office/drawing/2014/main" id="{351E494C-84BF-467B-AB25-23719C2F9065}"/>
                    </a:ext>
                  </a:extLst>
                </p:cNvPr>
                <p:cNvPicPr/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1915275" y="2181585"/>
                  <a:ext cx="36000" cy="3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">
              <p14:nvContentPartPr>
                <p14:cNvPr id="5" name="Ink 4">
                  <a:extLst>
                    <a:ext uri="{FF2B5EF4-FFF2-40B4-BE49-F238E27FC236}">
                      <a16:creationId xmlns:a16="http://schemas.microsoft.com/office/drawing/2014/main" id="{91EB05EC-D59B-400F-8486-43F12EEC9D3B}"/>
                    </a:ext>
                  </a:extLst>
                </p14:cNvPr>
                <p14:cNvContentPartPr/>
                <p14:nvPr/>
              </p14:nvContentPartPr>
              <p14:xfrm>
                <a:off x="1933275" y="2199585"/>
                <a:ext cx="360" cy="360"/>
              </p14:xfrm>
            </p:contentPart>
          </mc:Choice>
          <mc:Fallback xmlns="">
            <p:pic>
              <p:nvPicPr>
                <p:cNvPr id="5" name="Ink 4">
                  <a:extLst>
                    <a:ext uri="{FF2B5EF4-FFF2-40B4-BE49-F238E27FC236}">
                      <a16:creationId xmlns:a16="http://schemas.microsoft.com/office/drawing/2014/main" id="{91EB05EC-D59B-400F-8486-43F12EEC9D3B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1915275" y="2181585"/>
                  <a:ext cx="36000" cy="3600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10">
            <p14:nvContentPartPr>
              <p14:cNvPr id="6" name="Ink 5">
                <a:extLst>
                  <a:ext uri="{FF2B5EF4-FFF2-40B4-BE49-F238E27FC236}">
                    <a16:creationId xmlns:a16="http://schemas.microsoft.com/office/drawing/2014/main" id="{02670508-E2A1-4FD5-8273-5A91048CF00F}"/>
                  </a:ext>
                </a:extLst>
              </p14:cNvPr>
              <p14:cNvContentPartPr/>
              <p14:nvPr/>
            </p14:nvContentPartPr>
            <p14:xfrm>
              <a:off x="4619235" y="3543105"/>
              <a:ext cx="15840" cy="19440"/>
            </p14:xfrm>
          </p:contentPart>
        </mc:Choice>
        <mc:Fallback xmlns="">
          <p:pic>
            <p:nvPicPr>
              <p:cNvPr id="6" name="Ink 5">
                <a:extLst>
                  <a:ext uri="{FF2B5EF4-FFF2-40B4-BE49-F238E27FC236}">
                    <a16:creationId xmlns:a16="http://schemas.microsoft.com/office/drawing/2014/main" id="{02670508-E2A1-4FD5-8273-5A91048CF00F}"/>
                  </a:ext>
                </a:extLst>
              </p:cNvPr>
              <p:cNvPicPr/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4601235" y="3525105"/>
                <a:ext cx="51480" cy="550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2">
            <p14:nvContentPartPr>
              <p14:cNvPr id="8" name="Ink 7">
                <a:extLst>
                  <a:ext uri="{FF2B5EF4-FFF2-40B4-BE49-F238E27FC236}">
                    <a16:creationId xmlns:a16="http://schemas.microsoft.com/office/drawing/2014/main" id="{FB1045D1-BDB8-4BE9-9278-6547C76C384A}"/>
                  </a:ext>
                </a:extLst>
              </p14:cNvPr>
              <p14:cNvContentPartPr/>
              <p14:nvPr/>
            </p14:nvContentPartPr>
            <p14:xfrm>
              <a:off x="6467115" y="6865545"/>
              <a:ext cx="360" cy="2160"/>
            </p14:xfrm>
          </p:contentPart>
        </mc:Choice>
        <mc:Fallback xmlns="">
          <p:pic>
            <p:nvPicPr>
              <p:cNvPr id="8" name="Ink 7">
                <a:extLst>
                  <a:ext uri="{FF2B5EF4-FFF2-40B4-BE49-F238E27FC236}">
                    <a16:creationId xmlns:a16="http://schemas.microsoft.com/office/drawing/2014/main" id="{FB1045D1-BDB8-4BE9-9278-6547C76C384A}"/>
                  </a:ext>
                </a:extLst>
              </p:cNvPr>
              <p:cNvPicPr/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6449115" y="6847905"/>
                <a:ext cx="36000" cy="378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4">
            <p14:nvContentPartPr>
              <p14:cNvPr id="9" name="Ink 8">
                <a:extLst>
                  <a:ext uri="{FF2B5EF4-FFF2-40B4-BE49-F238E27FC236}">
                    <a16:creationId xmlns:a16="http://schemas.microsoft.com/office/drawing/2014/main" id="{0742D0D6-E93A-445B-8B12-0E1D664B677A}"/>
                  </a:ext>
                </a:extLst>
              </p14:cNvPr>
              <p14:cNvContentPartPr/>
              <p14:nvPr/>
            </p14:nvContentPartPr>
            <p14:xfrm>
              <a:off x="5781315" y="6028680"/>
              <a:ext cx="360" cy="360"/>
            </p14:xfrm>
          </p:contentPart>
        </mc:Choice>
        <mc:Fallback xmlns="">
          <p:pic>
            <p:nvPicPr>
              <p:cNvPr id="9" name="Ink 8">
                <a:extLst>
                  <a:ext uri="{FF2B5EF4-FFF2-40B4-BE49-F238E27FC236}">
                    <a16:creationId xmlns:a16="http://schemas.microsoft.com/office/drawing/2014/main" id="{0742D0D6-E93A-445B-8B12-0E1D664B677A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763315" y="6010680"/>
                <a:ext cx="36000" cy="3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5">
            <p14:nvContentPartPr>
              <p14:cNvPr id="10" name="Ink 9">
                <a:extLst>
                  <a:ext uri="{FF2B5EF4-FFF2-40B4-BE49-F238E27FC236}">
                    <a16:creationId xmlns:a16="http://schemas.microsoft.com/office/drawing/2014/main" id="{25A85E52-DEF6-4121-8F6E-42EB75BE80C0}"/>
                  </a:ext>
                </a:extLst>
              </p14:cNvPr>
              <p14:cNvContentPartPr/>
              <p14:nvPr/>
            </p14:nvContentPartPr>
            <p14:xfrm>
              <a:off x="5809755" y="4704960"/>
              <a:ext cx="360" cy="1800"/>
            </p14:xfrm>
          </p:contentPart>
        </mc:Choice>
        <mc:Fallback xmlns="">
          <p:pic>
            <p:nvPicPr>
              <p:cNvPr id="10" name="Ink 9">
                <a:extLst>
                  <a:ext uri="{FF2B5EF4-FFF2-40B4-BE49-F238E27FC236}">
                    <a16:creationId xmlns:a16="http://schemas.microsoft.com/office/drawing/2014/main" id="{25A85E52-DEF6-4121-8F6E-42EB75BE80C0}"/>
                  </a:ext>
                </a:extLst>
              </p:cNvPr>
              <p:cNvPicPr/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5792115" y="4687320"/>
                <a:ext cx="36000" cy="374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6">
            <p14:nvContentPartPr>
              <p14:cNvPr id="12" name="Ink 11">
                <a:extLst>
                  <a:ext uri="{FF2B5EF4-FFF2-40B4-BE49-F238E27FC236}">
                    <a16:creationId xmlns:a16="http://schemas.microsoft.com/office/drawing/2014/main" id="{E023D39A-09FE-48B3-8371-E70B987D3BDE}"/>
                  </a:ext>
                </a:extLst>
              </p14:cNvPr>
              <p14:cNvContentPartPr/>
              <p14:nvPr/>
            </p14:nvContentPartPr>
            <p14:xfrm>
              <a:off x="-714525" y="3028440"/>
              <a:ext cx="3960" cy="24120"/>
            </p14:xfrm>
          </p:contentPart>
        </mc:Choice>
        <mc:Fallback xmlns="">
          <p:pic>
            <p:nvPicPr>
              <p:cNvPr id="12" name="Ink 11">
                <a:extLst>
                  <a:ext uri="{FF2B5EF4-FFF2-40B4-BE49-F238E27FC236}">
                    <a16:creationId xmlns:a16="http://schemas.microsoft.com/office/drawing/2014/main" id="{E023D39A-09FE-48B3-8371-E70B987D3BDE}"/>
                  </a:ext>
                </a:extLst>
              </p:cNvPr>
              <p:cNvPicPr/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-732525" y="3010440"/>
                <a:ext cx="39600" cy="59760"/>
              </a:xfrm>
              <a:prstGeom prst="rect">
                <a:avLst/>
              </a:prstGeom>
            </p:spPr>
          </p:pic>
        </mc:Fallback>
      </mc:AlternateContent>
      <p:pic>
        <p:nvPicPr>
          <p:cNvPr id="14" name="Picture 13">
            <a:extLst>
              <a:ext uri="{FF2B5EF4-FFF2-40B4-BE49-F238E27FC236}">
                <a16:creationId xmlns:a16="http://schemas.microsoft.com/office/drawing/2014/main" id="{9D4F519F-C4CC-434B-8676-E2EF65E1EE87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0" y="19050"/>
            <a:ext cx="12192000" cy="6858000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19">
            <p14:nvContentPartPr>
              <p14:cNvPr id="7" name="Ink 6">
                <a:extLst>
                  <a:ext uri="{FF2B5EF4-FFF2-40B4-BE49-F238E27FC236}">
                    <a16:creationId xmlns:a16="http://schemas.microsoft.com/office/drawing/2014/main" id="{82E055C4-3D5D-4219-817E-88F07235B5CC}"/>
                  </a:ext>
                </a:extLst>
              </p14:cNvPr>
              <p14:cNvContentPartPr/>
              <p14:nvPr/>
            </p14:nvContentPartPr>
            <p14:xfrm>
              <a:off x="2525760" y="1301040"/>
              <a:ext cx="6532920" cy="5476320"/>
            </p14:xfrm>
          </p:contentPart>
        </mc:Choice>
        <mc:Fallback>
          <p:pic>
            <p:nvPicPr>
              <p:cNvPr id="7" name="Ink 6">
                <a:extLst>
                  <a:ext uri="{FF2B5EF4-FFF2-40B4-BE49-F238E27FC236}">
                    <a16:creationId xmlns:a16="http://schemas.microsoft.com/office/drawing/2014/main" id="{82E055C4-3D5D-4219-817E-88F07235B5CC}"/>
                  </a:ext>
                </a:extLst>
              </p:cNvPr>
              <p:cNvPicPr/>
              <p:nvPr/>
            </p:nvPicPr>
            <p:blipFill>
              <a:blip r:embed="rId20"/>
              <a:stretch>
                <a:fillRect/>
              </a:stretch>
            </p:blipFill>
            <p:spPr>
              <a:xfrm>
                <a:off x="2516400" y="1291680"/>
                <a:ext cx="6551640" cy="549504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90876706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90FB48A-DA98-4950-A2C8-ACECFD903A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90FB48A-DA98-4950-A2C8-ACECFD903A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27C1334C-E1F9-48B9-BC0A-4C1DB9F4111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1962" y="280987"/>
            <a:ext cx="6791325" cy="423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26887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9C046B6-2439-4160-8554-41E06BFB05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930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9C046B6-2439-4160-8554-41E06BFB05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F8F841-2F76-46C6-B1C7-FC23A45155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517775"/>
            <a:ext cx="10515600" cy="1325563"/>
          </a:xfrm>
        </p:spPr>
        <p:txBody>
          <a:bodyPr vert="horz"/>
          <a:lstStyle/>
          <a:p>
            <a:pPr algn="ctr"/>
            <a:r>
              <a:rPr lang="en-US" b="1" dirty="0"/>
              <a:t>Optimization</a:t>
            </a:r>
          </a:p>
        </p:txBody>
      </p:sp>
    </p:spTree>
    <p:extLst>
      <p:ext uri="{BB962C8B-B14F-4D97-AF65-F5344CB8AC3E}">
        <p14:creationId xmlns:p14="http://schemas.microsoft.com/office/powerpoint/2010/main" val="222314365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90FB48A-DA98-4950-A2C8-ACECFD903A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1350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90FB48A-DA98-4950-A2C8-ACECFD903A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984D7144-7F42-4571-A185-1AB560D714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849005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ct 35" hidden="1">
            <a:extLst>
              <a:ext uri="{FF2B5EF4-FFF2-40B4-BE49-F238E27FC236}">
                <a16:creationId xmlns:a16="http://schemas.microsoft.com/office/drawing/2014/main" id="{3F585218-8D59-4C85-A873-3ABCD19D75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6169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6" name="Object 35" hidden="1">
                        <a:extLst>
                          <a:ext uri="{FF2B5EF4-FFF2-40B4-BE49-F238E27FC236}">
                            <a16:creationId xmlns:a16="http://schemas.microsoft.com/office/drawing/2014/main" id="{3F585218-8D59-4C85-A873-3ABCD19D75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D5B7DEE-A295-4337-8B5A-3713E9566F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9A6DF8-0046-4999-A790-3B7CD17899D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964003B-A860-405B-8264-A0E7C81CD31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6" name="Ink 5">
                <a:extLst>
                  <a:ext uri="{FF2B5EF4-FFF2-40B4-BE49-F238E27FC236}">
                    <a16:creationId xmlns:a16="http://schemas.microsoft.com/office/drawing/2014/main" id="{60FE6E2B-E73A-4A64-BA6F-E5F1266946CB}"/>
                  </a:ext>
                </a:extLst>
              </p14:cNvPr>
              <p14:cNvContentPartPr/>
              <p14:nvPr/>
            </p14:nvContentPartPr>
            <p14:xfrm>
              <a:off x="5955960" y="3546480"/>
              <a:ext cx="447480" cy="421560"/>
            </p14:xfrm>
          </p:contentPart>
        </mc:Choice>
        <mc:Fallback xmlns="">
          <p:pic>
            <p:nvPicPr>
              <p:cNvPr id="6" name="Ink 5">
                <a:extLst>
                  <a:ext uri="{FF2B5EF4-FFF2-40B4-BE49-F238E27FC236}">
                    <a16:creationId xmlns:a16="http://schemas.microsoft.com/office/drawing/2014/main" id="{60FE6E2B-E73A-4A64-BA6F-E5F1266946CB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938320" y="3528840"/>
                <a:ext cx="483120" cy="4572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8">
            <p14:nvContentPartPr>
              <p14:cNvPr id="7" name="Ink 6">
                <a:extLst>
                  <a:ext uri="{FF2B5EF4-FFF2-40B4-BE49-F238E27FC236}">
                    <a16:creationId xmlns:a16="http://schemas.microsoft.com/office/drawing/2014/main" id="{44D69FB8-F26D-4193-BBB3-53A5CD2FE572}"/>
                  </a:ext>
                </a:extLst>
              </p14:cNvPr>
              <p14:cNvContentPartPr/>
              <p14:nvPr/>
            </p14:nvContentPartPr>
            <p14:xfrm>
              <a:off x="4881315" y="4331505"/>
              <a:ext cx="441360" cy="383400"/>
            </p14:xfrm>
          </p:contentPart>
        </mc:Choice>
        <mc:Fallback xmlns="">
          <p:pic>
            <p:nvPicPr>
              <p:cNvPr id="7" name="Ink 6">
                <a:extLst>
                  <a:ext uri="{FF2B5EF4-FFF2-40B4-BE49-F238E27FC236}">
                    <a16:creationId xmlns:a16="http://schemas.microsoft.com/office/drawing/2014/main" id="{44D69FB8-F26D-4193-BBB3-53A5CD2FE572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4863315" y="4313865"/>
                <a:ext cx="477000" cy="4190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0">
            <p14:nvContentPartPr>
              <p14:cNvPr id="10" name="Ink 9">
                <a:extLst>
                  <a:ext uri="{FF2B5EF4-FFF2-40B4-BE49-F238E27FC236}">
                    <a16:creationId xmlns:a16="http://schemas.microsoft.com/office/drawing/2014/main" id="{31C195B2-49B6-4241-BCEC-91CBBB9EB586}"/>
                  </a:ext>
                </a:extLst>
              </p14:cNvPr>
              <p14:cNvContentPartPr/>
              <p14:nvPr/>
            </p14:nvContentPartPr>
            <p14:xfrm>
              <a:off x="6427875" y="4805625"/>
              <a:ext cx="429840" cy="369000"/>
            </p14:xfrm>
          </p:contentPart>
        </mc:Choice>
        <mc:Fallback xmlns="">
          <p:pic>
            <p:nvPicPr>
              <p:cNvPr id="10" name="Ink 9">
                <a:extLst>
                  <a:ext uri="{FF2B5EF4-FFF2-40B4-BE49-F238E27FC236}">
                    <a16:creationId xmlns:a16="http://schemas.microsoft.com/office/drawing/2014/main" id="{31C195B2-49B6-4241-BCEC-91CBBB9EB586}"/>
                  </a:ext>
                </a:extLst>
              </p:cNvPr>
              <p:cNvPicPr/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6410235" y="4787985"/>
                <a:ext cx="465480" cy="4046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2">
            <p14:nvContentPartPr>
              <p14:cNvPr id="8" name="Ink 7">
                <a:extLst>
                  <a:ext uri="{FF2B5EF4-FFF2-40B4-BE49-F238E27FC236}">
                    <a16:creationId xmlns:a16="http://schemas.microsoft.com/office/drawing/2014/main" id="{B854761A-CD5C-488A-A8C9-EFCF9056DCC6}"/>
                  </a:ext>
                </a:extLst>
              </p14:cNvPr>
              <p14:cNvContentPartPr/>
              <p14:nvPr/>
            </p14:nvContentPartPr>
            <p14:xfrm>
              <a:off x="6468195" y="4044585"/>
              <a:ext cx="530640" cy="444600"/>
            </p14:xfrm>
          </p:contentPart>
        </mc:Choice>
        <mc:Fallback xmlns="">
          <p:pic>
            <p:nvPicPr>
              <p:cNvPr id="8" name="Ink 7">
                <a:extLst>
                  <a:ext uri="{FF2B5EF4-FFF2-40B4-BE49-F238E27FC236}">
                    <a16:creationId xmlns:a16="http://schemas.microsoft.com/office/drawing/2014/main" id="{B854761A-CD5C-488A-A8C9-EFCF9056DCC6}"/>
                  </a:ext>
                </a:extLst>
              </p:cNvPr>
              <p:cNvPicPr/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6450555" y="4026585"/>
                <a:ext cx="566280" cy="4802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4">
            <p14:nvContentPartPr>
              <p14:cNvPr id="9" name="Ink 8">
                <a:extLst>
                  <a:ext uri="{FF2B5EF4-FFF2-40B4-BE49-F238E27FC236}">
                    <a16:creationId xmlns:a16="http://schemas.microsoft.com/office/drawing/2014/main" id="{AA099292-805D-418B-9088-DB0BE11EDDAB}"/>
                  </a:ext>
                </a:extLst>
              </p14:cNvPr>
              <p14:cNvContentPartPr/>
              <p14:nvPr/>
            </p14:nvContentPartPr>
            <p14:xfrm>
              <a:off x="7105755" y="3618705"/>
              <a:ext cx="446400" cy="406440"/>
            </p14:xfrm>
          </p:contentPart>
        </mc:Choice>
        <mc:Fallback xmlns="">
          <p:pic>
            <p:nvPicPr>
              <p:cNvPr id="9" name="Ink 8">
                <a:extLst>
                  <a:ext uri="{FF2B5EF4-FFF2-40B4-BE49-F238E27FC236}">
                    <a16:creationId xmlns:a16="http://schemas.microsoft.com/office/drawing/2014/main" id="{AA099292-805D-418B-9088-DB0BE11EDDAB}"/>
                  </a:ext>
                </a:extLst>
              </p:cNvPr>
              <p:cNvPicPr/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7088115" y="3601065"/>
                <a:ext cx="482040" cy="442080"/>
              </a:xfrm>
              <a:prstGeom prst="rect">
                <a:avLst/>
              </a:prstGeom>
            </p:spPr>
          </p:pic>
        </mc:Fallback>
      </mc:AlternateContent>
      <p:grpSp>
        <p:nvGrpSpPr>
          <p:cNvPr id="29" name="Group 28">
            <a:extLst>
              <a:ext uri="{FF2B5EF4-FFF2-40B4-BE49-F238E27FC236}">
                <a16:creationId xmlns:a16="http://schemas.microsoft.com/office/drawing/2014/main" id="{841B3566-D9A5-4566-903C-332B9C24BC1C}"/>
              </a:ext>
            </a:extLst>
          </p:cNvPr>
          <p:cNvGrpSpPr/>
          <p:nvPr/>
        </p:nvGrpSpPr>
        <p:grpSpPr>
          <a:xfrm>
            <a:off x="7832955" y="3639585"/>
            <a:ext cx="3950640" cy="311760"/>
            <a:chOff x="7832955" y="3639585"/>
            <a:chExt cx="3950640" cy="3117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6">
              <p14:nvContentPartPr>
                <p14:cNvPr id="11" name="Ink 10">
                  <a:extLst>
                    <a:ext uri="{FF2B5EF4-FFF2-40B4-BE49-F238E27FC236}">
                      <a16:creationId xmlns:a16="http://schemas.microsoft.com/office/drawing/2014/main" id="{2D7D44C1-F908-4985-B62A-8EB5C8DAD087}"/>
                    </a:ext>
                  </a:extLst>
                </p14:cNvPr>
                <p14:cNvContentPartPr/>
                <p14:nvPr/>
              </p14:nvContentPartPr>
              <p14:xfrm>
                <a:off x="7832955" y="3774585"/>
                <a:ext cx="281880" cy="19080"/>
              </p14:xfrm>
            </p:contentPart>
          </mc:Choice>
          <mc:Fallback xmlns="">
            <p:pic>
              <p:nvPicPr>
                <p:cNvPr id="11" name="Ink 10">
                  <a:extLst>
                    <a:ext uri="{FF2B5EF4-FFF2-40B4-BE49-F238E27FC236}">
                      <a16:creationId xmlns:a16="http://schemas.microsoft.com/office/drawing/2014/main" id="{2D7D44C1-F908-4985-B62A-8EB5C8DAD087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7814955" y="3756585"/>
                  <a:ext cx="317520" cy="54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">
              <p14:nvContentPartPr>
                <p14:cNvPr id="13" name="Ink 12">
                  <a:extLst>
                    <a:ext uri="{FF2B5EF4-FFF2-40B4-BE49-F238E27FC236}">
                      <a16:creationId xmlns:a16="http://schemas.microsoft.com/office/drawing/2014/main" id="{65458DFF-0B2A-47CF-8F88-41584E96BBA4}"/>
                    </a:ext>
                  </a:extLst>
                </p14:cNvPr>
                <p14:cNvContentPartPr/>
                <p14:nvPr/>
              </p14:nvContentPartPr>
              <p14:xfrm>
                <a:off x="8215275" y="3639585"/>
                <a:ext cx="281160" cy="220320"/>
              </p14:xfrm>
            </p:contentPart>
          </mc:Choice>
          <mc:Fallback xmlns="">
            <p:pic>
              <p:nvPicPr>
                <p:cNvPr id="13" name="Ink 12">
                  <a:extLst>
                    <a:ext uri="{FF2B5EF4-FFF2-40B4-BE49-F238E27FC236}">
                      <a16:creationId xmlns:a16="http://schemas.microsoft.com/office/drawing/2014/main" id="{65458DFF-0B2A-47CF-8F88-41584E96BBA4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8197275" y="3621945"/>
                  <a:ext cx="316800" cy="255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">
              <p14:nvContentPartPr>
                <p14:cNvPr id="14" name="Ink 13">
                  <a:extLst>
                    <a:ext uri="{FF2B5EF4-FFF2-40B4-BE49-F238E27FC236}">
                      <a16:creationId xmlns:a16="http://schemas.microsoft.com/office/drawing/2014/main" id="{3EDC899E-7444-4351-ACD1-04DA003E07F7}"/>
                    </a:ext>
                  </a:extLst>
                </p14:cNvPr>
                <p14:cNvContentPartPr/>
                <p14:nvPr/>
              </p14:nvContentPartPr>
              <p14:xfrm>
                <a:off x="8482035" y="3659385"/>
                <a:ext cx="18000" cy="55800"/>
              </p14:xfrm>
            </p:contentPart>
          </mc:Choice>
          <mc:Fallback xmlns="">
            <p:pic>
              <p:nvPicPr>
                <p:cNvPr id="14" name="Ink 13">
                  <a:extLst>
                    <a:ext uri="{FF2B5EF4-FFF2-40B4-BE49-F238E27FC236}">
                      <a16:creationId xmlns:a16="http://schemas.microsoft.com/office/drawing/2014/main" id="{3EDC899E-7444-4351-ACD1-04DA003E07F7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8464035" y="3641745"/>
                  <a:ext cx="53640" cy="91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">
              <p14:nvContentPartPr>
                <p14:cNvPr id="15" name="Ink 14">
                  <a:extLst>
                    <a:ext uri="{FF2B5EF4-FFF2-40B4-BE49-F238E27FC236}">
                      <a16:creationId xmlns:a16="http://schemas.microsoft.com/office/drawing/2014/main" id="{549EDA3A-A21D-4120-A795-68B001FEDE5A}"/>
                    </a:ext>
                  </a:extLst>
                </p14:cNvPr>
                <p14:cNvContentPartPr/>
                <p14:nvPr/>
              </p14:nvContentPartPr>
              <p14:xfrm>
                <a:off x="8541435" y="3657225"/>
                <a:ext cx="350280" cy="202680"/>
              </p14:xfrm>
            </p:contentPart>
          </mc:Choice>
          <mc:Fallback xmlns="">
            <p:pic>
              <p:nvPicPr>
                <p:cNvPr id="15" name="Ink 14">
                  <a:extLst>
                    <a:ext uri="{FF2B5EF4-FFF2-40B4-BE49-F238E27FC236}">
                      <a16:creationId xmlns:a16="http://schemas.microsoft.com/office/drawing/2014/main" id="{549EDA3A-A21D-4120-A795-68B001FEDE5A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8523795" y="3639225"/>
                  <a:ext cx="385920" cy="238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4">
              <p14:nvContentPartPr>
                <p14:cNvPr id="16" name="Ink 15">
                  <a:extLst>
                    <a:ext uri="{FF2B5EF4-FFF2-40B4-BE49-F238E27FC236}">
                      <a16:creationId xmlns:a16="http://schemas.microsoft.com/office/drawing/2014/main" id="{D271CC2B-25AD-46F9-B356-66CABEDBD5CE}"/>
                    </a:ext>
                  </a:extLst>
                </p14:cNvPr>
                <p14:cNvContentPartPr/>
                <p14:nvPr/>
              </p14:nvContentPartPr>
              <p14:xfrm>
                <a:off x="9061995" y="3639585"/>
                <a:ext cx="32040" cy="194760"/>
              </p14:xfrm>
            </p:contentPart>
          </mc:Choice>
          <mc:Fallback xmlns="">
            <p:pic>
              <p:nvPicPr>
                <p:cNvPr id="16" name="Ink 15">
                  <a:extLst>
                    <a:ext uri="{FF2B5EF4-FFF2-40B4-BE49-F238E27FC236}">
                      <a16:creationId xmlns:a16="http://schemas.microsoft.com/office/drawing/2014/main" id="{D271CC2B-25AD-46F9-B356-66CABEDBD5CE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9043995" y="3621945"/>
                  <a:ext cx="67680" cy="230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6">
              <p14:nvContentPartPr>
                <p14:cNvPr id="17" name="Ink 16">
                  <a:extLst>
                    <a:ext uri="{FF2B5EF4-FFF2-40B4-BE49-F238E27FC236}">
                      <a16:creationId xmlns:a16="http://schemas.microsoft.com/office/drawing/2014/main" id="{351F39C8-9EBC-4F44-B341-6F1807BA70B2}"/>
                    </a:ext>
                  </a:extLst>
                </p14:cNvPr>
                <p14:cNvContentPartPr/>
                <p14:nvPr/>
              </p14:nvContentPartPr>
              <p14:xfrm>
                <a:off x="9002955" y="3731025"/>
                <a:ext cx="415080" cy="107640"/>
              </p14:xfrm>
            </p:contentPart>
          </mc:Choice>
          <mc:Fallback xmlns="">
            <p:pic>
              <p:nvPicPr>
                <p:cNvPr id="17" name="Ink 16">
                  <a:extLst>
                    <a:ext uri="{FF2B5EF4-FFF2-40B4-BE49-F238E27FC236}">
                      <a16:creationId xmlns:a16="http://schemas.microsoft.com/office/drawing/2014/main" id="{351F39C8-9EBC-4F44-B341-6F1807BA70B2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8984955" y="3713025"/>
                  <a:ext cx="450720" cy="143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8">
              <p14:nvContentPartPr>
                <p14:cNvPr id="18" name="Ink 17">
                  <a:extLst>
                    <a:ext uri="{FF2B5EF4-FFF2-40B4-BE49-F238E27FC236}">
                      <a16:creationId xmlns:a16="http://schemas.microsoft.com/office/drawing/2014/main" id="{7308EAD5-978C-4DED-8DA3-59BE04FBACCC}"/>
                    </a:ext>
                  </a:extLst>
                </p14:cNvPr>
                <p14:cNvContentPartPr/>
                <p14:nvPr/>
              </p14:nvContentPartPr>
              <p14:xfrm>
                <a:off x="9625755" y="3655785"/>
                <a:ext cx="18720" cy="190080"/>
              </p14:xfrm>
            </p:contentPart>
          </mc:Choice>
          <mc:Fallback xmlns="">
            <p:pic>
              <p:nvPicPr>
                <p:cNvPr id="18" name="Ink 17">
                  <a:extLst>
                    <a:ext uri="{FF2B5EF4-FFF2-40B4-BE49-F238E27FC236}">
                      <a16:creationId xmlns:a16="http://schemas.microsoft.com/office/drawing/2014/main" id="{7308EAD5-978C-4DED-8DA3-59BE04FBACCC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9607755" y="3638145"/>
                  <a:ext cx="54360" cy="225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0">
              <p14:nvContentPartPr>
                <p14:cNvPr id="19" name="Ink 18">
                  <a:extLst>
                    <a:ext uri="{FF2B5EF4-FFF2-40B4-BE49-F238E27FC236}">
                      <a16:creationId xmlns:a16="http://schemas.microsoft.com/office/drawing/2014/main" id="{D98F8370-7198-401A-9DEA-196F2A0DB6BF}"/>
                    </a:ext>
                  </a:extLst>
                </p14:cNvPr>
                <p14:cNvContentPartPr/>
                <p14:nvPr/>
              </p14:nvContentPartPr>
              <p14:xfrm>
                <a:off x="9679395" y="3729585"/>
                <a:ext cx="491040" cy="125280"/>
              </p14:xfrm>
            </p:contentPart>
          </mc:Choice>
          <mc:Fallback xmlns="">
            <p:pic>
              <p:nvPicPr>
                <p:cNvPr id="19" name="Ink 18">
                  <a:extLst>
                    <a:ext uri="{FF2B5EF4-FFF2-40B4-BE49-F238E27FC236}">
                      <a16:creationId xmlns:a16="http://schemas.microsoft.com/office/drawing/2014/main" id="{D98F8370-7198-401A-9DEA-196F2A0DB6BF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9661395" y="3711945"/>
                  <a:ext cx="526680" cy="160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2">
              <p14:nvContentPartPr>
                <p14:cNvPr id="20" name="Ink 19">
                  <a:extLst>
                    <a:ext uri="{FF2B5EF4-FFF2-40B4-BE49-F238E27FC236}">
                      <a16:creationId xmlns:a16="http://schemas.microsoft.com/office/drawing/2014/main" id="{7A1E2D94-559B-4D99-93D2-E5D663CDC1D3}"/>
                    </a:ext>
                  </a:extLst>
                </p14:cNvPr>
                <p14:cNvContentPartPr/>
                <p14:nvPr/>
              </p14:nvContentPartPr>
              <p14:xfrm>
                <a:off x="10192395" y="3745065"/>
                <a:ext cx="173880" cy="95760"/>
              </p14:xfrm>
            </p:contentPart>
          </mc:Choice>
          <mc:Fallback xmlns="">
            <p:pic>
              <p:nvPicPr>
                <p:cNvPr id="20" name="Ink 19">
                  <a:extLst>
                    <a:ext uri="{FF2B5EF4-FFF2-40B4-BE49-F238E27FC236}">
                      <a16:creationId xmlns:a16="http://schemas.microsoft.com/office/drawing/2014/main" id="{7A1E2D94-559B-4D99-93D2-E5D663CDC1D3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10174395" y="3727065"/>
                  <a:ext cx="209520" cy="131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4">
              <p14:nvContentPartPr>
                <p14:cNvPr id="21" name="Ink 20">
                  <a:extLst>
                    <a:ext uri="{FF2B5EF4-FFF2-40B4-BE49-F238E27FC236}">
                      <a16:creationId xmlns:a16="http://schemas.microsoft.com/office/drawing/2014/main" id="{70920CA4-DBCB-46FF-849C-FAF26D1866E7}"/>
                    </a:ext>
                  </a:extLst>
                </p14:cNvPr>
                <p14:cNvContentPartPr/>
                <p14:nvPr/>
              </p14:nvContentPartPr>
              <p14:xfrm>
                <a:off x="10392555" y="3751185"/>
                <a:ext cx="162000" cy="115560"/>
              </p14:xfrm>
            </p:contentPart>
          </mc:Choice>
          <mc:Fallback xmlns="">
            <p:pic>
              <p:nvPicPr>
                <p:cNvPr id="21" name="Ink 20">
                  <a:extLst>
                    <a:ext uri="{FF2B5EF4-FFF2-40B4-BE49-F238E27FC236}">
                      <a16:creationId xmlns:a16="http://schemas.microsoft.com/office/drawing/2014/main" id="{70920CA4-DBCB-46FF-849C-FAF26D1866E7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10374555" y="3733545"/>
                  <a:ext cx="197640" cy="151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6">
              <p14:nvContentPartPr>
                <p14:cNvPr id="22" name="Ink 21">
                  <a:extLst>
                    <a:ext uri="{FF2B5EF4-FFF2-40B4-BE49-F238E27FC236}">
                      <a16:creationId xmlns:a16="http://schemas.microsoft.com/office/drawing/2014/main" id="{DEBF29DE-91F4-439A-A80B-2B2DB9131964}"/>
                    </a:ext>
                  </a:extLst>
                </p14:cNvPr>
                <p14:cNvContentPartPr/>
                <p14:nvPr/>
              </p14:nvContentPartPr>
              <p14:xfrm>
                <a:off x="10874955" y="3650025"/>
                <a:ext cx="12240" cy="204840"/>
              </p14:xfrm>
            </p:contentPart>
          </mc:Choice>
          <mc:Fallback xmlns="">
            <p:pic>
              <p:nvPicPr>
                <p:cNvPr id="22" name="Ink 21">
                  <a:extLst>
                    <a:ext uri="{FF2B5EF4-FFF2-40B4-BE49-F238E27FC236}">
                      <a16:creationId xmlns:a16="http://schemas.microsoft.com/office/drawing/2014/main" id="{DEBF29DE-91F4-439A-A80B-2B2DB9131964}"/>
                    </a:ext>
                  </a:extLst>
                </p:cNvPr>
                <p:cNvPicPr/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10856955" y="3632385"/>
                  <a:ext cx="47880" cy="240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8">
              <p14:nvContentPartPr>
                <p14:cNvPr id="23" name="Ink 22">
                  <a:extLst>
                    <a:ext uri="{FF2B5EF4-FFF2-40B4-BE49-F238E27FC236}">
                      <a16:creationId xmlns:a16="http://schemas.microsoft.com/office/drawing/2014/main" id="{0F2E9BAF-BDF4-48B1-A8DF-813DFAC3D8E0}"/>
                    </a:ext>
                  </a:extLst>
                </p14:cNvPr>
                <p14:cNvContentPartPr/>
                <p14:nvPr/>
              </p14:nvContentPartPr>
              <p14:xfrm>
                <a:off x="10725195" y="3734985"/>
                <a:ext cx="533520" cy="129600"/>
              </p14:xfrm>
            </p:contentPart>
          </mc:Choice>
          <mc:Fallback xmlns="">
            <p:pic>
              <p:nvPicPr>
                <p:cNvPr id="23" name="Ink 22">
                  <a:extLst>
                    <a:ext uri="{FF2B5EF4-FFF2-40B4-BE49-F238E27FC236}">
                      <a16:creationId xmlns:a16="http://schemas.microsoft.com/office/drawing/2014/main" id="{0F2E9BAF-BDF4-48B1-A8DF-813DFAC3D8E0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10707555" y="3717345"/>
                  <a:ext cx="569160" cy="165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0">
              <p14:nvContentPartPr>
                <p14:cNvPr id="24" name="Ink 23">
                  <a:extLst>
                    <a:ext uri="{FF2B5EF4-FFF2-40B4-BE49-F238E27FC236}">
                      <a16:creationId xmlns:a16="http://schemas.microsoft.com/office/drawing/2014/main" id="{55356B22-B5ED-4C6F-A838-AAF5E7E3AB17}"/>
                    </a:ext>
                  </a:extLst>
                </p14:cNvPr>
                <p14:cNvContentPartPr/>
                <p14:nvPr/>
              </p14:nvContentPartPr>
              <p14:xfrm>
                <a:off x="11227035" y="3664065"/>
                <a:ext cx="375840" cy="287280"/>
              </p14:xfrm>
            </p:contentPart>
          </mc:Choice>
          <mc:Fallback xmlns="">
            <p:pic>
              <p:nvPicPr>
                <p:cNvPr id="24" name="Ink 23">
                  <a:extLst>
                    <a:ext uri="{FF2B5EF4-FFF2-40B4-BE49-F238E27FC236}">
                      <a16:creationId xmlns:a16="http://schemas.microsoft.com/office/drawing/2014/main" id="{55356B22-B5ED-4C6F-A838-AAF5E7E3AB17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11209035" y="3646425"/>
                  <a:ext cx="411480" cy="322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2">
              <p14:nvContentPartPr>
                <p14:cNvPr id="25" name="Ink 24">
                  <a:extLst>
                    <a:ext uri="{FF2B5EF4-FFF2-40B4-BE49-F238E27FC236}">
                      <a16:creationId xmlns:a16="http://schemas.microsoft.com/office/drawing/2014/main" id="{BF33AAF2-ED88-4AA1-88B9-BEFB478AC9AE}"/>
                    </a:ext>
                  </a:extLst>
                </p14:cNvPr>
                <p14:cNvContentPartPr/>
                <p14:nvPr/>
              </p14:nvContentPartPr>
              <p14:xfrm>
                <a:off x="11633475" y="3672705"/>
                <a:ext cx="150120" cy="141120"/>
              </p14:xfrm>
            </p:contentPart>
          </mc:Choice>
          <mc:Fallback xmlns="">
            <p:pic>
              <p:nvPicPr>
                <p:cNvPr id="25" name="Ink 24">
                  <a:extLst>
                    <a:ext uri="{FF2B5EF4-FFF2-40B4-BE49-F238E27FC236}">
                      <a16:creationId xmlns:a16="http://schemas.microsoft.com/office/drawing/2014/main" id="{BF33AAF2-ED88-4AA1-88B9-BEFB478AC9AE}"/>
                    </a:ext>
                  </a:extLst>
                </p:cNvPr>
                <p:cNvPicPr/>
                <p:nvPr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11615835" y="3654705"/>
                  <a:ext cx="185760" cy="1767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C821A113-E1B5-4B74-8B0E-5D89E672B617}"/>
              </a:ext>
            </a:extLst>
          </p:cNvPr>
          <p:cNvGrpSpPr/>
          <p:nvPr/>
        </p:nvGrpSpPr>
        <p:grpSpPr>
          <a:xfrm>
            <a:off x="11059275" y="4056465"/>
            <a:ext cx="209880" cy="106920"/>
            <a:chOff x="11059275" y="4056465"/>
            <a:chExt cx="209880" cy="1069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44">
              <p14:nvContentPartPr>
                <p14:cNvPr id="26" name="Ink 25">
                  <a:extLst>
                    <a:ext uri="{FF2B5EF4-FFF2-40B4-BE49-F238E27FC236}">
                      <a16:creationId xmlns:a16="http://schemas.microsoft.com/office/drawing/2014/main" id="{85CE0BED-3FE6-4E7B-A2AF-A29BD2DA2765}"/>
                    </a:ext>
                  </a:extLst>
                </p14:cNvPr>
                <p14:cNvContentPartPr/>
                <p14:nvPr/>
              </p14:nvContentPartPr>
              <p14:xfrm>
                <a:off x="11066115" y="4056465"/>
                <a:ext cx="203040" cy="22680"/>
              </p14:xfrm>
            </p:contentPart>
          </mc:Choice>
          <mc:Fallback xmlns="">
            <p:pic>
              <p:nvPicPr>
                <p:cNvPr id="26" name="Ink 25">
                  <a:extLst>
                    <a:ext uri="{FF2B5EF4-FFF2-40B4-BE49-F238E27FC236}">
                      <a16:creationId xmlns:a16="http://schemas.microsoft.com/office/drawing/2014/main" id="{85CE0BED-3FE6-4E7B-A2AF-A29BD2DA2765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11048115" y="4038825"/>
                  <a:ext cx="238680" cy="58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6">
              <p14:nvContentPartPr>
                <p14:cNvPr id="27" name="Ink 26">
                  <a:extLst>
                    <a:ext uri="{FF2B5EF4-FFF2-40B4-BE49-F238E27FC236}">
                      <a16:creationId xmlns:a16="http://schemas.microsoft.com/office/drawing/2014/main" id="{AF11D3F8-6B25-4DBE-9FA1-5D8357013C47}"/>
                    </a:ext>
                  </a:extLst>
                </p14:cNvPr>
                <p14:cNvContentPartPr/>
                <p14:nvPr/>
              </p14:nvContentPartPr>
              <p14:xfrm>
                <a:off x="11059275" y="4131345"/>
                <a:ext cx="159120" cy="32040"/>
              </p14:xfrm>
            </p:contentPart>
          </mc:Choice>
          <mc:Fallback xmlns="">
            <p:pic>
              <p:nvPicPr>
                <p:cNvPr id="27" name="Ink 26">
                  <a:extLst>
                    <a:ext uri="{FF2B5EF4-FFF2-40B4-BE49-F238E27FC236}">
                      <a16:creationId xmlns:a16="http://schemas.microsoft.com/office/drawing/2014/main" id="{AF11D3F8-6B25-4DBE-9FA1-5D8357013C47}"/>
                    </a:ext>
                  </a:extLst>
                </p:cNvPr>
                <p:cNvPicPr/>
                <p:nvPr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11041275" y="4113705"/>
                  <a:ext cx="194760" cy="676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DA222C7F-C343-474C-A6E4-E027F3AE9CF0}"/>
              </a:ext>
            </a:extLst>
          </p:cNvPr>
          <p:cNvGrpSpPr/>
          <p:nvPr/>
        </p:nvGrpSpPr>
        <p:grpSpPr>
          <a:xfrm>
            <a:off x="8347395" y="4246905"/>
            <a:ext cx="2168280" cy="287280"/>
            <a:chOff x="8347395" y="4246905"/>
            <a:chExt cx="2168280" cy="2872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48">
              <p14:nvContentPartPr>
                <p14:cNvPr id="39" name="Ink 38">
                  <a:extLst>
                    <a:ext uri="{FF2B5EF4-FFF2-40B4-BE49-F238E27FC236}">
                      <a16:creationId xmlns:a16="http://schemas.microsoft.com/office/drawing/2014/main" id="{DB997D69-BC23-4A5C-B5A9-9B21AD96A0A7}"/>
                    </a:ext>
                  </a:extLst>
                </p14:cNvPr>
                <p14:cNvContentPartPr/>
                <p14:nvPr/>
              </p14:nvContentPartPr>
              <p14:xfrm>
                <a:off x="8347395" y="4270665"/>
                <a:ext cx="134640" cy="254880"/>
              </p14:xfrm>
            </p:contentPart>
          </mc:Choice>
          <mc:Fallback xmlns="">
            <p:pic>
              <p:nvPicPr>
                <p:cNvPr id="39" name="Ink 38">
                  <a:extLst>
                    <a:ext uri="{FF2B5EF4-FFF2-40B4-BE49-F238E27FC236}">
                      <a16:creationId xmlns:a16="http://schemas.microsoft.com/office/drawing/2014/main" id="{DB997D69-BC23-4A5C-B5A9-9B21AD96A0A7}"/>
                    </a:ext>
                  </a:extLst>
                </p:cNvPr>
                <p:cNvPicPr/>
                <p:nvPr/>
              </p:nvPicPr>
              <p:blipFill>
                <a:blip r:embed="rId49"/>
                <a:stretch>
                  <a:fillRect/>
                </a:stretch>
              </p:blipFill>
              <p:spPr>
                <a:xfrm>
                  <a:off x="8329755" y="4252665"/>
                  <a:ext cx="170280" cy="290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0">
              <p14:nvContentPartPr>
                <p14:cNvPr id="40" name="Ink 39">
                  <a:extLst>
                    <a:ext uri="{FF2B5EF4-FFF2-40B4-BE49-F238E27FC236}">
                      <a16:creationId xmlns:a16="http://schemas.microsoft.com/office/drawing/2014/main" id="{17F09F92-744E-44D1-A037-7012550E65E5}"/>
                    </a:ext>
                  </a:extLst>
                </p14:cNvPr>
                <p14:cNvContentPartPr/>
                <p14:nvPr/>
              </p14:nvContentPartPr>
              <p14:xfrm>
                <a:off x="8530635" y="4246905"/>
                <a:ext cx="485280" cy="250560"/>
              </p14:xfrm>
            </p:contentPart>
          </mc:Choice>
          <mc:Fallback xmlns="">
            <p:pic>
              <p:nvPicPr>
                <p:cNvPr id="40" name="Ink 39">
                  <a:extLst>
                    <a:ext uri="{FF2B5EF4-FFF2-40B4-BE49-F238E27FC236}">
                      <a16:creationId xmlns:a16="http://schemas.microsoft.com/office/drawing/2014/main" id="{17F09F92-744E-44D1-A037-7012550E65E5}"/>
                    </a:ext>
                  </a:extLst>
                </p:cNvPr>
                <p:cNvPicPr/>
                <p:nvPr/>
              </p:nvPicPr>
              <p:blipFill>
                <a:blip r:embed="rId51"/>
                <a:stretch>
                  <a:fillRect/>
                </a:stretch>
              </p:blipFill>
              <p:spPr>
                <a:xfrm>
                  <a:off x="8512635" y="4228905"/>
                  <a:ext cx="520920" cy="286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2">
              <p14:nvContentPartPr>
                <p14:cNvPr id="41" name="Ink 40">
                  <a:extLst>
                    <a:ext uri="{FF2B5EF4-FFF2-40B4-BE49-F238E27FC236}">
                      <a16:creationId xmlns:a16="http://schemas.microsoft.com/office/drawing/2014/main" id="{14C71675-EA4E-4E84-9828-3D1908A7B7DA}"/>
                    </a:ext>
                  </a:extLst>
                </p14:cNvPr>
                <p14:cNvContentPartPr/>
                <p14:nvPr/>
              </p14:nvContentPartPr>
              <p14:xfrm>
                <a:off x="9115635" y="4284705"/>
                <a:ext cx="191160" cy="231840"/>
              </p14:xfrm>
            </p:contentPart>
          </mc:Choice>
          <mc:Fallback xmlns="">
            <p:pic>
              <p:nvPicPr>
                <p:cNvPr id="41" name="Ink 40">
                  <a:extLst>
                    <a:ext uri="{FF2B5EF4-FFF2-40B4-BE49-F238E27FC236}">
                      <a16:creationId xmlns:a16="http://schemas.microsoft.com/office/drawing/2014/main" id="{14C71675-EA4E-4E84-9828-3D1908A7B7DA}"/>
                    </a:ext>
                  </a:extLst>
                </p:cNvPr>
                <p:cNvPicPr/>
                <p:nvPr/>
              </p:nvPicPr>
              <p:blipFill>
                <a:blip r:embed="rId53"/>
                <a:stretch>
                  <a:fillRect/>
                </a:stretch>
              </p:blipFill>
              <p:spPr>
                <a:xfrm>
                  <a:off x="9097995" y="4266705"/>
                  <a:ext cx="226800" cy="267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4">
              <p14:nvContentPartPr>
                <p14:cNvPr id="42" name="Ink 41">
                  <a:extLst>
                    <a:ext uri="{FF2B5EF4-FFF2-40B4-BE49-F238E27FC236}">
                      <a16:creationId xmlns:a16="http://schemas.microsoft.com/office/drawing/2014/main" id="{C29A29E9-5045-4089-B265-ECB120929B26}"/>
                    </a:ext>
                  </a:extLst>
                </p14:cNvPr>
                <p14:cNvContentPartPr/>
                <p14:nvPr/>
              </p14:nvContentPartPr>
              <p14:xfrm>
                <a:off x="9252075" y="4406385"/>
                <a:ext cx="172800" cy="87480"/>
              </p14:xfrm>
            </p:contentPart>
          </mc:Choice>
          <mc:Fallback xmlns="">
            <p:pic>
              <p:nvPicPr>
                <p:cNvPr id="42" name="Ink 41">
                  <a:extLst>
                    <a:ext uri="{FF2B5EF4-FFF2-40B4-BE49-F238E27FC236}">
                      <a16:creationId xmlns:a16="http://schemas.microsoft.com/office/drawing/2014/main" id="{C29A29E9-5045-4089-B265-ECB120929B26}"/>
                    </a:ext>
                  </a:extLst>
                </p:cNvPr>
                <p:cNvPicPr/>
                <p:nvPr/>
              </p:nvPicPr>
              <p:blipFill>
                <a:blip r:embed="rId55"/>
                <a:stretch>
                  <a:fillRect/>
                </a:stretch>
              </p:blipFill>
              <p:spPr>
                <a:xfrm>
                  <a:off x="9234075" y="4388385"/>
                  <a:ext cx="208440" cy="123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6">
              <p14:nvContentPartPr>
                <p14:cNvPr id="43" name="Ink 42">
                  <a:extLst>
                    <a:ext uri="{FF2B5EF4-FFF2-40B4-BE49-F238E27FC236}">
                      <a16:creationId xmlns:a16="http://schemas.microsoft.com/office/drawing/2014/main" id="{A7C715DF-76D9-453C-9BD7-BD3C79EE2EBD}"/>
                    </a:ext>
                  </a:extLst>
                </p14:cNvPr>
                <p14:cNvContentPartPr/>
                <p14:nvPr/>
              </p14:nvContentPartPr>
              <p14:xfrm>
                <a:off x="9399675" y="4304865"/>
                <a:ext cx="236520" cy="210600"/>
              </p14:xfrm>
            </p:contentPart>
          </mc:Choice>
          <mc:Fallback xmlns="">
            <p:pic>
              <p:nvPicPr>
                <p:cNvPr id="43" name="Ink 42">
                  <a:extLst>
                    <a:ext uri="{FF2B5EF4-FFF2-40B4-BE49-F238E27FC236}">
                      <a16:creationId xmlns:a16="http://schemas.microsoft.com/office/drawing/2014/main" id="{A7C715DF-76D9-453C-9BD7-BD3C79EE2EBD}"/>
                    </a:ext>
                  </a:extLst>
                </p:cNvPr>
                <p:cNvPicPr/>
                <p:nvPr/>
              </p:nvPicPr>
              <p:blipFill>
                <a:blip r:embed="rId57"/>
                <a:stretch>
                  <a:fillRect/>
                </a:stretch>
              </p:blipFill>
              <p:spPr>
                <a:xfrm>
                  <a:off x="9381675" y="4287225"/>
                  <a:ext cx="272160" cy="246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8">
              <p14:nvContentPartPr>
                <p14:cNvPr id="44" name="Ink 43">
                  <a:extLst>
                    <a:ext uri="{FF2B5EF4-FFF2-40B4-BE49-F238E27FC236}">
                      <a16:creationId xmlns:a16="http://schemas.microsoft.com/office/drawing/2014/main" id="{7E548F82-5621-4D38-A62A-CD7FDA5A1130}"/>
                    </a:ext>
                  </a:extLst>
                </p14:cNvPr>
                <p14:cNvContentPartPr/>
                <p14:nvPr/>
              </p14:nvContentPartPr>
              <p14:xfrm>
                <a:off x="9667515" y="4422945"/>
                <a:ext cx="180720" cy="92880"/>
              </p14:xfrm>
            </p:contentPart>
          </mc:Choice>
          <mc:Fallback xmlns="">
            <p:pic>
              <p:nvPicPr>
                <p:cNvPr id="44" name="Ink 43">
                  <a:extLst>
                    <a:ext uri="{FF2B5EF4-FFF2-40B4-BE49-F238E27FC236}">
                      <a16:creationId xmlns:a16="http://schemas.microsoft.com/office/drawing/2014/main" id="{7E548F82-5621-4D38-A62A-CD7FDA5A1130}"/>
                    </a:ext>
                  </a:extLst>
                </p:cNvPr>
                <p:cNvPicPr/>
                <p:nvPr/>
              </p:nvPicPr>
              <p:blipFill>
                <a:blip r:embed="rId59"/>
                <a:stretch>
                  <a:fillRect/>
                </a:stretch>
              </p:blipFill>
              <p:spPr>
                <a:xfrm>
                  <a:off x="9649515" y="4405305"/>
                  <a:ext cx="216360" cy="128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0">
              <p14:nvContentPartPr>
                <p14:cNvPr id="45" name="Ink 44">
                  <a:extLst>
                    <a:ext uri="{FF2B5EF4-FFF2-40B4-BE49-F238E27FC236}">
                      <a16:creationId xmlns:a16="http://schemas.microsoft.com/office/drawing/2014/main" id="{B1C46BB7-C9B9-4F64-989D-06A43A4C8A05}"/>
                    </a:ext>
                  </a:extLst>
                </p14:cNvPr>
                <p14:cNvContentPartPr/>
                <p14:nvPr/>
              </p14:nvContentPartPr>
              <p14:xfrm>
                <a:off x="10085115" y="4356705"/>
                <a:ext cx="121320" cy="177480"/>
              </p14:xfrm>
            </p:contentPart>
          </mc:Choice>
          <mc:Fallback xmlns="">
            <p:pic>
              <p:nvPicPr>
                <p:cNvPr id="45" name="Ink 44">
                  <a:extLst>
                    <a:ext uri="{FF2B5EF4-FFF2-40B4-BE49-F238E27FC236}">
                      <a16:creationId xmlns:a16="http://schemas.microsoft.com/office/drawing/2014/main" id="{B1C46BB7-C9B9-4F64-989D-06A43A4C8A05}"/>
                    </a:ext>
                  </a:extLst>
                </p:cNvPr>
                <p:cNvPicPr/>
                <p:nvPr/>
              </p:nvPicPr>
              <p:blipFill>
                <a:blip r:embed="rId61"/>
                <a:stretch>
                  <a:fillRect/>
                </a:stretch>
              </p:blipFill>
              <p:spPr>
                <a:xfrm>
                  <a:off x="10067115" y="4339065"/>
                  <a:ext cx="156960" cy="213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2">
              <p14:nvContentPartPr>
                <p14:cNvPr id="46" name="Ink 45">
                  <a:extLst>
                    <a:ext uri="{FF2B5EF4-FFF2-40B4-BE49-F238E27FC236}">
                      <a16:creationId xmlns:a16="http://schemas.microsoft.com/office/drawing/2014/main" id="{0E6B1169-6B42-4D72-B186-090E5152A365}"/>
                    </a:ext>
                  </a:extLst>
                </p14:cNvPr>
                <p14:cNvContentPartPr/>
                <p14:nvPr/>
              </p14:nvContentPartPr>
              <p14:xfrm>
                <a:off x="10241355" y="4370025"/>
                <a:ext cx="274320" cy="132480"/>
              </p14:xfrm>
            </p:contentPart>
          </mc:Choice>
          <mc:Fallback xmlns="">
            <p:pic>
              <p:nvPicPr>
                <p:cNvPr id="46" name="Ink 45">
                  <a:extLst>
                    <a:ext uri="{FF2B5EF4-FFF2-40B4-BE49-F238E27FC236}">
                      <a16:creationId xmlns:a16="http://schemas.microsoft.com/office/drawing/2014/main" id="{0E6B1169-6B42-4D72-B186-090E5152A365}"/>
                    </a:ext>
                  </a:extLst>
                </p:cNvPr>
                <p:cNvPicPr/>
                <p:nvPr/>
              </p:nvPicPr>
              <p:blipFill>
                <a:blip r:embed="rId63"/>
                <a:stretch>
                  <a:fillRect/>
                </a:stretch>
              </p:blipFill>
              <p:spPr>
                <a:xfrm>
                  <a:off x="10223355" y="4352025"/>
                  <a:ext cx="309960" cy="1681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76BACCF1-98A6-4452-B96A-C4E5C998DC54}"/>
              </a:ext>
            </a:extLst>
          </p:cNvPr>
          <p:cNvGrpSpPr/>
          <p:nvPr/>
        </p:nvGrpSpPr>
        <p:grpSpPr>
          <a:xfrm>
            <a:off x="10634115" y="4330785"/>
            <a:ext cx="948960" cy="191160"/>
            <a:chOff x="10634115" y="4330785"/>
            <a:chExt cx="948960" cy="1911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4">
              <p14:nvContentPartPr>
                <p14:cNvPr id="49" name="Ink 48">
                  <a:extLst>
                    <a:ext uri="{FF2B5EF4-FFF2-40B4-BE49-F238E27FC236}">
                      <a16:creationId xmlns:a16="http://schemas.microsoft.com/office/drawing/2014/main" id="{AC22A48A-114B-4B9E-8FBA-AF704EBF7821}"/>
                    </a:ext>
                  </a:extLst>
                </p14:cNvPr>
                <p14:cNvContentPartPr/>
                <p14:nvPr/>
              </p14:nvContentPartPr>
              <p14:xfrm>
                <a:off x="10634115" y="4330785"/>
                <a:ext cx="474480" cy="191160"/>
              </p14:xfrm>
            </p:contentPart>
          </mc:Choice>
          <mc:Fallback xmlns="">
            <p:pic>
              <p:nvPicPr>
                <p:cNvPr id="49" name="Ink 48">
                  <a:extLst>
                    <a:ext uri="{FF2B5EF4-FFF2-40B4-BE49-F238E27FC236}">
                      <a16:creationId xmlns:a16="http://schemas.microsoft.com/office/drawing/2014/main" id="{AC22A48A-114B-4B9E-8FBA-AF704EBF7821}"/>
                    </a:ext>
                  </a:extLst>
                </p:cNvPr>
                <p:cNvPicPr/>
                <p:nvPr/>
              </p:nvPicPr>
              <p:blipFill>
                <a:blip r:embed="rId65"/>
                <a:stretch>
                  <a:fillRect/>
                </a:stretch>
              </p:blipFill>
              <p:spPr>
                <a:xfrm>
                  <a:off x="10616115" y="4312785"/>
                  <a:ext cx="510120" cy="226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6">
              <p14:nvContentPartPr>
                <p14:cNvPr id="50" name="Ink 49">
                  <a:extLst>
                    <a:ext uri="{FF2B5EF4-FFF2-40B4-BE49-F238E27FC236}">
                      <a16:creationId xmlns:a16="http://schemas.microsoft.com/office/drawing/2014/main" id="{ED1EEBAB-8C70-4649-96DC-307AA047AFBF}"/>
                    </a:ext>
                  </a:extLst>
                </p14:cNvPr>
                <p14:cNvContentPartPr/>
                <p14:nvPr/>
              </p14:nvContentPartPr>
              <p14:xfrm>
                <a:off x="11305515" y="4345905"/>
                <a:ext cx="277560" cy="164160"/>
              </p14:xfrm>
            </p:contentPart>
          </mc:Choice>
          <mc:Fallback xmlns="">
            <p:pic>
              <p:nvPicPr>
                <p:cNvPr id="50" name="Ink 49">
                  <a:extLst>
                    <a:ext uri="{FF2B5EF4-FFF2-40B4-BE49-F238E27FC236}">
                      <a16:creationId xmlns:a16="http://schemas.microsoft.com/office/drawing/2014/main" id="{ED1EEBAB-8C70-4649-96DC-307AA047AFBF}"/>
                    </a:ext>
                  </a:extLst>
                </p:cNvPr>
                <p:cNvPicPr/>
                <p:nvPr/>
              </p:nvPicPr>
              <p:blipFill>
                <a:blip r:embed="rId67"/>
                <a:stretch>
                  <a:fillRect/>
                </a:stretch>
              </p:blipFill>
              <p:spPr>
                <a:xfrm>
                  <a:off x="11287515" y="4327905"/>
                  <a:ext cx="313200" cy="1998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8A5C1C7C-8385-4FAB-A78B-04D18D79B6F4}"/>
              </a:ext>
            </a:extLst>
          </p:cNvPr>
          <p:cNvGrpSpPr/>
          <p:nvPr/>
        </p:nvGrpSpPr>
        <p:grpSpPr>
          <a:xfrm>
            <a:off x="8455755" y="4718145"/>
            <a:ext cx="1327680" cy="217080"/>
            <a:chOff x="8455755" y="4718145"/>
            <a:chExt cx="1327680" cy="2170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8">
              <p14:nvContentPartPr>
                <p14:cNvPr id="53" name="Ink 52">
                  <a:extLst>
                    <a:ext uri="{FF2B5EF4-FFF2-40B4-BE49-F238E27FC236}">
                      <a16:creationId xmlns:a16="http://schemas.microsoft.com/office/drawing/2014/main" id="{BC2BA5F0-9BFF-42C9-A11F-747D26301A91}"/>
                    </a:ext>
                  </a:extLst>
                </p14:cNvPr>
                <p14:cNvContentPartPr/>
                <p14:nvPr/>
              </p14:nvContentPartPr>
              <p14:xfrm>
                <a:off x="8455755" y="4767465"/>
                <a:ext cx="173160" cy="167760"/>
              </p14:xfrm>
            </p:contentPart>
          </mc:Choice>
          <mc:Fallback xmlns="">
            <p:pic>
              <p:nvPicPr>
                <p:cNvPr id="53" name="Ink 52">
                  <a:extLst>
                    <a:ext uri="{FF2B5EF4-FFF2-40B4-BE49-F238E27FC236}">
                      <a16:creationId xmlns:a16="http://schemas.microsoft.com/office/drawing/2014/main" id="{BC2BA5F0-9BFF-42C9-A11F-747D26301A91}"/>
                    </a:ext>
                  </a:extLst>
                </p:cNvPr>
                <p:cNvPicPr/>
                <p:nvPr/>
              </p:nvPicPr>
              <p:blipFill>
                <a:blip r:embed="rId69"/>
                <a:stretch>
                  <a:fillRect/>
                </a:stretch>
              </p:blipFill>
              <p:spPr>
                <a:xfrm>
                  <a:off x="8438115" y="4749465"/>
                  <a:ext cx="208800" cy="203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0">
              <p14:nvContentPartPr>
                <p14:cNvPr id="54" name="Ink 53">
                  <a:extLst>
                    <a:ext uri="{FF2B5EF4-FFF2-40B4-BE49-F238E27FC236}">
                      <a16:creationId xmlns:a16="http://schemas.microsoft.com/office/drawing/2014/main" id="{1EDCB210-E197-4E52-AC05-C15E28DCE236}"/>
                    </a:ext>
                  </a:extLst>
                </p14:cNvPr>
                <p14:cNvContentPartPr/>
                <p14:nvPr/>
              </p14:nvContentPartPr>
              <p14:xfrm>
                <a:off x="8652315" y="4800225"/>
                <a:ext cx="482040" cy="127800"/>
              </p14:xfrm>
            </p:contentPart>
          </mc:Choice>
          <mc:Fallback xmlns="">
            <p:pic>
              <p:nvPicPr>
                <p:cNvPr id="54" name="Ink 53">
                  <a:extLst>
                    <a:ext uri="{FF2B5EF4-FFF2-40B4-BE49-F238E27FC236}">
                      <a16:creationId xmlns:a16="http://schemas.microsoft.com/office/drawing/2014/main" id="{1EDCB210-E197-4E52-AC05-C15E28DCE236}"/>
                    </a:ext>
                  </a:extLst>
                </p:cNvPr>
                <p:cNvPicPr/>
                <p:nvPr/>
              </p:nvPicPr>
              <p:blipFill>
                <a:blip r:embed="rId71"/>
                <a:stretch>
                  <a:fillRect/>
                </a:stretch>
              </p:blipFill>
              <p:spPr>
                <a:xfrm>
                  <a:off x="8634315" y="4782225"/>
                  <a:ext cx="517680" cy="163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2">
              <p14:nvContentPartPr>
                <p14:cNvPr id="55" name="Ink 54">
                  <a:extLst>
                    <a:ext uri="{FF2B5EF4-FFF2-40B4-BE49-F238E27FC236}">
                      <a16:creationId xmlns:a16="http://schemas.microsoft.com/office/drawing/2014/main" id="{CBF330FD-00AB-4BB1-80F1-B1D5D88F651E}"/>
                    </a:ext>
                  </a:extLst>
                </p14:cNvPr>
                <p14:cNvContentPartPr/>
                <p14:nvPr/>
              </p14:nvContentPartPr>
              <p14:xfrm>
                <a:off x="9224715" y="4718145"/>
                <a:ext cx="344520" cy="206280"/>
              </p14:xfrm>
            </p:contentPart>
          </mc:Choice>
          <mc:Fallback xmlns="">
            <p:pic>
              <p:nvPicPr>
                <p:cNvPr id="55" name="Ink 54">
                  <a:extLst>
                    <a:ext uri="{FF2B5EF4-FFF2-40B4-BE49-F238E27FC236}">
                      <a16:creationId xmlns:a16="http://schemas.microsoft.com/office/drawing/2014/main" id="{CBF330FD-00AB-4BB1-80F1-B1D5D88F651E}"/>
                    </a:ext>
                  </a:extLst>
                </p:cNvPr>
                <p:cNvPicPr/>
                <p:nvPr/>
              </p:nvPicPr>
              <p:blipFill>
                <a:blip r:embed="rId73"/>
                <a:stretch>
                  <a:fillRect/>
                </a:stretch>
              </p:blipFill>
              <p:spPr>
                <a:xfrm>
                  <a:off x="9206715" y="4700145"/>
                  <a:ext cx="380160" cy="241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4">
              <p14:nvContentPartPr>
                <p14:cNvPr id="56" name="Ink 55">
                  <a:extLst>
                    <a:ext uri="{FF2B5EF4-FFF2-40B4-BE49-F238E27FC236}">
                      <a16:creationId xmlns:a16="http://schemas.microsoft.com/office/drawing/2014/main" id="{2D25B65F-35BB-4BD7-B023-7EEA89528FC7}"/>
                    </a:ext>
                  </a:extLst>
                </p14:cNvPr>
                <p14:cNvContentPartPr/>
                <p14:nvPr/>
              </p14:nvContentPartPr>
              <p14:xfrm>
                <a:off x="9559515" y="4779705"/>
                <a:ext cx="223920" cy="118800"/>
              </p14:xfrm>
            </p:contentPart>
          </mc:Choice>
          <mc:Fallback xmlns="">
            <p:pic>
              <p:nvPicPr>
                <p:cNvPr id="56" name="Ink 55">
                  <a:extLst>
                    <a:ext uri="{FF2B5EF4-FFF2-40B4-BE49-F238E27FC236}">
                      <a16:creationId xmlns:a16="http://schemas.microsoft.com/office/drawing/2014/main" id="{2D25B65F-35BB-4BD7-B023-7EEA89528FC7}"/>
                    </a:ext>
                  </a:extLst>
                </p:cNvPr>
                <p:cNvPicPr/>
                <p:nvPr/>
              </p:nvPicPr>
              <p:blipFill>
                <a:blip r:embed="rId75"/>
                <a:stretch>
                  <a:fillRect/>
                </a:stretch>
              </p:blipFill>
              <p:spPr>
                <a:xfrm>
                  <a:off x="9541515" y="4761705"/>
                  <a:ext cx="259560" cy="15444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76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A802F5FE-34F5-4B97-9459-9DE172F9D6E3}"/>
                  </a:ext>
                </a:extLst>
              </p14:cNvPr>
              <p14:cNvContentPartPr/>
              <p14:nvPr/>
            </p14:nvContentPartPr>
            <p14:xfrm>
              <a:off x="9576075" y="3959625"/>
              <a:ext cx="867240" cy="159840"/>
            </p14:xfrm>
          </p:contentPart>
        </mc:Choice>
        <mc:Fallback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A802F5FE-34F5-4B97-9459-9DE172F9D6E3}"/>
                  </a:ext>
                </a:extLst>
              </p:cNvPr>
              <p:cNvPicPr/>
              <p:nvPr/>
            </p:nvPicPr>
            <p:blipFill>
              <a:blip r:embed="rId77"/>
              <a:stretch>
                <a:fillRect/>
              </a:stretch>
            </p:blipFill>
            <p:spPr>
              <a:xfrm>
                <a:off x="9558075" y="3941985"/>
                <a:ext cx="902880" cy="1954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78">
            <p14:nvContentPartPr>
              <p14:cNvPr id="12" name="Ink 11">
                <a:extLst>
                  <a:ext uri="{FF2B5EF4-FFF2-40B4-BE49-F238E27FC236}">
                    <a16:creationId xmlns:a16="http://schemas.microsoft.com/office/drawing/2014/main" id="{4BEF32DB-ACF8-4325-9BF6-85E6682B4384}"/>
                  </a:ext>
                </a:extLst>
              </p14:cNvPr>
              <p14:cNvContentPartPr/>
              <p14:nvPr/>
            </p14:nvContentPartPr>
            <p14:xfrm>
              <a:off x="4848555" y="4607625"/>
              <a:ext cx="360" cy="360"/>
            </p14:xfrm>
          </p:contentPart>
        </mc:Choice>
        <mc:Fallback>
          <p:pic>
            <p:nvPicPr>
              <p:cNvPr id="12" name="Ink 11">
                <a:extLst>
                  <a:ext uri="{FF2B5EF4-FFF2-40B4-BE49-F238E27FC236}">
                    <a16:creationId xmlns:a16="http://schemas.microsoft.com/office/drawing/2014/main" id="{4BEF32DB-ACF8-4325-9BF6-85E6682B4384}"/>
                  </a:ext>
                </a:extLst>
              </p:cNvPr>
              <p:cNvPicPr/>
              <p:nvPr/>
            </p:nvPicPr>
            <p:blipFill>
              <a:blip r:embed="rId79"/>
              <a:stretch>
                <a:fillRect/>
              </a:stretch>
            </p:blipFill>
            <p:spPr>
              <a:xfrm>
                <a:off x="4830915" y="4589985"/>
                <a:ext cx="36000" cy="3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80">
            <p14:nvContentPartPr>
              <p14:cNvPr id="30" name="Ink 29">
                <a:extLst>
                  <a:ext uri="{FF2B5EF4-FFF2-40B4-BE49-F238E27FC236}">
                    <a16:creationId xmlns:a16="http://schemas.microsoft.com/office/drawing/2014/main" id="{218A8D3D-0231-4DFB-878D-7156FA4573A6}"/>
                  </a:ext>
                </a:extLst>
              </p14:cNvPr>
              <p14:cNvContentPartPr/>
              <p14:nvPr/>
            </p14:nvContentPartPr>
            <p14:xfrm>
              <a:off x="6129435" y="3898065"/>
              <a:ext cx="360" cy="360"/>
            </p14:xfrm>
          </p:contentPart>
        </mc:Choice>
        <mc:Fallback>
          <p:pic>
            <p:nvPicPr>
              <p:cNvPr id="30" name="Ink 29">
                <a:extLst>
                  <a:ext uri="{FF2B5EF4-FFF2-40B4-BE49-F238E27FC236}">
                    <a16:creationId xmlns:a16="http://schemas.microsoft.com/office/drawing/2014/main" id="{218A8D3D-0231-4DFB-878D-7156FA4573A6}"/>
                  </a:ext>
                </a:extLst>
              </p:cNvPr>
              <p:cNvPicPr/>
              <p:nvPr/>
            </p:nvPicPr>
            <p:blipFill>
              <a:blip r:embed="rId79"/>
              <a:stretch>
                <a:fillRect/>
              </a:stretch>
            </p:blipFill>
            <p:spPr>
              <a:xfrm>
                <a:off x="6111795" y="3880425"/>
                <a:ext cx="36000" cy="3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81">
            <p14:nvContentPartPr>
              <p14:cNvPr id="31" name="Ink 30">
                <a:extLst>
                  <a:ext uri="{FF2B5EF4-FFF2-40B4-BE49-F238E27FC236}">
                    <a16:creationId xmlns:a16="http://schemas.microsoft.com/office/drawing/2014/main" id="{CCA7BBB3-A868-4209-B3E0-AE8D3B2461A4}"/>
                  </a:ext>
                </a:extLst>
              </p14:cNvPr>
              <p14:cNvContentPartPr/>
              <p14:nvPr/>
            </p14:nvContentPartPr>
            <p14:xfrm>
              <a:off x="6583755" y="4975545"/>
              <a:ext cx="3240" cy="11880"/>
            </p14:xfrm>
          </p:contentPart>
        </mc:Choice>
        <mc:Fallback>
          <p:pic>
            <p:nvPicPr>
              <p:cNvPr id="31" name="Ink 30">
                <a:extLst>
                  <a:ext uri="{FF2B5EF4-FFF2-40B4-BE49-F238E27FC236}">
                    <a16:creationId xmlns:a16="http://schemas.microsoft.com/office/drawing/2014/main" id="{CCA7BBB3-A868-4209-B3E0-AE8D3B2461A4}"/>
                  </a:ext>
                </a:extLst>
              </p:cNvPr>
              <p:cNvPicPr/>
              <p:nvPr/>
            </p:nvPicPr>
            <p:blipFill>
              <a:blip r:embed="rId82"/>
              <a:stretch>
                <a:fillRect/>
              </a:stretch>
            </p:blipFill>
            <p:spPr>
              <a:xfrm>
                <a:off x="6566115" y="4957905"/>
                <a:ext cx="38880" cy="47520"/>
              </a:xfrm>
              <a:prstGeom prst="rect">
                <a:avLst/>
              </a:prstGeom>
            </p:spPr>
          </p:pic>
        </mc:Fallback>
      </mc:AlternateContent>
      <p:grpSp>
        <p:nvGrpSpPr>
          <p:cNvPr id="37" name="Group 36">
            <a:extLst>
              <a:ext uri="{FF2B5EF4-FFF2-40B4-BE49-F238E27FC236}">
                <a16:creationId xmlns:a16="http://schemas.microsoft.com/office/drawing/2014/main" id="{5F13A3D1-99EB-4283-B449-E25E5D574CA6}"/>
              </a:ext>
            </a:extLst>
          </p:cNvPr>
          <p:cNvGrpSpPr/>
          <p:nvPr/>
        </p:nvGrpSpPr>
        <p:grpSpPr>
          <a:xfrm>
            <a:off x="7443075" y="1248855"/>
            <a:ext cx="1127520" cy="280080"/>
            <a:chOff x="7443075" y="1248855"/>
            <a:chExt cx="1127520" cy="28008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83">
              <p14:nvContentPartPr>
                <p14:cNvPr id="32" name="Ink 31">
                  <a:extLst>
                    <a:ext uri="{FF2B5EF4-FFF2-40B4-BE49-F238E27FC236}">
                      <a16:creationId xmlns:a16="http://schemas.microsoft.com/office/drawing/2014/main" id="{6EF21DF3-9E3E-4BB7-AC64-0D982CC5E89E}"/>
                    </a:ext>
                  </a:extLst>
                </p14:cNvPr>
                <p14:cNvContentPartPr/>
                <p14:nvPr/>
              </p14:nvContentPartPr>
              <p14:xfrm>
                <a:off x="7443075" y="1248855"/>
                <a:ext cx="534240" cy="257040"/>
              </p14:xfrm>
            </p:contentPart>
          </mc:Choice>
          <mc:Fallback>
            <p:pic>
              <p:nvPicPr>
                <p:cNvPr id="32" name="Ink 31">
                  <a:extLst>
                    <a:ext uri="{FF2B5EF4-FFF2-40B4-BE49-F238E27FC236}">
                      <a16:creationId xmlns:a16="http://schemas.microsoft.com/office/drawing/2014/main" id="{6EF21DF3-9E3E-4BB7-AC64-0D982CC5E89E}"/>
                    </a:ext>
                  </a:extLst>
                </p:cNvPr>
                <p:cNvPicPr/>
                <p:nvPr/>
              </p:nvPicPr>
              <p:blipFill>
                <a:blip r:embed="rId84"/>
                <a:stretch>
                  <a:fillRect/>
                </a:stretch>
              </p:blipFill>
              <p:spPr>
                <a:xfrm>
                  <a:off x="7425435" y="1230855"/>
                  <a:ext cx="569880" cy="292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5">
              <p14:nvContentPartPr>
                <p14:cNvPr id="33" name="Ink 32">
                  <a:extLst>
                    <a:ext uri="{FF2B5EF4-FFF2-40B4-BE49-F238E27FC236}">
                      <a16:creationId xmlns:a16="http://schemas.microsoft.com/office/drawing/2014/main" id="{41291884-1650-4495-A706-6D30F9FE0A93}"/>
                    </a:ext>
                  </a:extLst>
                </p14:cNvPr>
                <p14:cNvContentPartPr/>
                <p14:nvPr/>
              </p14:nvContentPartPr>
              <p14:xfrm>
                <a:off x="8056155" y="1385295"/>
                <a:ext cx="100440" cy="143640"/>
              </p14:xfrm>
            </p:contentPart>
          </mc:Choice>
          <mc:Fallback>
            <p:pic>
              <p:nvPicPr>
                <p:cNvPr id="33" name="Ink 32">
                  <a:extLst>
                    <a:ext uri="{FF2B5EF4-FFF2-40B4-BE49-F238E27FC236}">
                      <a16:creationId xmlns:a16="http://schemas.microsoft.com/office/drawing/2014/main" id="{41291884-1650-4495-A706-6D30F9FE0A93}"/>
                    </a:ext>
                  </a:extLst>
                </p:cNvPr>
                <p:cNvPicPr/>
                <p:nvPr/>
              </p:nvPicPr>
              <p:blipFill>
                <a:blip r:embed="rId86"/>
                <a:stretch>
                  <a:fillRect/>
                </a:stretch>
              </p:blipFill>
              <p:spPr>
                <a:xfrm>
                  <a:off x="8038155" y="1367295"/>
                  <a:ext cx="136080" cy="179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7">
              <p14:nvContentPartPr>
                <p14:cNvPr id="35" name="Ink 34">
                  <a:extLst>
                    <a:ext uri="{FF2B5EF4-FFF2-40B4-BE49-F238E27FC236}">
                      <a16:creationId xmlns:a16="http://schemas.microsoft.com/office/drawing/2014/main" id="{BDACC330-E121-4AFC-AB5A-4B4EB6EEEF9F}"/>
                    </a:ext>
                  </a:extLst>
                </p14:cNvPr>
                <p14:cNvContentPartPr/>
                <p14:nvPr/>
              </p14:nvContentPartPr>
              <p14:xfrm>
                <a:off x="8219595" y="1408335"/>
                <a:ext cx="351000" cy="119880"/>
              </p14:xfrm>
            </p:contentPart>
          </mc:Choice>
          <mc:Fallback>
            <p:pic>
              <p:nvPicPr>
                <p:cNvPr id="35" name="Ink 34">
                  <a:extLst>
                    <a:ext uri="{FF2B5EF4-FFF2-40B4-BE49-F238E27FC236}">
                      <a16:creationId xmlns:a16="http://schemas.microsoft.com/office/drawing/2014/main" id="{BDACC330-E121-4AFC-AB5A-4B4EB6EEEF9F}"/>
                    </a:ext>
                  </a:extLst>
                </p:cNvPr>
                <p:cNvPicPr/>
                <p:nvPr/>
              </p:nvPicPr>
              <p:blipFill>
                <a:blip r:embed="rId88"/>
                <a:stretch>
                  <a:fillRect/>
                </a:stretch>
              </p:blipFill>
              <p:spPr>
                <a:xfrm>
                  <a:off x="8201595" y="1390335"/>
                  <a:ext cx="386640" cy="1555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A547BACF-FBD1-405C-A986-8043A4CF4681}"/>
              </a:ext>
            </a:extLst>
          </p:cNvPr>
          <p:cNvGrpSpPr/>
          <p:nvPr/>
        </p:nvGrpSpPr>
        <p:grpSpPr>
          <a:xfrm>
            <a:off x="2516475" y="3608625"/>
            <a:ext cx="866880" cy="489240"/>
            <a:chOff x="2516475" y="3608625"/>
            <a:chExt cx="866880" cy="4892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89">
              <p14:nvContentPartPr>
                <p14:cNvPr id="38" name="Ink 37">
                  <a:extLst>
                    <a:ext uri="{FF2B5EF4-FFF2-40B4-BE49-F238E27FC236}">
                      <a16:creationId xmlns:a16="http://schemas.microsoft.com/office/drawing/2014/main" id="{7DF7C0C0-D572-4D35-BBCD-D65362327E81}"/>
                    </a:ext>
                  </a:extLst>
                </p14:cNvPr>
                <p14:cNvContentPartPr/>
                <p14:nvPr/>
              </p14:nvContentPartPr>
              <p14:xfrm>
                <a:off x="2516475" y="3802305"/>
                <a:ext cx="24120" cy="88560"/>
              </p14:xfrm>
            </p:contentPart>
          </mc:Choice>
          <mc:Fallback>
            <p:pic>
              <p:nvPicPr>
                <p:cNvPr id="38" name="Ink 37">
                  <a:extLst>
                    <a:ext uri="{FF2B5EF4-FFF2-40B4-BE49-F238E27FC236}">
                      <a16:creationId xmlns:a16="http://schemas.microsoft.com/office/drawing/2014/main" id="{7DF7C0C0-D572-4D35-BBCD-D65362327E81}"/>
                    </a:ext>
                  </a:extLst>
                </p:cNvPr>
                <p:cNvPicPr/>
                <p:nvPr/>
              </p:nvPicPr>
              <p:blipFill>
                <a:blip r:embed="rId90"/>
                <a:stretch>
                  <a:fillRect/>
                </a:stretch>
              </p:blipFill>
              <p:spPr>
                <a:xfrm>
                  <a:off x="2498835" y="3784305"/>
                  <a:ext cx="59760" cy="124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1">
              <p14:nvContentPartPr>
                <p14:cNvPr id="47" name="Ink 46">
                  <a:extLst>
                    <a:ext uri="{FF2B5EF4-FFF2-40B4-BE49-F238E27FC236}">
                      <a16:creationId xmlns:a16="http://schemas.microsoft.com/office/drawing/2014/main" id="{B2211A5C-61F8-4ADB-8D6C-CE4443D8DB08}"/>
                    </a:ext>
                  </a:extLst>
                </p14:cNvPr>
                <p14:cNvContentPartPr/>
                <p14:nvPr/>
              </p14:nvContentPartPr>
              <p14:xfrm>
                <a:off x="2547435" y="3608625"/>
                <a:ext cx="82440" cy="331920"/>
              </p14:xfrm>
            </p:contentPart>
          </mc:Choice>
          <mc:Fallback>
            <p:pic>
              <p:nvPicPr>
                <p:cNvPr id="47" name="Ink 46">
                  <a:extLst>
                    <a:ext uri="{FF2B5EF4-FFF2-40B4-BE49-F238E27FC236}">
                      <a16:creationId xmlns:a16="http://schemas.microsoft.com/office/drawing/2014/main" id="{B2211A5C-61F8-4ADB-8D6C-CE4443D8DB08}"/>
                    </a:ext>
                  </a:extLst>
                </p:cNvPr>
                <p:cNvPicPr/>
                <p:nvPr/>
              </p:nvPicPr>
              <p:blipFill>
                <a:blip r:embed="rId92"/>
                <a:stretch>
                  <a:fillRect/>
                </a:stretch>
              </p:blipFill>
              <p:spPr>
                <a:xfrm>
                  <a:off x="2529795" y="3590625"/>
                  <a:ext cx="118080" cy="367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3">
              <p14:nvContentPartPr>
                <p14:cNvPr id="52" name="Ink 51">
                  <a:extLst>
                    <a:ext uri="{FF2B5EF4-FFF2-40B4-BE49-F238E27FC236}">
                      <a16:creationId xmlns:a16="http://schemas.microsoft.com/office/drawing/2014/main" id="{AB019C36-1B2D-4434-9066-73123415FE58}"/>
                    </a:ext>
                  </a:extLst>
                </p14:cNvPr>
                <p14:cNvContentPartPr/>
                <p14:nvPr/>
              </p14:nvContentPartPr>
              <p14:xfrm>
                <a:off x="2704395" y="3725265"/>
                <a:ext cx="34200" cy="208440"/>
              </p14:xfrm>
            </p:contentPart>
          </mc:Choice>
          <mc:Fallback>
            <p:pic>
              <p:nvPicPr>
                <p:cNvPr id="52" name="Ink 51">
                  <a:extLst>
                    <a:ext uri="{FF2B5EF4-FFF2-40B4-BE49-F238E27FC236}">
                      <a16:creationId xmlns:a16="http://schemas.microsoft.com/office/drawing/2014/main" id="{AB019C36-1B2D-4434-9066-73123415FE58}"/>
                    </a:ext>
                  </a:extLst>
                </p:cNvPr>
                <p:cNvPicPr/>
                <p:nvPr/>
              </p:nvPicPr>
              <p:blipFill>
                <a:blip r:embed="rId94"/>
                <a:stretch>
                  <a:fillRect/>
                </a:stretch>
              </p:blipFill>
              <p:spPr>
                <a:xfrm>
                  <a:off x="2686755" y="3707265"/>
                  <a:ext cx="69840" cy="244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5">
              <p14:nvContentPartPr>
                <p14:cNvPr id="58" name="Ink 57">
                  <a:extLst>
                    <a:ext uri="{FF2B5EF4-FFF2-40B4-BE49-F238E27FC236}">
                      <a16:creationId xmlns:a16="http://schemas.microsoft.com/office/drawing/2014/main" id="{429A850C-67E4-4335-BCBC-454FC907D68A}"/>
                    </a:ext>
                  </a:extLst>
                </p14:cNvPr>
                <p14:cNvContentPartPr/>
                <p14:nvPr/>
              </p14:nvContentPartPr>
              <p14:xfrm>
                <a:off x="2684235" y="3781065"/>
                <a:ext cx="682920" cy="146160"/>
              </p14:xfrm>
            </p:contentPart>
          </mc:Choice>
          <mc:Fallback>
            <p:pic>
              <p:nvPicPr>
                <p:cNvPr id="58" name="Ink 57">
                  <a:extLst>
                    <a:ext uri="{FF2B5EF4-FFF2-40B4-BE49-F238E27FC236}">
                      <a16:creationId xmlns:a16="http://schemas.microsoft.com/office/drawing/2014/main" id="{429A850C-67E4-4335-BCBC-454FC907D68A}"/>
                    </a:ext>
                  </a:extLst>
                </p:cNvPr>
                <p:cNvPicPr/>
                <p:nvPr/>
              </p:nvPicPr>
              <p:blipFill>
                <a:blip r:embed="rId96"/>
                <a:stretch>
                  <a:fillRect/>
                </a:stretch>
              </p:blipFill>
              <p:spPr>
                <a:xfrm>
                  <a:off x="2666595" y="3763065"/>
                  <a:ext cx="718560" cy="181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7">
              <p14:nvContentPartPr>
                <p14:cNvPr id="59" name="Ink 58">
                  <a:extLst>
                    <a:ext uri="{FF2B5EF4-FFF2-40B4-BE49-F238E27FC236}">
                      <a16:creationId xmlns:a16="http://schemas.microsoft.com/office/drawing/2014/main" id="{7374F668-06F2-4EF7-8E2F-CE0B0FF8AF34}"/>
                    </a:ext>
                  </a:extLst>
                </p14:cNvPr>
                <p14:cNvContentPartPr/>
                <p14:nvPr/>
              </p14:nvContentPartPr>
              <p14:xfrm>
                <a:off x="3343755" y="3774225"/>
                <a:ext cx="39600" cy="140040"/>
              </p14:xfrm>
            </p:contentPart>
          </mc:Choice>
          <mc:Fallback>
            <p:pic>
              <p:nvPicPr>
                <p:cNvPr id="59" name="Ink 58">
                  <a:extLst>
                    <a:ext uri="{FF2B5EF4-FFF2-40B4-BE49-F238E27FC236}">
                      <a16:creationId xmlns:a16="http://schemas.microsoft.com/office/drawing/2014/main" id="{7374F668-06F2-4EF7-8E2F-CE0B0FF8AF34}"/>
                    </a:ext>
                  </a:extLst>
                </p:cNvPr>
                <p:cNvPicPr/>
                <p:nvPr/>
              </p:nvPicPr>
              <p:blipFill>
                <a:blip r:embed="rId98"/>
                <a:stretch>
                  <a:fillRect/>
                </a:stretch>
              </p:blipFill>
              <p:spPr>
                <a:xfrm>
                  <a:off x="3326115" y="3756225"/>
                  <a:ext cx="75240" cy="175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9">
              <p14:nvContentPartPr>
                <p14:cNvPr id="60" name="Ink 59">
                  <a:extLst>
                    <a:ext uri="{FF2B5EF4-FFF2-40B4-BE49-F238E27FC236}">
                      <a16:creationId xmlns:a16="http://schemas.microsoft.com/office/drawing/2014/main" id="{0279DE28-E4FC-44F2-9843-6F8A13EDCCD3}"/>
                    </a:ext>
                  </a:extLst>
                </p14:cNvPr>
                <p14:cNvContentPartPr/>
                <p14:nvPr/>
              </p14:nvContentPartPr>
              <p14:xfrm>
                <a:off x="2966115" y="3782145"/>
                <a:ext cx="415800" cy="266760"/>
              </p14:xfrm>
            </p:contentPart>
          </mc:Choice>
          <mc:Fallback>
            <p:pic>
              <p:nvPicPr>
                <p:cNvPr id="60" name="Ink 59">
                  <a:extLst>
                    <a:ext uri="{FF2B5EF4-FFF2-40B4-BE49-F238E27FC236}">
                      <a16:creationId xmlns:a16="http://schemas.microsoft.com/office/drawing/2014/main" id="{0279DE28-E4FC-44F2-9843-6F8A13EDCCD3}"/>
                    </a:ext>
                  </a:extLst>
                </p:cNvPr>
                <p:cNvPicPr/>
                <p:nvPr/>
              </p:nvPicPr>
              <p:blipFill>
                <a:blip r:embed="rId100"/>
                <a:stretch>
                  <a:fillRect/>
                </a:stretch>
              </p:blipFill>
              <p:spPr>
                <a:xfrm>
                  <a:off x="2948475" y="3764145"/>
                  <a:ext cx="451440" cy="302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1">
              <p14:nvContentPartPr>
                <p14:cNvPr id="61" name="Ink 60">
                  <a:extLst>
                    <a:ext uri="{FF2B5EF4-FFF2-40B4-BE49-F238E27FC236}">
                      <a16:creationId xmlns:a16="http://schemas.microsoft.com/office/drawing/2014/main" id="{432DB74C-B2AE-4306-8B8A-BE4E7CA8ADDB}"/>
                    </a:ext>
                  </a:extLst>
                </p14:cNvPr>
                <p14:cNvContentPartPr/>
                <p14:nvPr/>
              </p14:nvContentPartPr>
              <p14:xfrm>
                <a:off x="2850195" y="4093185"/>
                <a:ext cx="497520" cy="4680"/>
              </p14:xfrm>
            </p:contentPart>
          </mc:Choice>
          <mc:Fallback>
            <p:pic>
              <p:nvPicPr>
                <p:cNvPr id="61" name="Ink 60">
                  <a:extLst>
                    <a:ext uri="{FF2B5EF4-FFF2-40B4-BE49-F238E27FC236}">
                      <a16:creationId xmlns:a16="http://schemas.microsoft.com/office/drawing/2014/main" id="{432DB74C-B2AE-4306-8B8A-BE4E7CA8ADDB}"/>
                    </a:ext>
                  </a:extLst>
                </p:cNvPr>
                <p:cNvPicPr/>
                <p:nvPr/>
              </p:nvPicPr>
              <p:blipFill>
                <a:blip r:embed="rId102"/>
                <a:stretch>
                  <a:fillRect/>
                </a:stretch>
              </p:blipFill>
              <p:spPr>
                <a:xfrm>
                  <a:off x="2832555" y="4075185"/>
                  <a:ext cx="533160" cy="4032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103">
            <p14:nvContentPartPr>
              <p14:cNvPr id="63" name="Ink 62">
                <a:extLst>
                  <a:ext uri="{FF2B5EF4-FFF2-40B4-BE49-F238E27FC236}">
                    <a16:creationId xmlns:a16="http://schemas.microsoft.com/office/drawing/2014/main" id="{E3ECF23F-F642-4B97-B104-7D5AB1AAFE46}"/>
                  </a:ext>
                </a:extLst>
              </p14:cNvPr>
              <p14:cNvContentPartPr/>
              <p14:nvPr/>
            </p14:nvContentPartPr>
            <p14:xfrm>
              <a:off x="778035" y="4115145"/>
              <a:ext cx="52920" cy="23760"/>
            </p14:xfrm>
          </p:contentPart>
        </mc:Choice>
        <mc:Fallback>
          <p:pic>
            <p:nvPicPr>
              <p:cNvPr id="63" name="Ink 62">
                <a:extLst>
                  <a:ext uri="{FF2B5EF4-FFF2-40B4-BE49-F238E27FC236}">
                    <a16:creationId xmlns:a16="http://schemas.microsoft.com/office/drawing/2014/main" id="{E3ECF23F-F642-4B97-B104-7D5AB1AAFE46}"/>
                  </a:ext>
                </a:extLst>
              </p:cNvPr>
              <p:cNvPicPr/>
              <p:nvPr/>
            </p:nvPicPr>
            <p:blipFill>
              <a:blip r:embed="rId104"/>
              <a:stretch>
                <a:fillRect/>
              </a:stretch>
            </p:blipFill>
            <p:spPr>
              <a:xfrm>
                <a:off x="760035" y="4097505"/>
                <a:ext cx="88560" cy="594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47563896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3CC6A3-2124-469B-86A1-F409EABC78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1F493A-3F94-4D9B-B1C7-0C97235A5A4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0E079F4-E5AC-4E01-AB8E-7C7AFC64BD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6" name="Ink 5">
                <a:extLst>
                  <a:ext uri="{FF2B5EF4-FFF2-40B4-BE49-F238E27FC236}">
                    <a16:creationId xmlns:a16="http://schemas.microsoft.com/office/drawing/2014/main" id="{6F01A576-8A00-4494-A7A8-41D86E3C9E78}"/>
                  </a:ext>
                </a:extLst>
              </p14:cNvPr>
              <p14:cNvContentPartPr/>
              <p14:nvPr/>
            </p14:nvContentPartPr>
            <p14:xfrm>
              <a:off x="6212595" y="1817625"/>
              <a:ext cx="1354680" cy="79560"/>
            </p14:xfrm>
          </p:contentPart>
        </mc:Choice>
        <mc:Fallback xmlns="">
          <p:pic>
            <p:nvPicPr>
              <p:cNvPr id="6" name="Ink 5">
                <a:extLst>
                  <a:ext uri="{FF2B5EF4-FFF2-40B4-BE49-F238E27FC236}">
                    <a16:creationId xmlns:a16="http://schemas.microsoft.com/office/drawing/2014/main" id="{6F01A576-8A00-4494-A7A8-41D86E3C9E78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194955" y="1799625"/>
                <a:ext cx="1390320" cy="1152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7" name="Ink 6">
                <a:extLst>
                  <a:ext uri="{FF2B5EF4-FFF2-40B4-BE49-F238E27FC236}">
                    <a16:creationId xmlns:a16="http://schemas.microsoft.com/office/drawing/2014/main" id="{6F84187A-F392-46CE-AD96-A0219998D63F}"/>
                  </a:ext>
                </a:extLst>
              </p14:cNvPr>
              <p14:cNvContentPartPr/>
              <p14:nvPr/>
            </p14:nvContentPartPr>
            <p14:xfrm>
              <a:off x="4724715" y="4776105"/>
              <a:ext cx="898200" cy="15120"/>
            </p14:xfrm>
          </p:contentPart>
        </mc:Choice>
        <mc:Fallback xmlns="">
          <p:pic>
            <p:nvPicPr>
              <p:cNvPr id="7" name="Ink 6">
                <a:extLst>
                  <a:ext uri="{FF2B5EF4-FFF2-40B4-BE49-F238E27FC236}">
                    <a16:creationId xmlns:a16="http://schemas.microsoft.com/office/drawing/2014/main" id="{6F84187A-F392-46CE-AD96-A0219998D63F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706715" y="4758465"/>
                <a:ext cx="933840" cy="507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8" name="Ink 7">
                <a:extLst>
                  <a:ext uri="{FF2B5EF4-FFF2-40B4-BE49-F238E27FC236}">
                    <a16:creationId xmlns:a16="http://schemas.microsoft.com/office/drawing/2014/main" id="{963EFD87-9E2F-4B69-9564-EF5FD74585B9}"/>
                  </a:ext>
                </a:extLst>
              </p14:cNvPr>
              <p14:cNvContentPartPr/>
              <p14:nvPr/>
            </p14:nvContentPartPr>
            <p14:xfrm>
              <a:off x="4610955" y="4837665"/>
              <a:ext cx="1202760" cy="37440"/>
            </p14:xfrm>
          </p:contentPart>
        </mc:Choice>
        <mc:Fallback xmlns="">
          <p:pic>
            <p:nvPicPr>
              <p:cNvPr id="8" name="Ink 7">
                <a:extLst>
                  <a:ext uri="{FF2B5EF4-FFF2-40B4-BE49-F238E27FC236}">
                    <a16:creationId xmlns:a16="http://schemas.microsoft.com/office/drawing/2014/main" id="{963EFD87-9E2F-4B69-9564-EF5FD74585B9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4593315" y="4820025"/>
                <a:ext cx="1238400" cy="730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9">
            <p14:nvContentPartPr>
              <p14:cNvPr id="11" name="Ink 10">
                <a:extLst>
                  <a:ext uri="{FF2B5EF4-FFF2-40B4-BE49-F238E27FC236}">
                    <a16:creationId xmlns:a16="http://schemas.microsoft.com/office/drawing/2014/main" id="{FE26EACA-FFFD-40DC-AAA2-27C6B4C125FF}"/>
                  </a:ext>
                </a:extLst>
              </p14:cNvPr>
              <p14:cNvContentPartPr/>
              <p14:nvPr/>
            </p14:nvContentPartPr>
            <p14:xfrm>
              <a:off x="6772035" y="1211745"/>
              <a:ext cx="1172880" cy="714960"/>
            </p14:xfrm>
          </p:contentPart>
        </mc:Choice>
        <mc:Fallback>
          <p:pic>
            <p:nvPicPr>
              <p:cNvPr id="11" name="Ink 10">
                <a:extLst>
                  <a:ext uri="{FF2B5EF4-FFF2-40B4-BE49-F238E27FC236}">
                    <a16:creationId xmlns:a16="http://schemas.microsoft.com/office/drawing/2014/main" id="{FE26EACA-FFFD-40DC-AAA2-27C6B4C125FF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754035" y="1193745"/>
                <a:ext cx="1208520" cy="750600"/>
              </a:xfrm>
              <a:prstGeom prst="rect">
                <a:avLst/>
              </a:prstGeom>
            </p:spPr>
          </p:pic>
        </mc:Fallback>
      </mc:AlternateContent>
      <p:grpSp>
        <p:nvGrpSpPr>
          <p:cNvPr id="18" name="Group 17">
            <a:extLst>
              <a:ext uri="{FF2B5EF4-FFF2-40B4-BE49-F238E27FC236}">
                <a16:creationId xmlns:a16="http://schemas.microsoft.com/office/drawing/2014/main" id="{A86EBE4F-9F88-4AE1-9AC3-BE636D2DE0FA}"/>
              </a:ext>
            </a:extLst>
          </p:cNvPr>
          <p:cNvGrpSpPr/>
          <p:nvPr/>
        </p:nvGrpSpPr>
        <p:grpSpPr>
          <a:xfrm>
            <a:off x="5989755" y="1981065"/>
            <a:ext cx="1479960" cy="630360"/>
            <a:chOff x="5989755" y="1981065"/>
            <a:chExt cx="1479960" cy="6303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1">
              <p14:nvContentPartPr>
                <p14:cNvPr id="15" name="Ink 14">
                  <a:extLst>
                    <a:ext uri="{FF2B5EF4-FFF2-40B4-BE49-F238E27FC236}">
                      <a16:creationId xmlns:a16="http://schemas.microsoft.com/office/drawing/2014/main" id="{2FAF6A4D-6F1A-4B3B-AD48-2FC3F77CF851}"/>
                    </a:ext>
                  </a:extLst>
                </p14:cNvPr>
                <p14:cNvContentPartPr/>
                <p14:nvPr/>
              </p14:nvContentPartPr>
              <p14:xfrm>
                <a:off x="5989755" y="2044425"/>
                <a:ext cx="1375560" cy="529200"/>
              </p14:xfrm>
            </p:contentPart>
          </mc:Choice>
          <mc:Fallback>
            <p:pic>
              <p:nvPicPr>
                <p:cNvPr id="15" name="Ink 14">
                  <a:extLst>
                    <a:ext uri="{FF2B5EF4-FFF2-40B4-BE49-F238E27FC236}">
                      <a16:creationId xmlns:a16="http://schemas.microsoft.com/office/drawing/2014/main" id="{2FAF6A4D-6F1A-4B3B-AD48-2FC3F77CF851}"/>
                    </a:ext>
                  </a:extLst>
                </p:cNvPr>
                <p:cNvPicPr/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5972115" y="2026425"/>
                  <a:ext cx="1411200" cy="564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3">
              <p14:nvContentPartPr>
                <p14:cNvPr id="16" name="Ink 15">
                  <a:extLst>
                    <a:ext uri="{FF2B5EF4-FFF2-40B4-BE49-F238E27FC236}">
                      <a16:creationId xmlns:a16="http://schemas.microsoft.com/office/drawing/2014/main" id="{95B939A8-EF45-4C1C-A48D-28412200D31A}"/>
                    </a:ext>
                  </a:extLst>
                </p14:cNvPr>
                <p14:cNvContentPartPr/>
                <p14:nvPr/>
              </p14:nvContentPartPr>
              <p14:xfrm>
                <a:off x="7009275" y="2440785"/>
                <a:ext cx="460440" cy="170640"/>
              </p14:xfrm>
            </p:contentPart>
          </mc:Choice>
          <mc:Fallback>
            <p:pic>
              <p:nvPicPr>
                <p:cNvPr id="16" name="Ink 15">
                  <a:extLst>
                    <a:ext uri="{FF2B5EF4-FFF2-40B4-BE49-F238E27FC236}">
                      <a16:creationId xmlns:a16="http://schemas.microsoft.com/office/drawing/2014/main" id="{95B939A8-EF45-4C1C-A48D-28412200D31A}"/>
                    </a:ext>
                  </a:extLst>
                </p:cNvPr>
                <p:cNvPicPr/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6991275" y="2423145"/>
                  <a:ext cx="496080" cy="206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">
              <p14:nvContentPartPr>
                <p14:cNvPr id="17" name="Ink 16">
                  <a:extLst>
                    <a:ext uri="{FF2B5EF4-FFF2-40B4-BE49-F238E27FC236}">
                      <a16:creationId xmlns:a16="http://schemas.microsoft.com/office/drawing/2014/main" id="{AFD22AFB-9DE5-4561-B94C-D31588C823C1}"/>
                    </a:ext>
                  </a:extLst>
                </p14:cNvPr>
                <p14:cNvContentPartPr/>
                <p14:nvPr/>
              </p14:nvContentPartPr>
              <p14:xfrm>
                <a:off x="6150315" y="1981065"/>
                <a:ext cx="52200" cy="67680"/>
              </p14:xfrm>
            </p:contentPart>
          </mc:Choice>
          <mc:Fallback>
            <p:pic>
              <p:nvPicPr>
                <p:cNvPr id="17" name="Ink 16">
                  <a:extLst>
                    <a:ext uri="{FF2B5EF4-FFF2-40B4-BE49-F238E27FC236}">
                      <a16:creationId xmlns:a16="http://schemas.microsoft.com/office/drawing/2014/main" id="{AFD22AFB-9DE5-4561-B94C-D31588C823C1}"/>
                    </a:ext>
                  </a:extLst>
                </p:cNvPr>
                <p:cNvPicPr/>
                <p:nvPr/>
              </p:nvPicPr>
              <p:blipFill>
                <a:blip r:embed="rId16"/>
                <a:stretch>
                  <a:fillRect/>
                </a:stretch>
              </p:blipFill>
              <p:spPr>
                <a:xfrm>
                  <a:off x="6132675" y="1963065"/>
                  <a:ext cx="87840" cy="1033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3B194EE-02B2-4591-97E5-7BA016EC9F06}"/>
              </a:ext>
            </a:extLst>
          </p:cNvPr>
          <p:cNvGrpSpPr/>
          <p:nvPr/>
        </p:nvGrpSpPr>
        <p:grpSpPr>
          <a:xfrm>
            <a:off x="4560195" y="4012185"/>
            <a:ext cx="2463480" cy="921960"/>
            <a:chOff x="4560195" y="4012185"/>
            <a:chExt cx="2463480" cy="9219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7">
              <p14:nvContentPartPr>
                <p14:cNvPr id="4" name="Ink 3">
                  <a:extLst>
                    <a:ext uri="{FF2B5EF4-FFF2-40B4-BE49-F238E27FC236}">
                      <a16:creationId xmlns:a16="http://schemas.microsoft.com/office/drawing/2014/main" id="{77D19994-24B7-4C65-8E72-BC175F62DA3C}"/>
                    </a:ext>
                  </a:extLst>
                </p14:cNvPr>
                <p14:cNvContentPartPr/>
                <p14:nvPr/>
              </p14:nvContentPartPr>
              <p14:xfrm>
                <a:off x="5726955" y="4178865"/>
                <a:ext cx="1296720" cy="206280"/>
              </p14:xfrm>
            </p:contentPart>
          </mc:Choice>
          <mc:Fallback>
            <p:pic>
              <p:nvPicPr>
                <p:cNvPr id="4" name="Ink 3">
                  <a:extLst>
                    <a:ext uri="{FF2B5EF4-FFF2-40B4-BE49-F238E27FC236}">
                      <a16:creationId xmlns:a16="http://schemas.microsoft.com/office/drawing/2014/main" id="{77D19994-24B7-4C65-8E72-BC175F62DA3C}"/>
                    </a:ext>
                  </a:extLst>
                </p:cNvPr>
                <p:cNvPicPr/>
                <p:nvPr/>
              </p:nvPicPr>
              <p:blipFill>
                <a:blip r:embed="rId18"/>
                <a:stretch>
                  <a:fillRect/>
                </a:stretch>
              </p:blipFill>
              <p:spPr>
                <a:xfrm>
                  <a:off x="5709315" y="4160865"/>
                  <a:ext cx="1332360" cy="241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9">
              <p14:nvContentPartPr>
                <p14:cNvPr id="9" name="Ink 8">
                  <a:extLst>
                    <a:ext uri="{FF2B5EF4-FFF2-40B4-BE49-F238E27FC236}">
                      <a16:creationId xmlns:a16="http://schemas.microsoft.com/office/drawing/2014/main" id="{53AC41EF-039C-4F22-BCC8-7150ADAB5762}"/>
                    </a:ext>
                  </a:extLst>
                </p14:cNvPr>
                <p14:cNvContentPartPr/>
                <p14:nvPr/>
              </p14:nvContentPartPr>
              <p14:xfrm>
                <a:off x="5721915" y="4012185"/>
                <a:ext cx="718920" cy="297000"/>
              </p14:xfrm>
            </p:contentPart>
          </mc:Choice>
          <mc:Fallback>
            <p:pic>
              <p:nvPicPr>
                <p:cNvPr id="9" name="Ink 8">
                  <a:extLst>
                    <a:ext uri="{FF2B5EF4-FFF2-40B4-BE49-F238E27FC236}">
                      <a16:creationId xmlns:a16="http://schemas.microsoft.com/office/drawing/2014/main" id="{53AC41EF-039C-4F22-BCC8-7150ADAB5762}"/>
                    </a:ext>
                  </a:extLst>
                </p:cNvPr>
                <p:cNvPicPr/>
                <p:nvPr/>
              </p:nvPicPr>
              <p:blipFill>
                <a:blip r:embed="rId20"/>
                <a:stretch>
                  <a:fillRect/>
                </a:stretch>
              </p:blipFill>
              <p:spPr>
                <a:xfrm>
                  <a:off x="5704275" y="3994185"/>
                  <a:ext cx="754560" cy="332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1">
              <p14:nvContentPartPr>
                <p14:cNvPr id="19" name="Ink 18">
                  <a:extLst>
                    <a:ext uri="{FF2B5EF4-FFF2-40B4-BE49-F238E27FC236}">
                      <a16:creationId xmlns:a16="http://schemas.microsoft.com/office/drawing/2014/main" id="{762D2E38-8336-4FDC-899C-B303564634E4}"/>
                    </a:ext>
                  </a:extLst>
                </p14:cNvPr>
                <p14:cNvContentPartPr/>
                <p14:nvPr/>
              </p14:nvContentPartPr>
              <p14:xfrm>
                <a:off x="4560195" y="4408185"/>
                <a:ext cx="1360800" cy="525960"/>
              </p14:xfrm>
            </p:contentPart>
          </mc:Choice>
          <mc:Fallback>
            <p:pic>
              <p:nvPicPr>
                <p:cNvPr id="19" name="Ink 18">
                  <a:extLst>
                    <a:ext uri="{FF2B5EF4-FFF2-40B4-BE49-F238E27FC236}">
                      <a16:creationId xmlns:a16="http://schemas.microsoft.com/office/drawing/2014/main" id="{762D2E38-8336-4FDC-899C-B303564634E4}"/>
                    </a:ext>
                  </a:extLst>
                </p:cNvPr>
                <p:cNvPicPr/>
                <p:nvPr/>
              </p:nvPicPr>
              <p:blipFill>
                <a:blip r:embed="rId22"/>
                <a:stretch>
                  <a:fillRect/>
                </a:stretch>
              </p:blipFill>
              <p:spPr>
                <a:xfrm>
                  <a:off x="4542195" y="4390545"/>
                  <a:ext cx="1396440" cy="5616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3BFB9C9-285F-4BBC-9AF1-A35298B9C268}"/>
              </a:ext>
            </a:extLst>
          </p:cNvPr>
          <p:cNvGrpSpPr/>
          <p:nvPr/>
        </p:nvGrpSpPr>
        <p:grpSpPr>
          <a:xfrm>
            <a:off x="5824875" y="3574785"/>
            <a:ext cx="1212480" cy="328320"/>
            <a:chOff x="5824875" y="3574785"/>
            <a:chExt cx="1212480" cy="3283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3">
              <p14:nvContentPartPr>
                <p14:cNvPr id="21" name="Ink 20">
                  <a:extLst>
                    <a:ext uri="{FF2B5EF4-FFF2-40B4-BE49-F238E27FC236}">
                      <a16:creationId xmlns:a16="http://schemas.microsoft.com/office/drawing/2014/main" id="{E243B406-5963-4147-98CF-1D66F279E383}"/>
                    </a:ext>
                  </a:extLst>
                </p14:cNvPr>
                <p14:cNvContentPartPr/>
                <p14:nvPr/>
              </p14:nvContentPartPr>
              <p14:xfrm>
                <a:off x="5824875" y="3621945"/>
                <a:ext cx="1084680" cy="37800"/>
              </p14:xfrm>
            </p:contentPart>
          </mc:Choice>
          <mc:Fallback>
            <p:pic>
              <p:nvPicPr>
                <p:cNvPr id="21" name="Ink 20">
                  <a:extLst>
                    <a:ext uri="{FF2B5EF4-FFF2-40B4-BE49-F238E27FC236}">
                      <a16:creationId xmlns:a16="http://schemas.microsoft.com/office/drawing/2014/main" id="{E243B406-5963-4147-98CF-1D66F279E383}"/>
                    </a:ext>
                  </a:extLst>
                </p:cNvPr>
                <p:cNvPicPr/>
                <p:nvPr/>
              </p:nvPicPr>
              <p:blipFill>
                <a:blip r:embed="rId24"/>
                <a:stretch>
                  <a:fillRect/>
                </a:stretch>
              </p:blipFill>
              <p:spPr>
                <a:xfrm>
                  <a:off x="5807235" y="3604305"/>
                  <a:ext cx="1120320" cy="73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5">
              <p14:nvContentPartPr>
                <p14:cNvPr id="22" name="Ink 21">
                  <a:extLst>
                    <a:ext uri="{FF2B5EF4-FFF2-40B4-BE49-F238E27FC236}">
                      <a16:creationId xmlns:a16="http://schemas.microsoft.com/office/drawing/2014/main" id="{16C960A9-9E5C-4259-9189-A04762FCC815}"/>
                    </a:ext>
                  </a:extLst>
                </p14:cNvPr>
                <p14:cNvContentPartPr/>
                <p14:nvPr/>
              </p14:nvContentPartPr>
              <p14:xfrm>
                <a:off x="6061035" y="3770985"/>
                <a:ext cx="767880" cy="25560"/>
              </p14:xfrm>
            </p:contentPart>
          </mc:Choice>
          <mc:Fallback>
            <p:pic>
              <p:nvPicPr>
                <p:cNvPr id="22" name="Ink 21">
                  <a:extLst>
                    <a:ext uri="{FF2B5EF4-FFF2-40B4-BE49-F238E27FC236}">
                      <a16:creationId xmlns:a16="http://schemas.microsoft.com/office/drawing/2014/main" id="{16C960A9-9E5C-4259-9189-A04762FCC815}"/>
                    </a:ext>
                  </a:extLst>
                </p:cNvPr>
                <p:cNvPicPr/>
                <p:nvPr/>
              </p:nvPicPr>
              <p:blipFill>
                <a:blip r:embed="rId26"/>
                <a:stretch>
                  <a:fillRect/>
                </a:stretch>
              </p:blipFill>
              <p:spPr>
                <a:xfrm>
                  <a:off x="6043035" y="3753345"/>
                  <a:ext cx="803520" cy="61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7">
              <p14:nvContentPartPr>
                <p14:cNvPr id="23" name="Ink 22">
                  <a:extLst>
                    <a:ext uri="{FF2B5EF4-FFF2-40B4-BE49-F238E27FC236}">
                      <a16:creationId xmlns:a16="http://schemas.microsoft.com/office/drawing/2014/main" id="{CF7FB247-8461-4436-B414-0B1F0F1A036D}"/>
                    </a:ext>
                  </a:extLst>
                </p14:cNvPr>
                <p14:cNvContentPartPr/>
                <p14:nvPr/>
              </p14:nvContentPartPr>
              <p14:xfrm>
                <a:off x="5849715" y="3582705"/>
                <a:ext cx="279360" cy="320400"/>
              </p14:xfrm>
            </p:contentPart>
          </mc:Choice>
          <mc:Fallback>
            <p:pic>
              <p:nvPicPr>
                <p:cNvPr id="23" name="Ink 22">
                  <a:extLst>
                    <a:ext uri="{FF2B5EF4-FFF2-40B4-BE49-F238E27FC236}">
                      <a16:creationId xmlns:a16="http://schemas.microsoft.com/office/drawing/2014/main" id="{CF7FB247-8461-4436-B414-0B1F0F1A036D}"/>
                    </a:ext>
                  </a:extLst>
                </p:cNvPr>
                <p:cNvPicPr/>
                <p:nvPr/>
              </p:nvPicPr>
              <p:blipFill>
                <a:blip r:embed="rId28"/>
                <a:stretch>
                  <a:fillRect/>
                </a:stretch>
              </p:blipFill>
              <p:spPr>
                <a:xfrm>
                  <a:off x="5832075" y="3564705"/>
                  <a:ext cx="315000" cy="356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9">
              <p14:nvContentPartPr>
                <p14:cNvPr id="24" name="Ink 23">
                  <a:extLst>
                    <a:ext uri="{FF2B5EF4-FFF2-40B4-BE49-F238E27FC236}">
                      <a16:creationId xmlns:a16="http://schemas.microsoft.com/office/drawing/2014/main" id="{4F4DA1E6-E2A2-4700-996F-16F56A34DCA0}"/>
                    </a:ext>
                  </a:extLst>
                </p14:cNvPr>
                <p14:cNvContentPartPr/>
                <p14:nvPr/>
              </p14:nvContentPartPr>
              <p14:xfrm>
                <a:off x="6845115" y="3574785"/>
                <a:ext cx="192240" cy="323640"/>
              </p14:xfrm>
            </p:contentPart>
          </mc:Choice>
          <mc:Fallback>
            <p:pic>
              <p:nvPicPr>
                <p:cNvPr id="24" name="Ink 23">
                  <a:extLst>
                    <a:ext uri="{FF2B5EF4-FFF2-40B4-BE49-F238E27FC236}">
                      <a16:creationId xmlns:a16="http://schemas.microsoft.com/office/drawing/2014/main" id="{4F4DA1E6-E2A2-4700-996F-16F56A34DCA0}"/>
                    </a:ext>
                  </a:extLst>
                </p:cNvPr>
                <p:cNvPicPr/>
                <p:nvPr/>
              </p:nvPicPr>
              <p:blipFill>
                <a:blip r:embed="rId30"/>
                <a:stretch>
                  <a:fillRect/>
                </a:stretch>
              </p:blipFill>
              <p:spPr>
                <a:xfrm>
                  <a:off x="6827115" y="3557145"/>
                  <a:ext cx="227880" cy="3592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F618CDC-6E02-4179-8C84-A3D9588ED54D}"/>
              </a:ext>
            </a:extLst>
          </p:cNvPr>
          <p:cNvGrpSpPr/>
          <p:nvPr/>
        </p:nvGrpSpPr>
        <p:grpSpPr>
          <a:xfrm>
            <a:off x="2132355" y="3812025"/>
            <a:ext cx="2209320" cy="535320"/>
            <a:chOff x="2132355" y="3812025"/>
            <a:chExt cx="2209320" cy="5353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31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2A67E78B-F312-4202-9BAD-5517F2F8B1DD}"/>
                    </a:ext>
                  </a:extLst>
                </p14:cNvPr>
                <p14:cNvContentPartPr/>
                <p14:nvPr/>
              </p14:nvContentPartPr>
              <p14:xfrm>
                <a:off x="2599275" y="3867105"/>
                <a:ext cx="321480" cy="398160"/>
              </p14:xfrm>
            </p:contentPart>
          </mc:Choice>
          <mc:Fallback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2A67E78B-F312-4202-9BAD-5517F2F8B1DD}"/>
                    </a:ext>
                  </a:extLst>
                </p:cNvPr>
                <p:cNvPicPr/>
                <p:nvPr/>
              </p:nvPicPr>
              <p:blipFill>
                <a:blip r:embed="rId32"/>
                <a:stretch>
                  <a:fillRect/>
                </a:stretch>
              </p:blipFill>
              <p:spPr>
                <a:xfrm>
                  <a:off x="2581635" y="3849105"/>
                  <a:ext cx="357120" cy="433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3">
              <p14:nvContentPartPr>
                <p14:cNvPr id="13" name="Ink 12">
                  <a:extLst>
                    <a:ext uri="{FF2B5EF4-FFF2-40B4-BE49-F238E27FC236}">
                      <a16:creationId xmlns:a16="http://schemas.microsoft.com/office/drawing/2014/main" id="{6CB9E349-40FC-4D8E-90AC-B578D1EA08EF}"/>
                    </a:ext>
                  </a:extLst>
                </p14:cNvPr>
                <p14:cNvContentPartPr/>
                <p14:nvPr/>
              </p14:nvContentPartPr>
              <p14:xfrm>
                <a:off x="2792235" y="3842985"/>
                <a:ext cx="425880" cy="474840"/>
              </p14:xfrm>
            </p:contentPart>
          </mc:Choice>
          <mc:Fallback>
            <p:pic>
              <p:nvPicPr>
                <p:cNvPr id="13" name="Ink 12">
                  <a:extLst>
                    <a:ext uri="{FF2B5EF4-FFF2-40B4-BE49-F238E27FC236}">
                      <a16:creationId xmlns:a16="http://schemas.microsoft.com/office/drawing/2014/main" id="{6CB9E349-40FC-4D8E-90AC-B578D1EA08EF}"/>
                    </a:ext>
                  </a:extLst>
                </p:cNvPr>
                <p:cNvPicPr/>
                <p:nvPr/>
              </p:nvPicPr>
              <p:blipFill>
                <a:blip r:embed="rId34"/>
                <a:stretch>
                  <a:fillRect/>
                </a:stretch>
              </p:blipFill>
              <p:spPr>
                <a:xfrm>
                  <a:off x="2774595" y="3825345"/>
                  <a:ext cx="461520" cy="510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5">
              <p14:nvContentPartPr>
                <p14:cNvPr id="26" name="Ink 25">
                  <a:extLst>
                    <a:ext uri="{FF2B5EF4-FFF2-40B4-BE49-F238E27FC236}">
                      <a16:creationId xmlns:a16="http://schemas.microsoft.com/office/drawing/2014/main" id="{4CA7C661-A489-43F9-9CDD-29A485751A5C}"/>
                    </a:ext>
                  </a:extLst>
                </p14:cNvPr>
                <p14:cNvContentPartPr/>
                <p14:nvPr/>
              </p14:nvContentPartPr>
              <p14:xfrm>
                <a:off x="3919035" y="4082385"/>
                <a:ext cx="204120" cy="12240"/>
              </p14:xfrm>
            </p:contentPart>
          </mc:Choice>
          <mc:Fallback>
            <p:pic>
              <p:nvPicPr>
                <p:cNvPr id="26" name="Ink 25">
                  <a:extLst>
                    <a:ext uri="{FF2B5EF4-FFF2-40B4-BE49-F238E27FC236}">
                      <a16:creationId xmlns:a16="http://schemas.microsoft.com/office/drawing/2014/main" id="{4CA7C661-A489-43F9-9CDD-29A485751A5C}"/>
                    </a:ext>
                  </a:extLst>
                </p:cNvPr>
                <p:cNvPicPr/>
                <p:nvPr/>
              </p:nvPicPr>
              <p:blipFill>
                <a:blip r:embed="rId36"/>
                <a:stretch>
                  <a:fillRect/>
                </a:stretch>
              </p:blipFill>
              <p:spPr>
                <a:xfrm>
                  <a:off x="3901395" y="4064745"/>
                  <a:ext cx="239760" cy="47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7">
              <p14:nvContentPartPr>
                <p14:cNvPr id="27" name="Ink 26">
                  <a:extLst>
                    <a:ext uri="{FF2B5EF4-FFF2-40B4-BE49-F238E27FC236}">
                      <a16:creationId xmlns:a16="http://schemas.microsoft.com/office/drawing/2014/main" id="{0514ED2D-F8C7-432D-A925-4B268DAFB882}"/>
                    </a:ext>
                  </a:extLst>
                </p14:cNvPr>
                <p14:cNvContentPartPr/>
                <p14:nvPr/>
              </p14:nvContentPartPr>
              <p14:xfrm>
                <a:off x="4020555" y="4219545"/>
                <a:ext cx="95400" cy="14040"/>
              </p14:xfrm>
            </p:contentPart>
          </mc:Choice>
          <mc:Fallback>
            <p:pic>
              <p:nvPicPr>
                <p:cNvPr id="27" name="Ink 26">
                  <a:extLst>
                    <a:ext uri="{FF2B5EF4-FFF2-40B4-BE49-F238E27FC236}">
                      <a16:creationId xmlns:a16="http://schemas.microsoft.com/office/drawing/2014/main" id="{0514ED2D-F8C7-432D-A925-4B268DAFB882}"/>
                    </a:ext>
                  </a:extLst>
                </p:cNvPr>
                <p:cNvPicPr/>
                <p:nvPr/>
              </p:nvPicPr>
              <p:blipFill>
                <a:blip r:embed="rId38"/>
                <a:stretch>
                  <a:fillRect/>
                </a:stretch>
              </p:blipFill>
              <p:spPr>
                <a:xfrm>
                  <a:off x="4002915" y="4201545"/>
                  <a:ext cx="131040" cy="49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9">
              <p14:nvContentPartPr>
                <p14:cNvPr id="28" name="Ink 27">
                  <a:extLst>
                    <a:ext uri="{FF2B5EF4-FFF2-40B4-BE49-F238E27FC236}">
                      <a16:creationId xmlns:a16="http://schemas.microsoft.com/office/drawing/2014/main" id="{9FEE7AAA-3B3C-4339-BE80-B670D90E9B7D}"/>
                    </a:ext>
                  </a:extLst>
                </p14:cNvPr>
                <p14:cNvContentPartPr/>
                <p14:nvPr/>
              </p14:nvContentPartPr>
              <p14:xfrm>
                <a:off x="3852795" y="3932265"/>
                <a:ext cx="488880" cy="415080"/>
              </p14:xfrm>
            </p:contentPart>
          </mc:Choice>
          <mc:Fallback>
            <p:pic>
              <p:nvPicPr>
                <p:cNvPr id="28" name="Ink 27">
                  <a:extLst>
                    <a:ext uri="{FF2B5EF4-FFF2-40B4-BE49-F238E27FC236}">
                      <a16:creationId xmlns:a16="http://schemas.microsoft.com/office/drawing/2014/main" id="{9FEE7AAA-3B3C-4339-BE80-B670D90E9B7D}"/>
                    </a:ext>
                  </a:extLst>
                </p:cNvPr>
                <p:cNvPicPr/>
                <p:nvPr/>
              </p:nvPicPr>
              <p:blipFill>
                <a:blip r:embed="rId40"/>
                <a:stretch>
                  <a:fillRect/>
                </a:stretch>
              </p:blipFill>
              <p:spPr>
                <a:xfrm>
                  <a:off x="3835155" y="3914625"/>
                  <a:ext cx="524520" cy="450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1">
              <p14:nvContentPartPr>
                <p14:cNvPr id="30" name="Ink 29">
                  <a:extLst>
                    <a:ext uri="{FF2B5EF4-FFF2-40B4-BE49-F238E27FC236}">
                      <a16:creationId xmlns:a16="http://schemas.microsoft.com/office/drawing/2014/main" id="{7EED69FF-3293-44C3-8138-4F2EFC4CF5B3}"/>
                    </a:ext>
                  </a:extLst>
                </p14:cNvPr>
                <p14:cNvContentPartPr/>
                <p14:nvPr/>
              </p14:nvContentPartPr>
              <p14:xfrm>
                <a:off x="2132355" y="3812025"/>
                <a:ext cx="1390680" cy="460440"/>
              </p14:xfrm>
            </p:contentPart>
          </mc:Choice>
          <mc:Fallback>
            <p:pic>
              <p:nvPicPr>
                <p:cNvPr id="30" name="Ink 29">
                  <a:extLst>
                    <a:ext uri="{FF2B5EF4-FFF2-40B4-BE49-F238E27FC236}">
                      <a16:creationId xmlns:a16="http://schemas.microsoft.com/office/drawing/2014/main" id="{7EED69FF-3293-44C3-8138-4F2EFC4CF5B3}"/>
                    </a:ext>
                  </a:extLst>
                </p:cNvPr>
                <p:cNvPicPr/>
                <p:nvPr/>
              </p:nvPicPr>
              <p:blipFill>
                <a:blip r:embed="rId42"/>
                <a:stretch>
                  <a:fillRect/>
                </a:stretch>
              </p:blipFill>
              <p:spPr>
                <a:xfrm>
                  <a:off x="2114355" y="3794025"/>
                  <a:ext cx="1426320" cy="49608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43">
            <p14:nvContentPartPr>
              <p14:cNvPr id="31" name="Ink 30">
                <a:extLst>
                  <a:ext uri="{FF2B5EF4-FFF2-40B4-BE49-F238E27FC236}">
                    <a16:creationId xmlns:a16="http://schemas.microsoft.com/office/drawing/2014/main" id="{7DDE32BA-C5D1-4165-8105-ACC36195E30A}"/>
                  </a:ext>
                </a:extLst>
              </p14:cNvPr>
              <p14:cNvContentPartPr/>
              <p14:nvPr/>
            </p14:nvContentPartPr>
            <p14:xfrm>
              <a:off x="3453195" y="2572905"/>
              <a:ext cx="262440" cy="808920"/>
            </p14:xfrm>
          </p:contentPart>
        </mc:Choice>
        <mc:Fallback>
          <p:pic>
            <p:nvPicPr>
              <p:cNvPr id="31" name="Ink 30">
                <a:extLst>
                  <a:ext uri="{FF2B5EF4-FFF2-40B4-BE49-F238E27FC236}">
                    <a16:creationId xmlns:a16="http://schemas.microsoft.com/office/drawing/2014/main" id="{7DDE32BA-C5D1-4165-8105-ACC36195E30A}"/>
                  </a:ext>
                </a:extLst>
              </p:cNvPr>
              <p:cNvPicPr/>
              <p:nvPr/>
            </p:nvPicPr>
            <p:blipFill>
              <a:blip r:embed="rId44"/>
              <a:stretch>
                <a:fillRect/>
              </a:stretch>
            </p:blipFill>
            <p:spPr>
              <a:xfrm>
                <a:off x="3435555" y="2555265"/>
                <a:ext cx="298080" cy="8445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45">
            <p14:nvContentPartPr>
              <p14:cNvPr id="33" name="Ink 32">
                <a:extLst>
                  <a:ext uri="{FF2B5EF4-FFF2-40B4-BE49-F238E27FC236}">
                    <a16:creationId xmlns:a16="http://schemas.microsoft.com/office/drawing/2014/main" id="{7DDDEE40-BCA4-488D-BF20-9A22F7801882}"/>
                  </a:ext>
                </a:extLst>
              </p14:cNvPr>
              <p14:cNvContentPartPr/>
              <p14:nvPr/>
            </p14:nvContentPartPr>
            <p14:xfrm>
              <a:off x="8168475" y="3070065"/>
              <a:ext cx="113400" cy="332280"/>
            </p14:xfrm>
          </p:contentPart>
        </mc:Choice>
        <mc:Fallback>
          <p:pic>
            <p:nvPicPr>
              <p:cNvPr id="33" name="Ink 32">
                <a:extLst>
                  <a:ext uri="{FF2B5EF4-FFF2-40B4-BE49-F238E27FC236}">
                    <a16:creationId xmlns:a16="http://schemas.microsoft.com/office/drawing/2014/main" id="{7DDDEE40-BCA4-488D-BF20-9A22F7801882}"/>
                  </a:ext>
                </a:extLst>
              </p:cNvPr>
              <p:cNvPicPr/>
              <p:nvPr/>
            </p:nvPicPr>
            <p:blipFill>
              <a:blip r:embed="rId46"/>
              <a:stretch>
                <a:fillRect/>
              </a:stretch>
            </p:blipFill>
            <p:spPr>
              <a:xfrm>
                <a:off x="8150475" y="3052065"/>
                <a:ext cx="149040" cy="3679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47">
            <p14:nvContentPartPr>
              <p14:cNvPr id="34" name="Ink 33">
                <a:extLst>
                  <a:ext uri="{FF2B5EF4-FFF2-40B4-BE49-F238E27FC236}">
                    <a16:creationId xmlns:a16="http://schemas.microsoft.com/office/drawing/2014/main" id="{D11FD891-0751-4EF4-B72E-FBC33A3FD961}"/>
                  </a:ext>
                </a:extLst>
              </p14:cNvPr>
              <p14:cNvContentPartPr/>
              <p14:nvPr/>
            </p14:nvContentPartPr>
            <p14:xfrm>
              <a:off x="4552635" y="5381985"/>
              <a:ext cx="8280" cy="10800"/>
            </p14:xfrm>
          </p:contentPart>
        </mc:Choice>
        <mc:Fallback>
          <p:pic>
            <p:nvPicPr>
              <p:cNvPr id="34" name="Ink 33">
                <a:extLst>
                  <a:ext uri="{FF2B5EF4-FFF2-40B4-BE49-F238E27FC236}">
                    <a16:creationId xmlns:a16="http://schemas.microsoft.com/office/drawing/2014/main" id="{D11FD891-0751-4EF4-B72E-FBC33A3FD961}"/>
                  </a:ext>
                </a:extLst>
              </p:cNvPr>
              <p:cNvPicPr/>
              <p:nvPr/>
            </p:nvPicPr>
            <p:blipFill>
              <a:blip r:embed="rId48"/>
              <a:stretch>
                <a:fillRect/>
              </a:stretch>
            </p:blipFill>
            <p:spPr>
              <a:xfrm>
                <a:off x="4534995" y="5363985"/>
                <a:ext cx="43920" cy="464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49">
            <p14:nvContentPartPr>
              <p14:cNvPr id="35" name="Ink 34">
                <a:extLst>
                  <a:ext uri="{FF2B5EF4-FFF2-40B4-BE49-F238E27FC236}">
                    <a16:creationId xmlns:a16="http://schemas.microsoft.com/office/drawing/2014/main" id="{E651C4A2-0225-4FCA-A131-43526444B90A}"/>
                  </a:ext>
                </a:extLst>
              </p14:cNvPr>
              <p14:cNvContentPartPr/>
              <p14:nvPr/>
            </p14:nvContentPartPr>
            <p14:xfrm>
              <a:off x="8810715" y="5340585"/>
              <a:ext cx="712080" cy="58680"/>
            </p14:xfrm>
          </p:contentPart>
        </mc:Choice>
        <mc:Fallback>
          <p:pic>
            <p:nvPicPr>
              <p:cNvPr id="35" name="Ink 34">
                <a:extLst>
                  <a:ext uri="{FF2B5EF4-FFF2-40B4-BE49-F238E27FC236}">
                    <a16:creationId xmlns:a16="http://schemas.microsoft.com/office/drawing/2014/main" id="{E651C4A2-0225-4FCA-A131-43526444B90A}"/>
                  </a:ext>
                </a:extLst>
              </p:cNvPr>
              <p:cNvPicPr/>
              <p:nvPr/>
            </p:nvPicPr>
            <p:blipFill>
              <a:blip r:embed="rId50"/>
              <a:stretch>
                <a:fillRect/>
              </a:stretch>
            </p:blipFill>
            <p:spPr>
              <a:xfrm>
                <a:off x="8792715" y="5322585"/>
                <a:ext cx="747720" cy="94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51">
            <p14:nvContentPartPr>
              <p14:cNvPr id="36" name="Ink 35">
                <a:extLst>
                  <a:ext uri="{FF2B5EF4-FFF2-40B4-BE49-F238E27FC236}">
                    <a16:creationId xmlns:a16="http://schemas.microsoft.com/office/drawing/2014/main" id="{EB134FB5-9972-4B3D-80B1-DE43FCADACEC}"/>
                  </a:ext>
                </a:extLst>
              </p14:cNvPr>
              <p14:cNvContentPartPr/>
              <p14:nvPr/>
            </p14:nvContentPartPr>
            <p14:xfrm>
              <a:off x="9300960" y="1464840"/>
              <a:ext cx="2670840" cy="1008720"/>
            </p14:xfrm>
          </p:contentPart>
        </mc:Choice>
        <mc:Fallback>
          <p:pic>
            <p:nvPicPr>
              <p:cNvPr id="36" name="Ink 35">
                <a:extLst>
                  <a:ext uri="{FF2B5EF4-FFF2-40B4-BE49-F238E27FC236}">
                    <a16:creationId xmlns:a16="http://schemas.microsoft.com/office/drawing/2014/main" id="{EB134FB5-9972-4B3D-80B1-DE43FCADACEC}"/>
                  </a:ext>
                </a:extLst>
              </p:cNvPr>
              <p:cNvPicPr/>
              <p:nvPr/>
            </p:nvPicPr>
            <p:blipFill>
              <a:blip r:embed="rId52"/>
              <a:stretch>
                <a:fillRect/>
              </a:stretch>
            </p:blipFill>
            <p:spPr>
              <a:xfrm>
                <a:off x="9291600" y="1455480"/>
                <a:ext cx="2689560" cy="102744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3018537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04D3CEB-822D-4E1D-AAD3-FB9CEC833D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2805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04D3CEB-822D-4E1D-AAD3-FB9CEC833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05D959EC-5F66-4DD0-B499-D998C902618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3399" y="261938"/>
            <a:ext cx="8277225" cy="5401240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6">
            <p14:nvContentPartPr>
              <p14:cNvPr id="2" name="Ink 1">
                <a:extLst>
                  <a:ext uri="{FF2B5EF4-FFF2-40B4-BE49-F238E27FC236}">
                    <a16:creationId xmlns:a16="http://schemas.microsoft.com/office/drawing/2014/main" id="{1DA5E382-C561-4BB3-81B4-D136F1294D63}"/>
                  </a:ext>
                </a:extLst>
              </p14:cNvPr>
              <p14:cNvContentPartPr/>
              <p14:nvPr/>
            </p14:nvContentPartPr>
            <p14:xfrm>
              <a:off x="2324160" y="410040"/>
              <a:ext cx="9357840" cy="4293360"/>
            </p14:xfrm>
          </p:contentPart>
        </mc:Choice>
        <mc:Fallback>
          <p:pic>
            <p:nvPicPr>
              <p:cNvPr id="2" name="Ink 1">
                <a:extLst>
                  <a:ext uri="{FF2B5EF4-FFF2-40B4-BE49-F238E27FC236}">
                    <a16:creationId xmlns:a16="http://schemas.microsoft.com/office/drawing/2014/main" id="{1DA5E382-C561-4BB3-81B4-D136F1294D63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2314800" y="400680"/>
                <a:ext cx="9376560" cy="431208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98611654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F2D7719-C280-4375-9416-B16EF9CF9D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064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F2D7719-C280-4375-9416-B16EF9CF9D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58AA40-22D4-4003-9C45-FD06D4C1BA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423CDC7-122F-4CB8-91E2-51D60710C7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437205" y="76200"/>
            <a:ext cx="12192000" cy="6858000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BF11627F-F0BA-4229-AA08-4981E69D5E4A}"/>
              </a:ext>
            </a:extLst>
          </p:cNvPr>
          <p:cNvGrpSpPr/>
          <p:nvPr/>
        </p:nvGrpSpPr>
        <p:grpSpPr>
          <a:xfrm>
            <a:off x="9315075" y="1482105"/>
            <a:ext cx="480600" cy="243360"/>
            <a:chOff x="9315075" y="1482105"/>
            <a:chExt cx="480600" cy="2433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">
              <p14:nvContentPartPr>
                <p14:cNvPr id="11" name="Ink 10">
                  <a:extLst>
                    <a:ext uri="{FF2B5EF4-FFF2-40B4-BE49-F238E27FC236}">
                      <a16:creationId xmlns:a16="http://schemas.microsoft.com/office/drawing/2014/main" id="{F5D791CD-3685-4341-AF27-3756F3E548D3}"/>
                    </a:ext>
                  </a:extLst>
                </p14:cNvPr>
                <p14:cNvContentPartPr/>
                <p14:nvPr/>
              </p14:nvContentPartPr>
              <p14:xfrm>
                <a:off x="9315075" y="1482105"/>
                <a:ext cx="183960" cy="243360"/>
              </p14:xfrm>
            </p:contentPart>
          </mc:Choice>
          <mc:Fallback xmlns="">
            <p:pic>
              <p:nvPicPr>
                <p:cNvPr id="11" name="Ink 10">
                  <a:extLst>
                    <a:ext uri="{FF2B5EF4-FFF2-40B4-BE49-F238E27FC236}">
                      <a16:creationId xmlns:a16="http://schemas.microsoft.com/office/drawing/2014/main" id="{F5D791CD-3685-4341-AF27-3756F3E548D3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9297435" y="1464105"/>
                  <a:ext cx="219600" cy="279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C9111E8D-1450-4826-B6F1-C39CA1601399}"/>
                    </a:ext>
                  </a:extLst>
                </p14:cNvPr>
                <p14:cNvContentPartPr/>
                <p14:nvPr/>
              </p14:nvContentPartPr>
              <p14:xfrm>
                <a:off x="9557355" y="1507305"/>
                <a:ext cx="238320" cy="214200"/>
              </p14:xfrm>
            </p:contentPart>
          </mc:Choice>
          <mc:Fallback xmlns=""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C9111E8D-1450-4826-B6F1-C39CA1601399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9539355" y="1489305"/>
                  <a:ext cx="273960" cy="24984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10">
            <p14:nvContentPartPr>
              <p14:cNvPr id="14" name="Ink 13">
                <a:extLst>
                  <a:ext uri="{FF2B5EF4-FFF2-40B4-BE49-F238E27FC236}">
                    <a16:creationId xmlns:a16="http://schemas.microsoft.com/office/drawing/2014/main" id="{802B0326-0464-4C14-95A0-AE5051C69CDB}"/>
                  </a:ext>
                </a:extLst>
              </p14:cNvPr>
              <p14:cNvContentPartPr/>
              <p14:nvPr/>
            </p14:nvContentPartPr>
            <p14:xfrm>
              <a:off x="10003035" y="1583625"/>
              <a:ext cx="86760" cy="6840"/>
            </p14:xfrm>
          </p:contentPart>
        </mc:Choice>
        <mc:Fallback xmlns="">
          <p:pic>
            <p:nvPicPr>
              <p:cNvPr id="14" name="Ink 13">
                <a:extLst>
                  <a:ext uri="{FF2B5EF4-FFF2-40B4-BE49-F238E27FC236}">
                    <a16:creationId xmlns:a16="http://schemas.microsoft.com/office/drawing/2014/main" id="{802B0326-0464-4C14-95A0-AE5051C69CDB}"/>
                  </a:ext>
                </a:extLst>
              </p:cNvPr>
              <p:cNvPicPr/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9985035" y="1565985"/>
                <a:ext cx="122400" cy="42480"/>
              </a:xfrm>
              <a:prstGeom prst="rect">
                <a:avLst/>
              </a:prstGeom>
            </p:spPr>
          </p:pic>
        </mc:Fallback>
      </mc:AlternateContent>
      <p:grpSp>
        <p:nvGrpSpPr>
          <p:cNvPr id="27" name="Group 26">
            <a:extLst>
              <a:ext uri="{FF2B5EF4-FFF2-40B4-BE49-F238E27FC236}">
                <a16:creationId xmlns:a16="http://schemas.microsoft.com/office/drawing/2014/main" id="{C58BD399-BF0F-42BF-871A-4E8E6F1802F1}"/>
              </a:ext>
            </a:extLst>
          </p:cNvPr>
          <p:cNvGrpSpPr/>
          <p:nvPr/>
        </p:nvGrpSpPr>
        <p:grpSpPr>
          <a:xfrm>
            <a:off x="9462315" y="1925625"/>
            <a:ext cx="2292480" cy="489600"/>
            <a:chOff x="9462315" y="1925625"/>
            <a:chExt cx="2292480" cy="4896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2">
              <p14:nvContentPartPr>
                <p14:cNvPr id="15" name="Ink 14">
                  <a:extLst>
                    <a:ext uri="{FF2B5EF4-FFF2-40B4-BE49-F238E27FC236}">
                      <a16:creationId xmlns:a16="http://schemas.microsoft.com/office/drawing/2014/main" id="{1A820DDF-0303-433C-956A-3427471CAAA4}"/>
                    </a:ext>
                  </a:extLst>
                </p14:cNvPr>
                <p14:cNvContentPartPr/>
                <p14:nvPr/>
              </p14:nvContentPartPr>
              <p14:xfrm>
                <a:off x="9462315" y="1996905"/>
                <a:ext cx="207360" cy="204840"/>
              </p14:xfrm>
            </p:contentPart>
          </mc:Choice>
          <mc:Fallback xmlns="">
            <p:pic>
              <p:nvPicPr>
                <p:cNvPr id="15" name="Ink 14">
                  <a:extLst>
                    <a:ext uri="{FF2B5EF4-FFF2-40B4-BE49-F238E27FC236}">
                      <a16:creationId xmlns:a16="http://schemas.microsoft.com/office/drawing/2014/main" id="{1A820DDF-0303-433C-956A-3427471CAAA4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9444675" y="1979265"/>
                  <a:ext cx="243000" cy="240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">
              <p14:nvContentPartPr>
                <p14:cNvPr id="16" name="Ink 15">
                  <a:extLst>
                    <a:ext uri="{FF2B5EF4-FFF2-40B4-BE49-F238E27FC236}">
                      <a16:creationId xmlns:a16="http://schemas.microsoft.com/office/drawing/2014/main" id="{80277135-E490-4106-90FD-4E533A2F299D}"/>
                    </a:ext>
                  </a:extLst>
                </p14:cNvPr>
                <p14:cNvContentPartPr/>
                <p14:nvPr/>
              </p14:nvContentPartPr>
              <p14:xfrm>
                <a:off x="9807555" y="1992945"/>
                <a:ext cx="89640" cy="171360"/>
              </p14:xfrm>
            </p:contentPart>
          </mc:Choice>
          <mc:Fallback xmlns="">
            <p:pic>
              <p:nvPicPr>
                <p:cNvPr id="16" name="Ink 15">
                  <a:extLst>
                    <a:ext uri="{FF2B5EF4-FFF2-40B4-BE49-F238E27FC236}">
                      <a16:creationId xmlns:a16="http://schemas.microsoft.com/office/drawing/2014/main" id="{80277135-E490-4106-90FD-4E533A2F299D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9789915" y="1974945"/>
                  <a:ext cx="125280" cy="207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">
              <p14:nvContentPartPr>
                <p14:cNvPr id="17" name="Ink 16">
                  <a:extLst>
                    <a:ext uri="{FF2B5EF4-FFF2-40B4-BE49-F238E27FC236}">
                      <a16:creationId xmlns:a16="http://schemas.microsoft.com/office/drawing/2014/main" id="{9219D9D1-DCE1-4C22-9E2A-5DC0FBEA0D59}"/>
                    </a:ext>
                  </a:extLst>
                </p14:cNvPr>
                <p14:cNvContentPartPr/>
                <p14:nvPr/>
              </p14:nvContentPartPr>
              <p14:xfrm>
                <a:off x="9772635" y="2035425"/>
                <a:ext cx="95040" cy="176040"/>
              </p14:xfrm>
            </p:contentPart>
          </mc:Choice>
          <mc:Fallback xmlns="">
            <p:pic>
              <p:nvPicPr>
                <p:cNvPr id="17" name="Ink 16">
                  <a:extLst>
                    <a:ext uri="{FF2B5EF4-FFF2-40B4-BE49-F238E27FC236}">
                      <a16:creationId xmlns:a16="http://schemas.microsoft.com/office/drawing/2014/main" id="{9219D9D1-DCE1-4C22-9E2A-5DC0FBEA0D59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9754635" y="2017425"/>
                  <a:ext cx="130680" cy="211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">
              <p14:nvContentPartPr>
                <p14:cNvPr id="18" name="Ink 17">
                  <a:extLst>
                    <a:ext uri="{FF2B5EF4-FFF2-40B4-BE49-F238E27FC236}">
                      <a16:creationId xmlns:a16="http://schemas.microsoft.com/office/drawing/2014/main" id="{05D90E29-0174-4FAB-AA36-B245E2360D72}"/>
                    </a:ext>
                  </a:extLst>
                </p14:cNvPr>
                <p14:cNvContentPartPr/>
                <p14:nvPr/>
              </p14:nvContentPartPr>
              <p14:xfrm>
                <a:off x="9981435" y="2015985"/>
                <a:ext cx="214200" cy="107640"/>
              </p14:xfrm>
            </p:contentPart>
          </mc:Choice>
          <mc:Fallback xmlns="">
            <p:pic>
              <p:nvPicPr>
                <p:cNvPr id="18" name="Ink 17">
                  <a:extLst>
                    <a:ext uri="{FF2B5EF4-FFF2-40B4-BE49-F238E27FC236}">
                      <a16:creationId xmlns:a16="http://schemas.microsoft.com/office/drawing/2014/main" id="{05D90E29-0174-4FAB-AA36-B245E2360D72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9963435" y="1997985"/>
                  <a:ext cx="249840" cy="143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">
              <p14:nvContentPartPr>
                <p14:cNvPr id="19" name="Ink 18">
                  <a:extLst>
                    <a:ext uri="{FF2B5EF4-FFF2-40B4-BE49-F238E27FC236}">
                      <a16:creationId xmlns:a16="http://schemas.microsoft.com/office/drawing/2014/main" id="{6FA4300F-D59A-4CEF-8DF5-C7905AAC376C}"/>
                    </a:ext>
                  </a:extLst>
                </p14:cNvPr>
                <p14:cNvContentPartPr/>
                <p14:nvPr/>
              </p14:nvContentPartPr>
              <p14:xfrm>
                <a:off x="10247475" y="2009145"/>
                <a:ext cx="83160" cy="167040"/>
              </p14:xfrm>
            </p:contentPart>
          </mc:Choice>
          <mc:Fallback xmlns="">
            <p:pic>
              <p:nvPicPr>
                <p:cNvPr id="19" name="Ink 18">
                  <a:extLst>
                    <a:ext uri="{FF2B5EF4-FFF2-40B4-BE49-F238E27FC236}">
                      <a16:creationId xmlns:a16="http://schemas.microsoft.com/office/drawing/2014/main" id="{6FA4300F-D59A-4CEF-8DF5-C7905AAC376C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10229835" y="1991505"/>
                  <a:ext cx="118800" cy="202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">
              <p14:nvContentPartPr>
                <p14:cNvPr id="20" name="Ink 19">
                  <a:extLst>
                    <a:ext uri="{FF2B5EF4-FFF2-40B4-BE49-F238E27FC236}">
                      <a16:creationId xmlns:a16="http://schemas.microsoft.com/office/drawing/2014/main" id="{5FED8D3B-9D44-4F77-AADE-F743113E18D0}"/>
                    </a:ext>
                  </a:extLst>
                </p14:cNvPr>
                <p14:cNvContentPartPr/>
                <p14:nvPr/>
              </p14:nvContentPartPr>
              <p14:xfrm>
                <a:off x="10457355" y="1984665"/>
                <a:ext cx="235800" cy="136800"/>
              </p14:xfrm>
            </p:contentPart>
          </mc:Choice>
          <mc:Fallback xmlns="">
            <p:pic>
              <p:nvPicPr>
                <p:cNvPr id="20" name="Ink 19">
                  <a:extLst>
                    <a:ext uri="{FF2B5EF4-FFF2-40B4-BE49-F238E27FC236}">
                      <a16:creationId xmlns:a16="http://schemas.microsoft.com/office/drawing/2014/main" id="{5FED8D3B-9D44-4F77-AADE-F743113E18D0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10439355" y="1967025"/>
                  <a:ext cx="271440" cy="172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4">
              <p14:nvContentPartPr>
                <p14:cNvPr id="21" name="Ink 20">
                  <a:extLst>
                    <a:ext uri="{FF2B5EF4-FFF2-40B4-BE49-F238E27FC236}">
                      <a16:creationId xmlns:a16="http://schemas.microsoft.com/office/drawing/2014/main" id="{8AF0A39B-995C-48F4-A01C-0664823F1455}"/>
                    </a:ext>
                  </a:extLst>
                </p14:cNvPr>
                <p14:cNvContentPartPr/>
                <p14:nvPr/>
              </p14:nvContentPartPr>
              <p14:xfrm>
                <a:off x="10849755" y="2001945"/>
                <a:ext cx="251280" cy="161640"/>
              </p14:xfrm>
            </p:contentPart>
          </mc:Choice>
          <mc:Fallback xmlns="">
            <p:pic>
              <p:nvPicPr>
                <p:cNvPr id="21" name="Ink 20">
                  <a:extLst>
                    <a:ext uri="{FF2B5EF4-FFF2-40B4-BE49-F238E27FC236}">
                      <a16:creationId xmlns:a16="http://schemas.microsoft.com/office/drawing/2014/main" id="{8AF0A39B-995C-48F4-A01C-0664823F1455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10832115" y="1984305"/>
                  <a:ext cx="286920" cy="197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6">
              <p14:nvContentPartPr>
                <p14:cNvPr id="22" name="Ink 21">
                  <a:extLst>
                    <a:ext uri="{FF2B5EF4-FFF2-40B4-BE49-F238E27FC236}">
                      <a16:creationId xmlns:a16="http://schemas.microsoft.com/office/drawing/2014/main" id="{02E8123E-AA13-4D9F-8E30-CE0C39658CE0}"/>
                    </a:ext>
                  </a:extLst>
                </p14:cNvPr>
                <p14:cNvContentPartPr/>
                <p14:nvPr/>
              </p14:nvContentPartPr>
              <p14:xfrm>
                <a:off x="11189235" y="2026065"/>
                <a:ext cx="64800" cy="88920"/>
              </p14:xfrm>
            </p:contentPart>
          </mc:Choice>
          <mc:Fallback xmlns="">
            <p:pic>
              <p:nvPicPr>
                <p:cNvPr id="22" name="Ink 21">
                  <a:extLst>
                    <a:ext uri="{FF2B5EF4-FFF2-40B4-BE49-F238E27FC236}">
                      <a16:creationId xmlns:a16="http://schemas.microsoft.com/office/drawing/2014/main" id="{02E8123E-AA13-4D9F-8E30-CE0C39658CE0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11171235" y="2008425"/>
                  <a:ext cx="100440" cy="124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8">
              <p14:nvContentPartPr>
                <p14:cNvPr id="23" name="Ink 22">
                  <a:extLst>
                    <a:ext uri="{FF2B5EF4-FFF2-40B4-BE49-F238E27FC236}">
                      <a16:creationId xmlns:a16="http://schemas.microsoft.com/office/drawing/2014/main" id="{4E0E185A-7B82-4E0A-B7C7-072430C2EA50}"/>
                    </a:ext>
                  </a:extLst>
                </p14:cNvPr>
                <p14:cNvContentPartPr/>
                <p14:nvPr/>
              </p14:nvContentPartPr>
              <p14:xfrm>
                <a:off x="11268075" y="2015985"/>
                <a:ext cx="210600" cy="142200"/>
              </p14:xfrm>
            </p:contentPart>
          </mc:Choice>
          <mc:Fallback xmlns="">
            <p:pic>
              <p:nvPicPr>
                <p:cNvPr id="23" name="Ink 22">
                  <a:extLst>
                    <a:ext uri="{FF2B5EF4-FFF2-40B4-BE49-F238E27FC236}">
                      <a16:creationId xmlns:a16="http://schemas.microsoft.com/office/drawing/2014/main" id="{4E0E185A-7B82-4E0A-B7C7-072430C2EA50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11250075" y="1997985"/>
                  <a:ext cx="246240" cy="177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0">
              <p14:nvContentPartPr>
                <p14:cNvPr id="24" name="Ink 23">
                  <a:extLst>
                    <a:ext uri="{FF2B5EF4-FFF2-40B4-BE49-F238E27FC236}">
                      <a16:creationId xmlns:a16="http://schemas.microsoft.com/office/drawing/2014/main" id="{787B6026-7F42-434C-A608-46375A31E822}"/>
                    </a:ext>
                  </a:extLst>
                </p14:cNvPr>
                <p14:cNvContentPartPr/>
                <p14:nvPr/>
              </p14:nvContentPartPr>
              <p14:xfrm>
                <a:off x="11461395" y="1925625"/>
                <a:ext cx="29880" cy="57240"/>
              </p14:xfrm>
            </p:contentPart>
          </mc:Choice>
          <mc:Fallback xmlns="">
            <p:pic>
              <p:nvPicPr>
                <p:cNvPr id="24" name="Ink 23">
                  <a:extLst>
                    <a:ext uri="{FF2B5EF4-FFF2-40B4-BE49-F238E27FC236}">
                      <a16:creationId xmlns:a16="http://schemas.microsoft.com/office/drawing/2014/main" id="{787B6026-7F42-434C-A608-46375A31E822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11443755" y="1907985"/>
                  <a:ext cx="65520" cy="92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2">
              <p14:nvContentPartPr>
                <p14:cNvPr id="25" name="Ink 24">
                  <a:extLst>
                    <a:ext uri="{FF2B5EF4-FFF2-40B4-BE49-F238E27FC236}">
                      <a16:creationId xmlns:a16="http://schemas.microsoft.com/office/drawing/2014/main" id="{43DFC2D2-343C-46FD-9DB2-F28E073977C6}"/>
                    </a:ext>
                  </a:extLst>
                </p14:cNvPr>
                <p14:cNvContentPartPr/>
                <p14:nvPr/>
              </p14:nvContentPartPr>
              <p14:xfrm>
                <a:off x="11564355" y="2000865"/>
                <a:ext cx="190440" cy="150840"/>
              </p14:xfrm>
            </p:contentPart>
          </mc:Choice>
          <mc:Fallback xmlns="">
            <p:pic>
              <p:nvPicPr>
                <p:cNvPr id="25" name="Ink 24">
                  <a:extLst>
                    <a:ext uri="{FF2B5EF4-FFF2-40B4-BE49-F238E27FC236}">
                      <a16:creationId xmlns:a16="http://schemas.microsoft.com/office/drawing/2014/main" id="{43DFC2D2-343C-46FD-9DB2-F28E073977C6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11546715" y="1982865"/>
                  <a:ext cx="226080" cy="186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4">
              <p14:nvContentPartPr>
                <p14:cNvPr id="26" name="Ink 25">
                  <a:extLst>
                    <a:ext uri="{FF2B5EF4-FFF2-40B4-BE49-F238E27FC236}">
                      <a16:creationId xmlns:a16="http://schemas.microsoft.com/office/drawing/2014/main" id="{884DDC64-AFDF-45F4-A117-CD52C82EE293}"/>
                    </a:ext>
                  </a:extLst>
                </p14:cNvPr>
                <p14:cNvContentPartPr/>
                <p14:nvPr/>
              </p14:nvContentPartPr>
              <p14:xfrm>
                <a:off x="11429715" y="2245305"/>
                <a:ext cx="235800" cy="169920"/>
              </p14:xfrm>
            </p:contentPart>
          </mc:Choice>
          <mc:Fallback xmlns="">
            <p:pic>
              <p:nvPicPr>
                <p:cNvPr id="26" name="Ink 25">
                  <a:extLst>
                    <a:ext uri="{FF2B5EF4-FFF2-40B4-BE49-F238E27FC236}">
                      <a16:creationId xmlns:a16="http://schemas.microsoft.com/office/drawing/2014/main" id="{884DDC64-AFDF-45F4-A117-CD52C82EE293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11412075" y="2227305"/>
                  <a:ext cx="271440" cy="20556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36">
            <p14:nvContentPartPr>
              <p14:cNvPr id="28" name="Ink 27">
                <a:extLst>
                  <a:ext uri="{FF2B5EF4-FFF2-40B4-BE49-F238E27FC236}">
                    <a16:creationId xmlns:a16="http://schemas.microsoft.com/office/drawing/2014/main" id="{4B2D5555-F371-4B7B-BF79-DC09CA7535CC}"/>
                  </a:ext>
                </a:extLst>
              </p14:cNvPr>
              <p14:cNvContentPartPr/>
              <p14:nvPr/>
            </p14:nvContentPartPr>
            <p14:xfrm>
              <a:off x="1794315" y="4331865"/>
              <a:ext cx="1152720" cy="96480"/>
            </p14:xfrm>
          </p:contentPart>
        </mc:Choice>
        <mc:Fallback xmlns="">
          <p:pic>
            <p:nvPicPr>
              <p:cNvPr id="28" name="Ink 27">
                <a:extLst>
                  <a:ext uri="{FF2B5EF4-FFF2-40B4-BE49-F238E27FC236}">
                    <a16:creationId xmlns:a16="http://schemas.microsoft.com/office/drawing/2014/main" id="{4B2D5555-F371-4B7B-BF79-DC09CA7535CC}"/>
                  </a:ext>
                </a:extLst>
              </p:cNvPr>
              <p:cNvPicPr/>
              <p:nvPr/>
            </p:nvPicPr>
            <p:blipFill>
              <a:blip r:embed="rId37"/>
              <a:stretch>
                <a:fillRect/>
              </a:stretch>
            </p:blipFill>
            <p:spPr>
              <a:xfrm>
                <a:off x="1776675" y="4314225"/>
                <a:ext cx="1188360" cy="132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38">
            <p14:nvContentPartPr>
              <p14:cNvPr id="29" name="Ink 28">
                <a:extLst>
                  <a:ext uri="{FF2B5EF4-FFF2-40B4-BE49-F238E27FC236}">
                    <a16:creationId xmlns:a16="http://schemas.microsoft.com/office/drawing/2014/main" id="{D90849A3-E11F-4029-8E82-997C7C6ABDE9}"/>
                  </a:ext>
                </a:extLst>
              </p14:cNvPr>
              <p14:cNvContentPartPr/>
              <p14:nvPr/>
            </p14:nvContentPartPr>
            <p14:xfrm>
              <a:off x="9168195" y="4269945"/>
              <a:ext cx="661320" cy="43560"/>
            </p14:xfrm>
          </p:contentPart>
        </mc:Choice>
        <mc:Fallback xmlns="">
          <p:pic>
            <p:nvPicPr>
              <p:cNvPr id="29" name="Ink 28">
                <a:extLst>
                  <a:ext uri="{FF2B5EF4-FFF2-40B4-BE49-F238E27FC236}">
                    <a16:creationId xmlns:a16="http://schemas.microsoft.com/office/drawing/2014/main" id="{D90849A3-E11F-4029-8E82-997C7C6ABDE9}"/>
                  </a:ext>
                </a:extLst>
              </p:cNvPr>
              <p:cNvPicPr/>
              <p:nvPr/>
            </p:nvPicPr>
            <p:blipFill>
              <a:blip r:embed="rId39"/>
              <a:stretch>
                <a:fillRect/>
              </a:stretch>
            </p:blipFill>
            <p:spPr>
              <a:xfrm>
                <a:off x="9150195" y="4252305"/>
                <a:ext cx="696960" cy="792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0">
            <p14:nvContentPartPr>
              <p14:cNvPr id="30" name="Ink 29">
                <a:extLst>
                  <a:ext uri="{FF2B5EF4-FFF2-40B4-BE49-F238E27FC236}">
                    <a16:creationId xmlns:a16="http://schemas.microsoft.com/office/drawing/2014/main" id="{A2931805-2D0E-44B0-82DA-B32E71E776B5}"/>
                  </a:ext>
                </a:extLst>
              </p14:cNvPr>
              <p14:cNvContentPartPr/>
              <p14:nvPr/>
            </p14:nvContentPartPr>
            <p14:xfrm>
              <a:off x="5903355" y="6590505"/>
              <a:ext cx="579240" cy="72360"/>
            </p14:xfrm>
          </p:contentPart>
        </mc:Choice>
        <mc:Fallback xmlns="">
          <p:pic>
            <p:nvPicPr>
              <p:cNvPr id="30" name="Ink 29">
                <a:extLst>
                  <a:ext uri="{FF2B5EF4-FFF2-40B4-BE49-F238E27FC236}">
                    <a16:creationId xmlns:a16="http://schemas.microsoft.com/office/drawing/2014/main" id="{A2931805-2D0E-44B0-82DA-B32E71E776B5}"/>
                  </a:ext>
                </a:extLst>
              </p:cNvPr>
              <p:cNvPicPr/>
              <p:nvPr/>
            </p:nvPicPr>
            <p:blipFill>
              <a:blip r:embed="rId41"/>
              <a:stretch>
                <a:fillRect/>
              </a:stretch>
            </p:blipFill>
            <p:spPr>
              <a:xfrm>
                <a:off x="5885715" y="6572505"/>
                <a:ext cx="614880" cy="10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2">
            <p14:nvContentPartPr>
              <p14:cNvPr id="31" name="Ink 30">
                <a:extLst>
                  <a:ext uri="{FF2B5EF4-FFF2-40B4-BE49-F238E27FC236}">
                    <a16:creationId xmlns:a16="http://schemas.microsoft.com/office/drawing/2014/main" id="{074FE001-9D7E-49D3-9FAE-1A0AC3E10232}"/>
                  </a:ext>
                </a:extLst>
              </p14:cNvPr>
              <p14:cNvContentPartPr/>
              <p14:nvPr/>
            </p14:nvContentPartPr>
            <p14:xfrm>
              <a:off x="5008395" y="1241625"/>
              <a:ext cx="518040" cy="169560"/>
            </p14:xfrm>
          </p:contentPart>
        </mc:Choice>
        <mc:Fallback xmlns="">
          <p:pic>
            <p:nvPicPr>
              <p:cNvPr id="31" name="Ink 30">
                <a:extLst>
                  <a:ext uri="{FF2B5EF4-FFF2-40B4-BE49-F238E27FC236}">
                    <a16:creationId xmlns:a16="http://schemas.microsoft.com/office/drawing/2014/main" id="{074FE001-9D7E-49D3-9FAE-1A0AC3E10232}"/>
                  </a:ext>
                </a:extLst>
              </p:cNvPr>
              <p:cNvPicPr/>
              <p:nvPr/>
            </p:nvPicPr>
            <p:blipFill>
              <a:blip r:embed="rId43"/>
              <a:stretch>
                <a:fillRect/>
              </a:stretch>
            </p:blipFill>
            <p:spPr>
              <a:xfrm>
                <a:off x="4990755" y="1223625"/>
                <a:ext cx="553680" cy="205200"/>
              </a:xfrm>
              <a:prstGeom prst="rect">
                <a:avLst/>
              </a:prstGeom>
            </p:spPr>
          </p:pic>
        </mc:Fallback>
      </mc:AlternateContent>
      <p:grpSp>
        <p:nvGrpSpPr>
          <p:cNvPr id="61" name="Group 60">
            <a:extLst>
              <a:ext uri="{FF2B5EF4-FFF2-40B4-BE49-F238E27FC236}">
                <a16:creationId xmlns:a16="http://schemas.microsoft.com/office/drawing/2014/main" id="{08D8F00D-5F0E-40C1-A651-71EFF783214A}"/>
              </a:ext>
            </a:extLst>
          </p:cNvPr>
          <p:cNvGrpSpPr/>
          <p:nvPr/>
        </p:nvGrpSpPr>
        <p:grpSpPr>
          <a:xfrm>
            <a:off x="281595" y="1082145"/>
            <a:ext cx="3848040" cy="1235880"/>
            <a:chOff x="281595" y="1082145"/>
            <a:chExt cx="3848040" cy="12358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44">
              <p14:nvContentPartPr>
                <p14:cNvPr id="32" name="Ink 31">
                  <a:extLst>
                    <a:ext uri="{FF2B5EF4-FFF2-40B4-BE49-F238E27FC236}">
                      <a16:creationId xmlns:a16="http://schemas.microsoft.com/office/drawing/2014/main" id="{2926760B-58A6-42DF-B6D5-8957FF3CEC4D}"/>
                    </a:ext>
                  </a:extLst>
                </p14:cNvPr>
                <p14:cNvContentPartPr/>
                <p14:nvPr/>
              </p14:nvContentPartPr>
              <p14:xfrm>
                <a:off x="763995" y="1377705"/>
                <a:ext cx="434160" cy="204840"/>
              </p14:xfrm>
            </p:contentPart>
          </mc:Choice>
          <mc:Fallback xmlns="">
            <p:pic>
              <p:nvPicPr>
                <p:cNvPr id="32" name="Ink 31">
                  <a:extLst>
                    <a:ext uri="{FF2B5EF4-FFF2-40B4-BE49-F238E27FC236}">
                      <a16:creationId xmlns:a16="http://schemas.microsoft.com/office/drawing/2014/main" id="{2926760B-58A6-42DF-B6D5-8957FF3CEC4D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745995" y="1359705"/>
                  <a:ext cx="469800" cy="240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6">
              <p14:nvContentPartPr>
                <p14:cNvPr id="33" name="Ink 32">
                  <a:extLst>
                    <a:ext uri="{FF2B5EF4-FFF2-40B4-BE49-F238E27FC236}">
                      <a16:creationId xmlns:a16="http://schemas.microsoft.com/office/drawing/2014/main" id="{266D01FB-F4FD-4FA0-94C8-1C9A99998D03}"/>
                    </a:ext>
                  </a:extLst>
                </p14:cNvPr>
                <p14:cNvContentPartPr/>
                <p14:nvPr/>
              </p14:nvContentPartPr>
              <p14:xfrm>
                <a:off x="1238835" y="1370145"/>
                <a:ext cx="408600" cy="272520"/>
              </p14:xfrm>
            </p:contentPart>
          </mc:Choice>
          <mc:Fallback xmlns="">
            <p:pic>
              <p:nvPicPr>
                <p:cNvPr id="33" name="Ink 32">
                  <a:extLst>
                    <a:ext uri="{FF2B5EF4-FFF2-40B4-BE49-F238E27FC236}">
                      <a16:creationId xmlns:a16="http://schemas.microsoft.com/office/drawing/2014/main" id="{266D01FB-F4FD-4FA0-94C8-1C9A99998D03}"/>
                    </a:ext>
                  </a:extLst>
                </p:cNvPr>
                <p:cNvPicPr/>
                <p:nvPr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1220835" y="1352505"/>
                  <a:ext cx="444240" cy="308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8">
              <p14:nvContentPartPr>
                <p14:cNvPr id="34" name="Ink 33">
                  <a:extLst>
                    <a:ext uri="{FF2B5EF4-FFF2-40B4-BE49-F238E27FC236}">
                      <a16:creationId xmlns:a16="http://schemas.microsoft.com/office/drawing/2014/main" id="{89CF8825-9334-492D-9FB3-6124F594B331}"/>
                    </a:ext>
                  </a:extLst>
                </p14:cNvPr>
                <p14:cNvContentPartPr/>
                <p14:nvPr/>
              </p14:nvContentPartPr>
              <p14:xfrm>
                <a:off x="1745715" y="1327305"/>
                <a:ext cx="473400" cy="192240"/>
              </p14:xfrm>
            </p:contentPart>
          </mc:Choice>
          <mc:Fallback xmlns="">
            <p:pic>
              <p:nvPicPr>
                <p:cNvPr id="34" name="Ink 33">
                  <a:extLst>
                    <a:ext uri="{FF2B5EF4-FFF2-40B4-BE49-F238E27FC236}">
                      <a16:creationId xmlns:a16="http://schemas.microsoft.com/office/drawing/2014/main" id="{89CF8825-9334-492D-9FB3-6124F594B331}"/>
                    </a:ext>
                  </a:extLst>
                </p:cNvPr>
                <p:cNvPicPr/>
                <p:nvPr/>
              </p:nvPicPr>
              <p:blipFill>
                <a:blip r:embed="rId49"/>
                <a:stretch>
                  <a:fillRect/>
                </a:stretch>
              </p:blipFill>
              <p:spPr>
                <a:xfrm>
                  <a:off x="1727715" y="1309305"/>
                  <a:ext cx="509040" cy="227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0">
              <p14:nvContentPartPr>
                <p14:cNvPr id="36" name="Ink 35">
                  <a:extLst>
                    <a:ext uri="{FF2B5EF4-FFF2-40B4-BE49-F238E27FC236}">
                      <a16:creationId xmlns:a16="http://schemas.microsoft.com/office/drawing/2014/main" id="{16954DD5-F498-4CEC-A540-9B8F5B851C49}"/>
                    </a:ext>
                  </a:extLst>
                </p14:cNvPr>
                <p14:cNvContentPartPr/>
                <p14:nvPr/>
              </p14:nvContentPartPr>
              <p14:xfrm>
                <a:off x="2192115" y="1320465"/>
                <a:ext cx="154440" cy="167760"/>
              </p14:xfrm>
            </p:contentPart>
          </mc:Choice>
          <mc:Fallback xmlns="">
            <p:pic>
              <p:nvPicPr>
                <p:cNvPr id="36" name="Ink 35">
                  <a:extLst>
                    <a:ext uri="{FF2B5EF4-FFF2-40B4-BE49-F238E27FC236}">
                      <a16:creationId xmlns:a16="http://schemas.microsoft.com/office/drawing/2014/main" id="{16954DD5-F498-4CEC-A540-9B8F5B851C49}"/>
                    </a:ext>
                  </a:extLst>
                </p:cNvPr>
                <p:cNvPicPr/>
                <p:nvPr/>
              </p:nvPicPr>
              <p:blipFill>
                <a:blip r:embed="rId51"/>
                <a:stretch>
                  <a:fillRect/>
                </a:stretch>
              </p:blipFill>
              <p:spPr>
                <a:xfrm>
                  <a:off x="2174115" y="1302825"/>
                  <a:ext cx="190080" cy="203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2">
              <p14:nvContentPartPr>
                <p14:cNvPr id="37" name="Ink 36">
                  <a:extLst>
                    <a:ext uri="{FF2B5EF4-FFF2-40B4-BE49-F238E27FC236}">
                      <a16:creationId xmlns:a16="http://schemas.microsoft.com/office/drawing/2014/main" id="{2B1C0575-3FF5-4E96-AC08-F265DE3E9CEA}"/>
                    </a:ext>
                  </a:extLst>
                </p14:cNvPr>
                <p14:cNvContentPartPr/>
                <p14:nvPr/>
              </p14:nvContentPartPr>
              <p14:xfrm>
                <a:off x="2441595" y="1314705"/>
                <a:ext cx="9000" cy="75600"/>
              </p14:xfrm>
            </p:contentPart>
          </mc:Choice>
          <mc:Fallback xmlns="">
            <p:pic>
              <p:nvPicPr>
                <p:cNvPr id="37" name="Ink 36">
                  <a:extLst>
                    <a:ext uri="{FF2B5EF4-FFF2-40B4-BE49-F238E27FC236}">
                      <a16:creationId xmlns:a16="http://schemas.microsoft.com/office/drawing/2014/main" id="{2B1C0575-3FF5-4E96-AC08-F265DE3E9CEA}"/>
                    </a:ext>
                  </a:extLst>
                </p:cNvPr>
                <p:cNvPicPr/>
                <p:nvPr/>
              </p:nvPicPr>
              <p:blipFill>
                <a:blip r:embed="rId53"/>
                <a:stretch>
                  <a:fillRect/>
                </a:stretch>
              </p:blipFill>
              <p:spPr>
                <a:xfrm>
                  <a:off x="2423955" y="1296705"/>
                  <a:ext cx="44640" cy="111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4">
              <p14:nvContentPartPr>
                <p14:cNvPr id="38" name="Ink 37">
                  <a:extLst>
                    <a:ext uri="{FF2B5EF4-FFF2-40B4-BE49-F238E27FC236}">
                      <a16:creationId xmlns:a16="http://schemas.microsoft.com/office/drawing/2014/main" id="{7E62555C-37BB-42F0-B38A-278E63065577}"/>
                    </a:ext>
                  </a:extLst>
                </p14:cNvPr>
                <p14:cNvContentPartPr/>
                <p14:nvPr/>
              </p14:nvContentPartPr>
              <p14:xfrm>
                <a:off x="2391195" y="1228665"/>
                <a:ext cx="214200" cy="267480"/>
              </p14:xfrm>
            </p:contentPart>
          </mc:Choice>
          <mc:Fallback xmlns="">
            <p:pic>
              <p:nvPicPr>
                <p:cNvPr id="38" name="Ink 37">
                  <a:extLst>
                    <a:ext uri="{FF2B5EF4-FFF2-40B4-BE49-F238E27FC236}">
                      <a16:creationId xmlns:a16="http://schemas.microsoft.com/office/drawing/2014/main" id="{7E62555C-37BB-42F0-B38A-278E63065577}"/>
                    </a:ext>
                  </a:extLst>
                </p:cNvPr>
                <p:cNvPicPr/>
                <p:nvPr/>
              </p:nvPicPr>
              <p:blipFill>
                <a:blip r:embed="rId55"/>
                <a:stretch>
                  <a:fillRect/>
                </a:stretch>
              </p:blipFill>
              <p:spPr>
                <a:xfrm>
                  <a:off x="2373195" y="1210665"/>
                  <a:ext cx="249840" cy="303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6">
              <p14:nvContentPartPr>
                <p14:cNvPr id="39" name="Ink 38">
                  <a:extLst>
                    <a:ext uri="{FF2B5EF4-FFF2-40B4-BE49-F238E27FC236}">
                      <a16:creationId xmlns:a16="http://schemas.microsoft.com/office/drawing/2014/main" id="{757CE9EC-2F0C-4174-8449-84BEDFCFB49C}"/>
                    </a:ext>
                  </a:extLst>
                </p14:cNvPr>
                <p14:cNvContentPartPr/>
                <p14:nvPr/>
              </p14:nvContentPartPr>
              <p14:xfrm>
                <a:off x="2719515" y="1236945"/>
                <a:ext cx="31320" cy="31320"/>
              </p14:xfrm>
            </p:contentPart>
          </mc:Choice>
          <mc:Fallback xmlns="">
            <p:pic>
              <p:nvPicPr>
                <p:cNvPr id="39" name="Ink 38">
                  <a:extLst>
                    <a:ext uri="{FF2B5EF4-FFF2-40B4-BE49-F238E27FC236}">
                      <a16:creationId xmlns:a16="http://schemas.microsoft.com/office/drawing/2014/main" id="{757CE9EC-2F0C-4174-8449-84BEDFCFB49C}"/>
                    </a:ext>
                  </a:extLst>
                </p:cNvPr>
                <p:cNvPicPr/>
                <p:nvPr/>
              </p:nvPicPr>
              <p:blipFill>
                <a:blip r:embed="rId57"/>
                <a:stretch>
                  <a:fillRect/>
                </a:stretch>
              </p:blipFill>
              <p:spPr>
                <a:xfrm>
                  <a:off x="2701875" y="1219305"/>
                  <a:ext cx="66960" cy="66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8">
              <p14:nvContentPartPr>
                <p14:cNvPr id="40" name="Ink 39">
                  <a:extLst>
                    <a:ext uri="{FF2B5EF4-FFF2-40B4-BE49-F238E27FC236}">
                      <a16:creationId xmlns:a16="http://schemas.microsoft.com/office/drawing/2014/main" id="{CB8F51E5-B438-4377-8557-9F64689AA034}"/>
                    </a:ext>
                  </a:extLst>
                </p14:cNvPr>
                <p14:cNvContentPartPr/>
                <p14:nvPr/>
              </p14:nvContentPartPr>
              <p14:xfrm>
                <a:off x="2698635" y="1247385"/>
                <a:ext cx="127800" cy="142560"/>
              </p14:xfrm>
            </p:contentPart>
          </mc:Choice>
          <mc:Fallback xmlns="">
            <p:pic>
              <p:nvPicPr>
                <p:cNvPr id="40" name="Ink 39">
                  <a:extLst>
                    <a:ext uri="{FF2B5EF4-FFF2-40B4-BE49-F238E27FC236}">
                      <a16:creationId xmlns:a16="http://schemas.microsoft.com/office/drawing/2014/main" id="{CB8F51E5-B438-4377-8557-9F64689AA034}"/>
                    </a:ext>
                  </a:extLst>
                </p:cNvPr>
                <p:cNvPicPr/>
                <p:nvPr/>
              </p:nvPicPr>
              <p:blipFill>
                <a:blip r:embed="rId59"/>
                <a:stretch>
                  <a:fillRect/>
                </a:stretch>
              </p:blipFill>
              <p:spPr>
                <a:xfrm>
                  <a:off x="2680995" y="1229745"/>
                  <a:ext cx="163440" cy="178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0">
              <p14:nvContentPartPr>
                <p14:cNvPr id="41" name="Ink 40">
                  <a:extLst>
                    <a:ext uri="{FF2B5EF4-FFF2-40B4-BE49-F238E27FC236}">
                      <a16:creationId xmlns:a16="http://schemas.microsoft.com/office/drawing/2014/main" id="{C1F67F55-0AF3-4435-A9AA-8FCA0FB21363}"/>
                    </a:ext>
                  </a:extLst>
                </p14:cNvPr>
                <p14:cNvContentPartPr/>
                <p14:nvPr/>
              </p14:nvContentPartPr>
              <p14:xfrm>
                <a:off x="2919315" y="1164225"/>
                <a:ext cx="326160" cy="190440"/>
              </p14:xfrm>
            </p:contentPart>
          </mc:Choice>
          <mc:Fallback xmlns="">
            <p:pic>
              <p:nvPicPr>
                <p:cNvPr id="41" name="Ink 40">
                  <a:extLst>
                    <a:ext uri="{FF2B5EF4-FFF2-40B4-BE49-F238E27FC236}">
                      <a16:creationId xmlns:a16="http://schemas.microsoft.com/office/drawing/2014/main" id="{C1F67F55-0AF3-4435-A9AA-8FCA0FB21363}"/>
                    </a:ext>
                  </a:extLst>
                </p:cNvPr>
                <p:cNvPicPr/>
                <p:nvPr/>
              </p:nvPicPr>
              <p:blipFill>
                <a:blip r:embed="rId61"/>
                <a:stretch>
                  <a:fillRect/>
                </a:stretch>
              </p:blipFill>
              <p:spPr>
                <a:xfrm>
                  <a:off x="2901675" y="1146585"/>
                  <a:ext cx="361800" cy="226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2">
              <p14:nvContentPartPr>
                <p14:cNvPr id="42" name="Ink 41">
                  <a:extLst>
                    <a:ext uri="{FF2B5EF4-FFF2-40B4-BE49-F238E27FC236}">
                      <a16:creationId xmlns:a16="http://schemas.microsoft.com/office/drawing/2014/main" id="{874DE9EF-C6CC-4A8A-80B2-8833E99A1B49}"/>
                    </a:ext>
                  </a:extLst>
                </p14:cNvPr>
                <p14:cNvContentPartPr/>
                <p14:nvPr/>
              </p14:nvContentPartPr>
              <p14:xfrm>
                <a:off x="3186435" y="1144425"/>
                <a:ext cx="396720" cy="182880"/>
              </p14:xfrm>
            </p:contentPart>
          </mc:Choice>
          <mc:Fallback xmlns="">
            <p:pic>
              <p:nvPicPr>
                <p:cNvPr id="42" name="Ink 41">
                  <a:extLst>
                    <a:ext uri="{FF2B5EF4-FFF2-40B4-BE49-F238E27FC236}">
                      <a16:creationId xmlns:a16="http://schemas.microsoft.com/office/drawing/2014/main" id="{874DE9EF-C6CC-4A8A-80B2-8833E99A1B49}"/>
                    </a:ext>
                  </a:extLst>
                </p:cNvPr>
                <p:cNvPicPr/>
                <p:nvPr/>
              </p:nvPicPr>
              <p:blipFill>
                <a:blip r:embed="rId63"/>
                <a:stretch>
                  <a:fillRect/>
                </a:stretch>
              </p:blipFill>
              <p:spPr>
                <a:xfrm>
                  <a:off x="3168435" y="1126425"/>
                  <a:ext cx="432360" cy="218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4">
              <p14:nvContentPartPr>
                <p14:cNvPr id="43" name="Ink 42">
                  <a:extLst>
                    <a:ext uri="{FF2B5EF4-FFF2-40B4-BE49-F238E27FC236}">
                      <a16:creationId xmlns:a16="http://schemas.microsoft.com/office/drawing/2014/main" id="{F8ECD33F-5759-4F18-BF45-C2A07050F45D}"/>
                    </a:ext>
                  </a:extLst>
                </p14:cNvPr>
                <p14:cNvContentPartPr/>
                <p14:nvPr/>
              </p14:nvContentPartPr>
              <p14:xfrm>
                <a:off x="3594315" y="1160985"/>
                <a:ext cx="67680" cy="105480"/>
              </p14:xfrm>
            </p:contentPart>
          </mc:Choice>
          <mc:Fallback xmlns="">
            <p:pic>
              <p:nvPicPr>
                <p:cNvPr id="43" name="Ink 42">
                  <a:extLst>
                    <a:ext uri="{FF2B5EF4-FFF2-40B4-BE49-F238E27FC236}">
                      <a16:creationId xmlns:a16="http://schemas.microsoft.com/office/drawing/2014/main" id="{F8ECD33F-5759-4F18-BF45-C2A07050F45D}"/>
                    </a:ext>
                  </a:extLst>
                </p:cNvPr>
                <p:cNvPicPr/>
                <p:nvPr/>
              </p:nvPicPr>
              <p:blipFill>
                <a:blip r:embed="rId65"/>
                <a:stretch>
                  <a:fillRect/>
                </a:stretch>
              </p:blipFill>
              <p:spPr>
                <a:xfrm>
                  <a:off x="3576675" y="1143345"/>
                  <a:ext cx="103320" cy="141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6">
              <p14:nvContentPartPr>
                <p14:cNvPr id="44" name="Ink 43">
                  <a:extLst>
                    <a:ext uri="{FF2B5EF4-FFF2-40B4-BE49-F238E27FC236}">
                      <a16:creationId xmlns:a16="http://schemas.microsoft.com/office/drawing/2014/main" id="{701287FC-0FDF-45DE-B57B-2BD0B308531E}"/>
                    </a:ext>
                  </a:extLst>
                </p14:cNvPr>
                <p14:cNvContentPartPr/>
                <p14:nvPr/>
              </p14:nvContentPartPr>
              <p14:xfrm>
                <a:off x="3673515" y="1150185"/>
                <a:ext cx="83880" cy="116280"/>
              </p14:xfrm>
            </p:contentPart>
          </mc:Choice>
          <mc:Fallback xmlns="">
            <p:pic>
              <p:nvPicPr>
                <p:cNvPr id="44" name="Ink 43">
                  <a:extLst>
                    <a:ext uri="{FF2B5EF4-FFF2-40B4-BE49-F238E27FC236}">
                      <a16:creationId xmlns:a16="http://schemas.microsoft.com/office/drawing/2014/main" id="{701287FC-0FDF-45DE-B57B-2BD0B308531E}"/>
                    </a:ext>
                  </a:extLst>
                </p:cNvPr>
                <p:cNvPicPr/>
                <p:nvPr/>
              </p:nvPicPr>
              <p:blipFill>
                <a:blip r:embed="rId67"/>
                <a:stretch>
                  <a:fillRect/>
                </a:stretch>
              </p:blipFill>
              <p:spPr>
                <a:xfrm>
                  <a:off x="3655875" y="1132185"/>
                  <a:ext cx="119520" cy="151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8">
              <p14:nvContentPartPr>
                <p14:cNvPr id="45" name="Ink 44">
                  <a:extLst>
                    <a:ext uri="{FF2B5EF4-FFF2-40B4-BE49-F238E27FC236}">
                      <a16:creationId xmlns:a16="http://schemas.microsoft.com/office/drawing/2014/main" id="{19719376-3695-4E4C-B172-38B3F453ECA5}"/>
                    </a:ext>
                  </a:extLst>
                </p14:cNvPr>
                <p14:cNvContentPartPr/>
                <p14:nvPr/>
              </p14:nvContentPartPr>
              <p14:xfrm>
                <a:off x="3703755" y="1082145"/>
                <a:ext cx="314280" cy="124920"/>
              </p14:xfrm>
            </p:contentPart>
          </mc:Choice>
          <mc:Fallback xmlns="">
            <p:pic>
              <p:nvPicPr>
                <p:cNvPr id="45" name="Ink 44">
                  <a:extLst>
                    <a:ext uri="{FF2B5EF4-FFF2-40B4-BE49-F238E27FC236}">
                      <a16:creationId xmlns:a16="http://schemas.microsoft.com/office/drawing/2014/main" id="{19719376-3695-4E4C-B172-38B3F453ECA5}"/>
                    </a:ext>
                  </a:extLst>
                </p:cNvPr>
                <p:cNvPicPr/>
                <p:nvPr/>
              </p:nvPicPr>
              <p:blipFill>
                <a:blip r:embed="rId69"/>
                <a:stretch>
                  <a:fillRect/>
                </a:stretch>
              </p:blipFill>
              <p:spPr>
                <a:xfrm>
                  <a:off x="3686115" y="1064145"/>
                  <a:ext cx="349920" cy="160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0">
              <p14:nvContentPartPr>
                <p14:cNvPr id="46" name="Ink 45">
                  <a:extLst>
                    <a:ext uri="{FF2B5EF4-FFF2-40B4-BE49-F238E27FC236}">
                      <a16:creationId xmlns:a16="http://schemas.microsoft.com/office/drawing/2014/main" id="{E5D49FBA-45FC-4932-8651-5ECE14502909}"/>
                    </a:ext>
                  </a:extLst>
                </p14:cNvPr>
                <p14:cNvContentPartPr/>
                <p14:nvPr/>
              </p14:nvContentPartPr>
              <p14:xfrm>
                <a:off x="3975195" y="1086105"/>
                <a:ext cx="154440" cy="60120"/>
              </p14:xfrm>
            </p:contentPart>
          </mc:Choice>
          <mc:Fallback xmlns="">
            <p:pic>
              <p:nvPicPr>
                <p:cNvPr id="46" name="Ink 45">
                  <a:extLst>
                    <a:ext uri="{FF2B5EF4-FFF2-40B4-BE49-F238E27FC236}">
                      <a16:creationId xmlns:a16="http://schemas.microsoft.com/office/drawing/2014/main" id="{E5D49FBA-45FC-4932-8651-5ECE14502909}"/>
                    </a:ext>
                  </a:extLst>
                </p:cNvPr>
                <p:cNvPicPr/>
                <p:nvPr/>
              </p:nvPicPr>
              <p:blipFill>
                <a:blip r:embed="rId71"/>
                <a:stretch>
                  <a:fillRect/>
                </a:stretch>
              </p:blipFill>
              <p:spPr>
                <a:xfrm>
                  <a:off x="3957555" y="1068105"/>
                  <a:ext cx="190080" cy="95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2">
              <p14:nvContentPartPr>
                <p14:cNvPr id="48" name="Ink 47">
                  <a:extLst>
                    <a:ext uri="{FF2B5EF4-FFF2-40B4-BE49-F238E27FC236}">
                      <a16:creationId xmlns:a16="http://schemas.microsoft.com/office/drawing/2014/main" id="{2DC5A390-85ED-4B0E-9604-060B8A767FD2}"/>
                    </a:ext>
                  </a:extLst>
                </p14:cNvPr>
                <p14:cNvContentPartPr/>
                <p14:nvPr/>
              </p14:nvContentPartPr>
              <p14:xfrm>
                <a:off x="281595" y="2038665"/>
                <a:ext cx="821520" cy="279360"/>
              </p14:xfrm>
            </p:contentPart>
          </mc:Choice>
          <mc:Fallback xmlns="">
            <p:pic>
              <p:nvPicPr>
                <p:cNvPr id="48" name="Ink 47">
                  <a:extLst>
                    <a:ext uri="{FF2B5EF4-FFF2-40B4-BE49-F238E27FC236}">
                      <a16:creationId xmlns:a16="http://schemas.microsoft.com/office/drawing/2014/main" id="{2DC5A390-85ED-4B0E-9604-060B8A767FD2}"/>
                    </a:ext>
                  </a:extLst>
                </p:cNvPr>
                <p:cNvPicPr/>
                <p:nvPr/>
              </p:nvPicPr>
              <p:blipFill>
                <a:blip r:embed="rId73"/>
                <a:stretch>
                  <a:fillRect/>
                </a:stretch>
              </p:blipFill>
              <p:spPr>
                <a:xfrm>
                  <a:off x="263955" y="2021025"/>
                  <a:ext cx="857160" cy="315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4">
              <p14:nvContentPartPr>
                <p14:cNvPr id="49" name="Ink 48">
                  <a:extLst>
                    <a:ext uri="{FF2B5EF4-FFF2-40B4-BE49-F238E27FC236}">
                      <a16:creationId xmlns:a16="http://schemas.microsoft.com/office/drawing/2014/main" id="{35DD9F58-A832-40F1-8AB8-91325E176231}"/>
                    </a:ext>
                  </a:extLst>
                </p14:cNvPr>
                <p14:cNvContentPartPr/>
                <p14:nvPr/>
              </p14:nvContentPartPr>
              <p14:xfrm>
                <a:off x="1278435" y="1955865"/>
                <a:ext cx="294840" cy="113760"/>
              </p14:xfrm>
            </p:contentPart>
          </mc:Choice>
          <mc:Fallback xmlns="">
            <p:pic>
              <p:nvPicPr>
                <p:cNvPr id="49" name="Ink 48">
                  <a:extLst>
                    <a:ext uri="{FF2B5EF4-FFF2-40B4-BE49-F238E27FC236}">
                      <a16:creationId xmlns:a16="http://schemas.microsoft.com/office/drawing/2014/main" id="{35DD9F58-A832-40F1-8AB8-91325E176231}"/>
                    </a:ext>
                  </a:extLst>
                </p:cNvPr>
                <p:cNvPicPr/>
                <p:nvPr/>
              </p:nvPicPr>
              <p:blipFill>
                <a:blip r:embed="rId75"/>
                <a:stretch>
                  <a:fillRect/>
                </a:stretch>
              </p:blipFill>
              <p:spPr>
                <a:xfrm>
                  <a:off x="1260435" y="1938225"/>
                  <a:ext cx="330480" cy="149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6">
              <p14:nvContentPartPr>
                <p14:cNvPr id="50" name="Ink 49">
                  <a:extLst>
                    <a:ext uri="{FF2B5EF4-FFF2-40B4-BE49-F238E27FC236}">
                      <a16:creationId xmlns:a16="http://schemas.microsoft.com/office/drawing/2014/main" id="{E666B37D-6C58-43A5-A2A8-29CC4C441F8A}"/>
                    </a:ext>
                  </a:extLst>
                </p14:cNvPr>
                <p14:cNvContentPartPr/>
                <p14:nvPr/>
              </p14:nvContentPartPr>
              <p14:xfrm>
                <a:off x="1602435" y="1919865"/>
                <a:ext cx="69840" cy="120240"/>
              </p14:xfrm>
            </p:contentPart>
          </mc:Choice>
          <mc:Fallback xmlns="">
            <p:pic>
              <p:nvPicPr>
                <p:cNvPr id="50" name="Ink 49">
                  <a:extLst>
                    <a:ext uri="{FF2B5EF4-FFF2-40B4-BE49-F238E27FC236}">
                      <a16:creationId xmlns:a16="http://schemas.microsoft.com/office/drawing/2014/main" id="{E666B37D-6C58-43A5-A2A8-29CC4C441F8A}"/>
                    </a:ext>
                  </a:extLst>
                </p:cNvPr>
                <p:cNvPicPr/>
                <p:nvPr/>
              </p:nvPicPr>
              <p:blipFill>
                <a:blip r:embed="rId77"/>
                <a:stretch>
                  <a:fillRect/>
                </a:stretch>
              </p:blipFill>
              <p:spPr>
                <a:xfrm>
                  <a:off x="1584435" y="1902225"/>
                  <a:ext cx="105480" cy="155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8">
              <p14:nvContentPartPr>
                <p14:cNvPr id="51" name="Ink 50">
                  <a:extLst>
                    <a:ext uri="{FF2B5EF4-FFF2-40B4-BE49-F238E27FC236}">
                      <a16:creationId xmlns:a16="http://schemas.microsoft.com/office/drawing/2014/main" id="{1D31CC9F-5FE1-4547-BF19-760E45187161}"/>
                    </a:ext>
                  </a:extLst>
                </p14:cNvPr>
                <p14:cNvContentPartPr/>
                <p14:nvPr/>
              </p14:nvContentPartPr>
              <p14:xfrm>
                <a:off x="1629435" y="1931025"/>
                <a:ext cx="81720" cy="152640"/>
              </p14:xfrm>
            </p:contentPart>
          </mc:Choice>
          <mc:Fallback xmlns="">
            <p:pic>
              <p:nvPicPr>
                <p:cNvPr id="51" name="Ink 50">
                  <a:extLst>
                    <a:ext uri="{FF2B5EF4-FFF2-40B4-BE49-F238E27FC236}">
                      <a16:creationId xmlns:a16="http://schemas.microsoft.com/office/drawing/2014/main" id="{1D31CC9F-5FE1-4547-BF19-760E45187161}"/>
                    </a:ext>
                  </a:extLst>
                </p:cNvPr>
                <p:cNvPicPr/>
                <p:nvPr/>
              </p:nvPicPr>
              <p:blipFill>
                <a:blip r:embed="rId79"/>
                <a:stretch>
                  <a:fillRect/>
                </a:stretch>
              </p:blipFill>
              <p:spPr>
                <a:xfrm>
                  <a:off x="1611435" y="1913025"/>
                  <a:ext cx="117360" cy="188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0">
              <p14:nvContentPartPr>
                <p14:cNvPr id="52" name="Ink 51">
                  <a:extLst>
                    <a:ext uri="{FF2B5EF4-FFF2-40B4-BE49-F238E27FC236}">
                      <a16:creationId xmlns:a16="http://schemas.microsoft.com/office/drawing/2014/main" id="{E9E815B2-77BE-49EC-B6B3-B847692A6ADE}"/>
                    </a:ext>
                  </a:extLst>
                </p14:cNvPr>
                <p14:cNvContentPartPr/>
                <p14:nvPr/>
              </p14:nvContentPartPr>
              <p14:xfrm>
                <a:off x="1767315" y="1814025"/>
                <a:ext cx="70920" cy="227880"/>
              </p14:xfrm>
            </p:contentPart>
          </mc:Choice>
          <mc:Fallback xmlns="">
            <p:pic>
              <p:nvPicPr>
                <p:cNvPr id="52" name="Ink 51">
                  <a:extLst>
                    <a:ext uri="{FF2B5EF4-FFF2-40B4-BE49-F238E27FC236}">
                      <a16:creationId xmlns:a16="http://schemas.microsoft.com/office/drawing/2014/main" id="{E9E815B2-77BE-49EC-B6B3-B847692A6ADE}"/>
                    </a:ext>
                  </a:extLst>
                </p:cNvPr>
                <p:cNvPicPr/>
                <p:nvPr/>
              </p:nvPicPr>
              <p:blipFill>
                <a:blip r:embed="rId81"/>
                <a:stretch>
                  <a:fillRect/>
                </a:stretch>
              </p:blipFill>
              <p:spPr>
                <a:xfrm>
                  <a:off x="1749315" y="1796385"/>
                  <a:ext cx="106560" cy="263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2">
              <p14:nvContentPartPr>
                <p14:cNvPr id="57" name="Ink 56">
                  <a:extLst>
                    <a:ext uri="{FF2B5EF4-FFF2-40B4-BE49-F238E27FC236}">
                      <a16:creationId xmlns:a16="http://schemas.microsoft.com/office/drawing/2014/main" id="{558AA1E7-F6C9-4116-8E57-A5B4541DB801}"/>
                    </a:ext>
                  </a:extLst>
                </p14:cNvPr>
                <p14:cNvContentPartPr/>
                <p14:nvPr/>
              </p14:nvContentPartPr>
              <p14:xfrm>
                <a:off x="1909515" y="1860105"/>
                <a:ext cx="151200" cy="143640"/>
              </p14:xfrm>
            </p:contentPart>
          </mc:Choice>
          <mc:Fallback xmlns="">
            <p:pic>
              <p:nvPicPr>
                <p:cNvPr id="57" name="Ink 56">
                  <a:extLst>
                    <a:ext uri="{FF2B5EF4-FFF2-40B4-BE49-F238E27FC236}">
                      <a16:creationId xmlns:a16="http://schemas.microsoft.com/office/drawing/2014/main" id="{558AA1E7-F6C9-4116-8E57-A5B4541DB801}"/>
                    </a:ext>
                  </a:extLst>
                </p:cNvPr>
                <p:cNvPicPr/>
                <p:nvPr/>
              </p:nvPicPr>
              <p:blipFill>
                <a:blip r:embed="rId83"/>
                <a:stretch>
                  <a:fillRect/>
                </a:stretch>
              </p:blipFill>
              <p:spPr>
                <a:xfrm>
                  <a:off x="1891515" y="1842105"/>
                  <a:ext cx="186840" cy="179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4">
              <p14:nvContentPartPr>
                <p14:cNvPr id="58" name="Ink 57">
                  <a:extLst>
                    <a:ext uri="{FF2B5EF4-FFF2-40B4-BE49-F238E27FC236}">
                      <a16:creationId xmlns:a16="http://schemas.microsoft.com/office/drawing/2014/main" id="{4E94AF9A-17B0-4962-A39F-AA916F4C5EB1}"/>
                    </a:ext>
                  </a:extLst>
                </p14:cNvPr>
                <p14:cNvContentPartPr/>
                <p14:nvPr/>
              </p14:nvContentPartPr>
              <p14:xfrm>
                <a:off x="2177355" y="1747065"/>
                <a:ext cx="83160" cy="212400"/>
              </p14:xfrm>
            </p:contentPart>
          </mc:Choice>
          <mc:Fallback xmlns="">
            <p:pic>
              <p:nvPicPr>
                <p:cNvPr id="58" name="Ink 57">
                  <a:extLst>
                    <a:ext uri="{FF2B5EF4-FFF2-40B4-BE49-F238E27FC236}">
                      <a16:creationId xmlns:a16="http://schemas.microsoft.com/office/drawing/2014/main" id="{4E94AF9A-17B0-4962-A39F-AA916F4C5EB1}"/>
                    </a:ext>
                  </a:extLst>
                </p:cNvPr>
                <p:cNvPicPr/>
                <p:nvPr/>
              </p:nvPicPr>
              <p:blipFill>
                <a:blip r:embed="rId85"/>
                <a:stretch>
                  <a:fillRect/>
                </a:stretch>
              </p:blipFill>
              <p:spPr>
                <a:xfrm>
                  <a:off x="2159715" y="1729065"/>
                  <a:ext cx="118800" cy="248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6">
              <p14:nvContentPartPr>
                <p14:cNvPr id="59" name="Ink 58">
                  <a:extLst>
                    <a:ext uri="{FF2B5EF4-FFF2-40B4-BE49-F238E27FC236}">
                      <a16:creationId xmlns:a16="http://schemas.microsoft.com/office/drawing/2014/main" id="{32BBA8C5-37B4-4843-B981-437516EDAB87}"/>
                    </a:ext>
                  </a:extLst>
                </p14:cNvPr>
                <p14:cNvContentPartPr/>
                <p14:nvPr/>
              </p14:nvContentPartPr>
              <p14:xfrm>
                <a:off x="2386515" y="1748505"/>
                <a:ext cx="94680" cy="155880"/>
              </p14:xfrm>
            </p:contentPart>
          </mc:Choice>
          <mc:Fallback xmlns="">
            <p:pic>
              <p:nvPicPr>
                <p:cNvPr id="59" name="Ink 58">
                  <a:extLst>
                    <a:ext uri="{FF2B5EF4-FFF2-40B4-BE49-F238E27FC236}">
                      <a16:creationId xmlns:a16="http://schemas.microsoft.com/office/drawing/2014/main" id="{32BBA8C5-37B4-4843-B981-437516EDAB87}"/>
                    </a:ext>
                  </a:extLst>
                </p:cNvPr>
                <p:cNvPicPr/>
                <p:nvPr/>
              </p:nvPicPr>
              <p:blipFill>
                <a:blip r:embed="rId87"/>
                <a:stretch>
                  <a:fillRect/>
                </a:stretch>
              </p:blipFill>
              <p:spPr>
                <a:xfrm>
                  <a:off x="2368515" y="1730865"/>
                  <a:ext cx="130320" cy="191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8">
              <p14:nvContentPartPr>
                <p14:cNvPr id="60" name="Ink 59">
                  <a:extLst>
                    <a:ext uri="{FF2B5EF4-FFF2-40B4-BE49-F238E27FC236}">
                      <a16:creationId xmlns:a16="http://schemas.microsoft.com/office/drawing/2014/main" id="{92995D1A-223E-4601-8D4F-EAEF7CED35D7}"/>
                    </a:ext>
                  </a:extLst>
                </p14:cNvPr>
                <p14:cNvContentPartPr/>
                <p14:nvPr/>
              </p14:nvContentPartPr>
              <p14:xfrm>
                <a:off x="2621595" y="1664265"/>
                <a:ext cx="106200" cy="136800"/>
              </p14:xfrm>
            </p:contentPart>
          </mc:Choice>
          <mc:Fallback xmlns="">
            <p:pic>
              <p:nvPicPr>
                <p:cNvPr id="60" name="Ink 59">
                  <a:extLst>
                    <a:ext uri="{FF2B5EF4-FFF2-40B4-BE49-F238E27FC236}">
                      <a16:creationId xmlns:a16="http://schemas.microsoft.com/office/drawing/2014/main" id="{92995D1A-223E-4601-8D4F-EAEF7CED35D7}"/>
                    </a:ext>
                  </a:extLst>
                </p:cNvPr>
                <p:cNvPicPr/>
                <p:nvPr/>
              </p:nvPicPr>
              <p:blipFill>
                <a:blip r:embed="rId89"/>
                <a:stretch>
                  <a:fillRect/>
                </a:stretch>
              </p:blipFill>
              <p:spPr>
                <a:xfrm>
                  <a:off x="2603595" y="1646265"/>
                  <a:ext cx="141840" cy="1724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96053586-A36B-4D16-A25C-84C3416E44A3}"/>
              </a:ext>
            </a:extLst>
          </p:cNvPr>
          <p:cNvGrpSpPr/>
          <p:nvPr/>
        </p:nvGrpSpPr>
        <p:grpSpPr>
          <a:xfrm>
            <a:off x="696675" y="2188065"/>
            <a:ext cx="1452240" cy="522000"/>
            <a:chOff x="696675" y="2188065"/>
            <a:chExt cx="1452240" cy="5220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90">
              <p14:nvContentPartPr>
                <p14:cNvPr id="62" name="Ink 61">
                  <a:extLst>
                    <a:ext uri="{FF2B5EF4-FFF2-40B4-BE49-F238E27FC236}">
                      <a16:creationId xmlns:a16="http://schemas.microsoft.com/office/drawing/2014/main" id="{8982F860-1885-49C3-8720-62B92B3D9744}"/>
                    </a:ext>
                  </a:extLst>
                </p14:cNvPr>
                <p14:cNvContentPartPr/>
                <p14:nvPr/>
              </p14:nvContentPartPr>
              <p14:xfrm>
                <a:off x="696675" y="2449785"/>
                <a:ext cx="391320" cy="260280"/>
              </p14:xfrm>
            </p:contentPart>
          </mc:Choice>
          <mc:Fallback xmlns="">
            <p:pic>
              <p:nvPicPr>
                <p:cNvPr id="62" name="Ink 61">
                  <a:extLst>
                    <a:ext uri="{FF2B5EF4-FFF2-40B4-BE49-F238E27FC236}">
                      <a16:creationId xmlns:a16="http://schemas.microsoft.com/office/drawing/2014/main" id="{8982F860-1885-49C3-8720-62B92B3D9744}"/>
                    </a:ext>
                  </a:extLst>
                </p:cNvPr>
                <p:cNvPicPr/>
                <p:nvPr/>
              </p:nvPicPr>
              <p:blipFill>
                <a:blip r:embed="rId91"/>
                <a:stretch>
                  <a:fillRect/>
                </a:stretch>
              </p:blipFill>
              <p:spPr>
                <a:xfrm>
                  <a:off x="679035" y="2432145"/>
                  <a:ext cx="426960" cy="295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2">
              <p14:nvContentPartPr>
                <p14:cNvPr id="63" name="Ink 62">
                  <a:extLst>
                    <a:ext uri="{FF2B5EF4-FFF2-40B4-BE49-F238E27FC236}">
                      <a16:creationId xmlns:a16="http://schemas.microsoft.com/office/drawing/2014/main" id="{5357B748-75DB-4E8E-A7B1-B9CE2986F670}"/>
                    </a:ext>
                  </a:extLst>
                </p14:cNvPr>
                <p14:cNvContentPartPr/>
                <p14:nvPr/>
              </p14:nvContentPartPr>
              <p14:xfrm>
                <a:off x="1086555" y="2436465"/>
                <a:ext cx="241920" cy="145800"/>
              </p14:xfrm>
            </p:contentPart>
          </mc:Choice>
          <mc:Fallback xmlns="">
            <p:pic>
              <p:nvPicPr>
                <p:cNvPr id="63" name="Ink 62">
                  <a:extLst>
                    <a:ext uri="{FF2B5EF4-FFF2-40B4-BE49-F238E27FC236}">
                      <a16:creationId xmlns:a16="http://schemas.microsoft.com/office/drawing/2014/main" id="{5357B748-75DB-4E8E-A7B1-B9CE2986F670}"/>
                    </a:ext>
                  </a:extLst>
                </p:cNvPr>
                <p:cNvPicPr/>
                <p:nvPr/>
              </p:nvPicPr>
              <p:blipFill>
                <a:blip r:embed="rId93"/>
                <a:stretch>
                  <a:fillRect/>
                </a:stretch>
              </p:blipFill>
              <p:spPr>
                <a:xfrm>
                  <a:off x="1068555" y="2418825"/>
                  <a:ext cx="277560" cy="181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4">
              <p14:nvContentPartPr>
                <p14:cNvPr id="64" name="Ink 63">
                  <a:extLst>
                    <a:ext uri="{FF2B5EF4-FFF2-40B4-BE49-F238E27FC236}">
                      <a16:creationId xmlns:a16="http://schemas.microsoft.com/office/drawing/2014/main" id="{8250E74D-754E-4C58-B6F6-216F6417395A}"/>
                    </a:ext>
                  </a:extLst>
                </p14:cNvPr>
                <p14:cNvContentPartPr/>
                <p14:nvPr/>
              </p14:nvContentPartPr>
              <p14:xfrm>
                <a:off x="1451235" y="2337105"/>
                <a:ext cx="109080" cy="281520"/>
              </p14:xfrm>
            </p:contentPart>
          </mc:Choice>
          <mc:Fallback xmlns="">
            <p:pic>
              <p:nvPicPr>
                <p:cNvPr id="64" name="Ink 63">
                  <a:extLst>
                    <a:ext uri="{FF2B5EF4-FFF2-40B4-BE49-F238E27FC236}">
                      <a16:creationId xmlns:a16="http://schemas.microsoft.com/office/drawing/2014/main" id="{8250E74D-754E-4C58-B6F6-216F6417395A}"/>
                    </a:ext>
                  </a:extLst>
                </p:cNvPr>
                <p:cNvPicPr/>
                <p:nvPr/>
              </p:nvPicPr>
              <p:blipFill>
                <a:blip r:embed="rId95"/>
                <a:stretch>
                  <a:fillRect/>
                </a:stretch>
              </p:blipFill>
              <p:spPr>
                <a:xfrm>
                  <a:off x="1433235" y="2319465"/>
                  <a:ext cx="144720" cy="317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6">
              <p14:nvContentPartPr>
                <p14:cNvPr id="65" name="Ink 64">
                  <a:extLst>
                    <a:ext uri="{FF2B5EF4-FFF2-40B4-BE49-F238E27FC236}">
                      <a16:creationId xmlns:a16="http://schemas.microsoft.com/office/drawing/2014/main" id="{4E008728-11C7-497E-981A-5D5941903A72}"/>
                    </a:ext>
                  </a:extLst>
                </p14:cNvPr>
                <p14:cNvContentPartPr/>
                <p14:nvPr/>
              </p14:nvContentPartPr>
              <p14:xfrm>
                <a:off x="1622595" y="2367705"/>
                <a:ext cx="95040" cy="70200"/>
              </p14:xfrm>
            </p:contentPart>
          </mc:Choice>
          <mc:Fallback xmlns="">
            <p:pic>
              <p:nvPicPr>
                <p:cNvPr id="65" name="Ink 64">
                  <a:extLst>
                    <a:ext uri="{FF2B5EF4-FFF2-40B4-BE49-F238E27FC236}">
                      <a16:creationId xmlns:a16="http://schemas.microsoft.com/office/drawing/2014/main" id="{4E008728-11C7-497E-981A-5D5941903A72}"/>
                    </a:ext>
                  </a:extLst>
                </p:cNvPr>
                <p:cNvPicPr/>
                <p:nvPr/>
              </p:nvPicPr>
              <p:blipFill>
                <a:blip r:embed="rId97"/>
                <a:stretch>
                  <a:fillRect/>
                </a:stretch>
              </p:blipFill>
              <p:spPr>
                <a:xfrm>
                  <a:off x="1604595" y="2349705"/>
                  <a:ext cx="130680" cy="105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8">
              <p14:nvContentPartPr>
                <p14:cNvPr id="66" name="Ink 65">
                  <a:extLst>
                    <a:ext uri="{FF2B5EF4-FFF2-40B4-BE49-F238E27FC236}">
                      <a16:creationId xmlns:a16="http://schemas.microsoft.com/office/drawing/2014/main" id="{50474D17-9D59-4AD5-9CB9-F85B0DFA6B4B}"/>
                    </a:ext>
                  </a:extLst>
                </p14:cNvPr>
                <p14:cNvContentPartPr/>
                <p14:nvPr/>
              </p14:nvContentPartPr>
              <p14:xfrm>
                <a:off x="1700355" y="2343585"/>
                <a:ext cx="123840" cy="105840"/>
              </p14:xfrm>
            </p:contentPart>
          </mc:Choice>
          <mc:Fallback xmlns="">
            <p:pic>
              <p:nvPicPr>
                <p:cNvPr id="66" name="Ink 65">
                  <a:extLst>
                    <a:ext uri="{FF2B5EF4-FFF2-40B4-BE49-F238E27FC236}">
                      <a16:creationId xmlns:a16="http://schemas.microsoft.com/office/drawing/2014/main" id="{50474D17-9D59-4AD5-9CB9-F85B0DFA6B4B}"/>
                    </a:ext>
                  </a:extLst>
                </p:cNvPr>
                <p:cNvPicPr/>
                <p:nvPr/>
              </p:nvPicPr>
              <p:blipFill>
                <a:blip r:embed="rId99"/>
                <a:stretch>
                  <a:fillRect/>
                </a:stretch>
              </p:blipFill>
              <p:spPr>
                <a:xfrm>
                  <a:off x="1682355" y="2325945"/>
                  <a:ext cx="159480" cy="141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0">
              <p14:nvContentPartPr>
                <p14:cNvPr id="67" name="Ink 66">
                  <a:extLst>
                    <a:ext uri="{FF2B5EF4-FFF2-40B4-BE49-F238E27FC236}">
                      <a16:creationId xmlns:a16="http://schemas.microsoft.com/office/drawing/2014/main" id="{A18F181F-66AC-454E-AE02-862C0914C72B}"/>
                    </a:ext>
                  </a:extLst>
                </p14:cNvPr>
                <p14:cNvContentPartPr/>
                <p14:nvPr/>
              </p14:nvContentPartPr>
              <p14:xfrm>
                <a:off x="1730955" y="2202465"/>
                <a:ext cx="308880" cy="176040"/>
              </p14:xfrm>
            </p:contentPart>
          </mc:Choice>
          <mc:Fallback xmlns="">
            <p:pic>
              <p:nvPicPr>
                <p:cNvPr id="67" name="Ink 66">
                  <a:extLst>
                    <a:ext uri="{FF2B5EF4-FFF2-40B4-BE49-F238E27FC236}">
                      <a16:creationId xmlns:a16="http://schemas.microsoft.com/office/drawing/2014/main" id="{A18F181F-66AC-454E-AE02-862C0914C72B}"/>
                    </a:ext>
                  </a:extLst>
                </p:cNvPr>
                <p:cNvPicPr/>
                <p:nvPr/>
              </p:nvPicPr>
              <p:blipFill>
                <a:blip r:embed="rId101"/>
                <a:stretch>
                  <a:fillRect/>
                </a:stretch>
              </p:blipFill>
              <p:spPr>
                <a:xfrm>
                  <a:off x="1712955" y="2184465"/>
                  <a:ext cx="344520" cy="211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2">
              <p14:nvContentPartPr>
                <p14:cNvPr id="68" name="Ink 67">
                  <a:extLst>
                    <a:ext uri="{FF2B5EF4-FFF2-40B4-BE49-F238E27FC236}">
                      <a16:creationId xmlns:a16="http://schemas.microsoft.com/office/drawing/2014/main" id="{E2D42E6D-CD26-4C2A-9B99-6BF7EAC1C7D9}"/>
                    </a:ext>
                  </a:extLst>
                </p14:cNvPr>
                <p14:cNvContentPartPr/>
                <p14:nvPr/>
              </p14:nvContentPartPr>
              <p14:xfrm>
                <a:off x="1854435" y="2188065"/>
                <a:ext cx="294480" cy="363960"/>
              </p14:xfrm>
            </p:contentPart>
          </mc:Choice>
          <mc:Fallback xmlns="">
            <p:pic>
              <p:nvPicPr>
                <p:cNvPr id="68" name="Ink 67">
                  <a:extLst>
                    <a:ext uri="{FF2B5EF4-FFF2-40B4-BE49-F238E27FC236}">
                      <a16:creationId xmlns:a16="http://schemas.microsoft.com/office/drawing/2014/main" id="{E2D42E6D-CD26-4C2A-9B99-6BF7EAC1C7D9}"/>
                    </a:ext>
                  </a:extLst>
                </p:cNvPr>
                <p:cNvPicPr/>
                <p:nvPr/>
              </p:nvPicPr>
              <p:blipFill>
                <a:blip r:embed="rId103"/>
                <a:stretch>
                  <a:fillRect/>
                </a:stretch>
              </p:blipFill>
              <p:spPr>
                <a:xfrm>
                  <a:off x="1836795" y="2170425"/>
                  <a:ext cx="330120" cy="399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4">
              <p14:nvContentPartPr>
                <p14:cNvPr id="69" name="Ink 68">
                  <a:extLst>
                    <a:ext uri="{FF2B5EF4-FFF2-40B4-BE49-F238E27FC236}">
                      <a16:creationId xmlns:a16="http://schemas.microsoft.com/office/drawing/2014/main" id="{FDD45BDB-01DC-4C68-BED8-F9676026A948}"/>
                    </a:ext>
                  </a:extLst>
                </p14:cNvPr>
                <p14:cNvContentPartPr/>
                <p14:nvPr/>
              </p14:nvContentPartPr>
              <p14:xfrm>
                <a:off x="1928595" y="2576145"/>
                <a:ext cx="213480" cy="95040"/>
              </p14:xfrm>
            </p:contentPart>
          </mc:Choice>
          <mc:Fallback xmlns="">
            <p:pic>
              <p:nvPicPr>
                <p:cNvPr id="69" name="Ink 68">
                  <a:extLst>
                    <a:ext uri="{FF2B5EF4-FFF2-40B4-BE49-F238E27FC236}">
                      <a16:creationId xmlns:a16="http://schemas.microsoft.com/office/drawing/2014/main" id="{FDD45BDB-01DC-4C68-BED8-F9676026A948}"/>
                    </a:ext>
                  </a:extLst>
                </p:cNvPr>
                <p:cNvPicPr/>
                <p:nvPr/>
              </p:nvPicPr>
              <p:blipFill>
                <a:blip r:embed="rId105"/>
                <a:stretch>
                  <a:fillRect/>
                </a:stretch>
              </p:blipFill>
              <p:spPr>
                <a:xfrm>
                  <a:off x="1910595" y="2558145"/>
                  <a:ext cx="249120" cy="13068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106">
            <p14:nvContentPartPr>
              <p14:cNvPr id="2" name="Ink 1">
                <a:extLst>
                  <a:ext uri="{FF2B5EF4-FFF2-40B4-BE49-F238E27FC236}">
                    <a16:creationId xmlns:a16="http://schemas.microsoft.com/office/drawing/2014/main" id="{B9942666-7DFD-4502-B3AC-D1525289394D}"/>
                  </a:ext>
                </a:extLst>
              </p14:cNvPr>
              <p14:cNvContentPartPr/>
              <p14:nvPr/>
            </p14:nvContentPartPr>
            <p14:xfrm>
              <a:off x="2430000" y="1374840"/>
              <a:ext cx="6909120" cy="4696920"/>
            </p14:xfrm>
          </p:contentPart>
        </mc:Choice>
        <mc:Fallback>
          <p:pic>
            <p:nvPicPr>
              <p:cNvPr id="2" name="Ink 1">
                <a:extLst>
                  <a:ext uri="{FF2B5EF4-FFF2-40B4-BE49-F238E27FC236}">
                    <a16:creationId xmlns:a16="http://schemas.microsoft.com/office/drawing/2014/main" id="{B9942666-7DFD-4502-B3AC-D1525289394D}"/>
                  </a:ext>
                </a:extLst>
              </p:cNvPr>
              <p:cNvPicPr/>
              <p:nvPr/>
            </p:nvPicPr>
            <p:blipFill>
              <a:blip r:embed="rId107"/>
              <a:stretch>
                <a:fillRect/>
              </a:stretch>
            </p:blipFill>
            <p:spPr>
              <a:xfrm>
                <a:off x="2420640" y="1365480"/>
                <a:ext cx="6927840" cy="471564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82615526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1C57F28-0AE5-48B7-A83E-A3D246FDB1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6146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1C57F28-0AE5-48B7-A83E-A3D246FDB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2AEDD5D-8E60-4007-B0DC-7B48CAF72E7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BB203D9D-92DD-4174-835F-ABE6EA6C5CD0}"/>
              </a:ext>
            </a:extLst>
          </p:cNvPr>
          <p:cNvGrpSpPr/>
          <p:nvPr/>
        </p:nvGrpSpPr>
        <p:grpSpPr>
          <a:xfrm>
            <a:off x="3242595" y="2758665"/>
            <a:ext cx="300600" cy="440640"/>
            <a:chOff x="3242595" y="2758665"/>
            <a:chExt cx="300600" cy="4406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">
              <p14:nvContentPartPr>
                <p14:cNvPr id="9" name="Ink 8">
                  <a:extLst>
                    <a:ext uri="{FF2B5EF4-FFF2-40B4-BE49-F238E27FC236}">
                      <a16:creationId xmlns:a16="http://schemas.microsoft.com/office/drawing/2014/main" id="{8C12EA8A-C627-4FE1-A721-0118583C2DF4}"/>
                    </a:ext>
                  </a:extLst>
                </p14:cNvPr>
                <p14:cNvContentPartPr/>
                <p14:nvPr/>
              </p14:nvContentPartPr>
              <p14:xfrm>
                <a:off x="3386235" y="3095265"/>
                <a:ext cx="11160" cy="10800"/>
              </p14:xfrm>
            </p:contentPart>
          </mc:Choice>
          <mc:Fallback xmlns="">
            <p:pic>
              <p:nvPicPr>
                <p:cNvPr id="9" name="Ink 8">
                  <a:extLst>
                    <a:ext uri="{FF2B5EF4-FFF2-40B4-BE49-F238E27FC236}">
                      <a16:creationId xmlns:a16="http://schemas.microsoft.com/office/drawing/2014/main" id="{8C12EA8A-C627-4FE1-A721-0118583C2DF4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3368595" y="3077625"/>
                  <a:ext cx="46800" cy="46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">
              <p14:nvContentPartPr>
                <p14:cNvPr id="10" name="Ink 9">
                  <a:extLst>
                    <a:ext uri="{FF2B5EF4-FFF2-40B4-BE49-F238E27FC236}">
                      <a16:creationId xmlns:a16="http://schemas.microsoft.com/office/drawing/2014/main" id="{2F2C5509-28F2-4164-8618-6DB9ADBAF9D9}"/>
                    </a:ext>
                  </a:extLst>
                </p14:cNvPr>
                <p14:cNvContentPartPr/>
                <p14:nvPr/>
              </p14:nvContentPartPr>
              <p14:xfrm>
                <a:off x="3354915" y="2897985"/>
                <a:ext cx="72720" cy="225720"/>
              </p14:xfrm>
            </p:contentPart>
          </mc:Choice>
          <mc:Fallback xmlns="">
            <p:pic>
              <p:nvPicPr>
                <p:cNvPr id="10" name="Ink 9">
                  <a:extLst>
                    <a:ext uri="{FF2B5EF4-FFF2-40B4-BE49-F238E27FC236}">
                      <a16:creationId xmlns:a16="http://schemas.microsoft.com/office/drawing/2014/main" id="{2F2C5509-28F2-4164-8618-6DB9ADBAF9D9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3337275" y="2879985"/>
                  <a:ext cx="108360" cy="261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">
              <p14:nvContentPartPr>
                <p14:cNvPr id="11" name="Ink 10">
                  <a:extLst>
                    <a:ext uri="{FF2B5EF4-FFF2-40B4-BE49-F238E27FC236}">
                      <a16:creationId xmlns:a16="http://schemas.microsoft.com/office/drawing/2014/main" id="{1F9AC786-3A14-411B-B80A-2CA6A73E6BC0}"/>
                    </a:ext>
                  </a:extLst>
                </p14:cNvPr>
                <p14:cNvContentPartPr/>
                <p14:nvPr/>
              </p14:nvContentPartPr>
              <p14:xfrm>
                <a:off x="3391995" y="3151785"/>
                <a:ext cx="1800" cy="11160"/>
              </p14:xfrm>
            </p:contentPart>
          </mc:Choice>
          <mc:Fallback xmlns="">
            <p:pic>
              <p:nvPicPr>
                <p:cNvPr id="11" name="Ink 10">
                  <a:extLst>
                    <a:ext uri="{FF2B5EF4-FFF2-40B4-BE49-F238E27FC236}">
                      <a16:creationId xmlns:a16="http://schemas.microsoft.com/office/drawing/2014/main" id="{1F9AC786-3A14-411B-B80A-2CA6A73E6BC0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3374355" y="3133785"/>
                  <a:ext cx="37440" cy="46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8A23FC29-5EF9-41CF-B0BF-AA6FDB072AD6}"/>
                    </a:ext>
                  </a:extLst>
                </p14:cNvPr>
                <p14:cNvContentPartPr/>
                <p14:nvPr/>
              </p14:nvContentPartPr>
              <p14:xfrm>
                <a:off x="3242595" y="2758665"/>
                <a:ext cx="300600" cy="440640"/>
              </p14:xfrm>
            </p:contentPart>
          </mc:Choice>
          <mc:Fallback xmlns=""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8A23FC29-5EF9-41CF-B0BF-AA6FDB072AD6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3224595" y="2741025"/>
                  <a:ext cx="336240" cy="476280"/>
                </a:xfrm>
                <a:prstGeom prst="rect">
                  <a:avLst/>
                </a:prstGeom>
              </p:spPr>
            </p:pic>
          </mc:Fallback>
        </mc:AlternateContent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D6278DEE-85EA-49E0-B451-735A1FC51D86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15">
            <p14:nvContentPartPr>
              <p14:cNvPr id="16" name="Ink 15">
                <a:extLst>
                  <a:ext uri="{FF2B5EF4-FFF2-40B4-BE49-F238E27FC236}">
                    <a16:creationId xmlns:a16="http://schemas.microsoft.com/office/drawing/2014/main" id="{682816F0-CDAC-4737-960A-07F3F7051AF5}"/>
                  </a:ext>
                </a:extLst>
              </p14:cNvPr>
              <p14:cNvContentPartPr/>
              <p14:nvPr/>
            </p14:nvContentPartPr>
            <p14:xfrm>
              <a:off x="2202555" y="4756665"/>
              <a:ext cx="804240" cy="153360"/>
            </p14:xfrm>
          </p:contentPart>
        </mc:Choice>
        <mc:Fallback xmlns="">
          <p:pic>
            <p:nvPicPr>
              <p:cNvPr id="16" name="Ink 15">
                <a:extLst>
                  <a:ext uri="{FF2B5EF4-FFF2-40B4-BE49-F238E27FC236}">
                    <a16:creationId xmlns:a16="http://schemas.microsoft.com/office/drawing/2014/main" id="{682816F0-CDAC-4737-960A-07F3F7051AF5}"/>
                  </a:ext>
                </a:extLst>
              </p:cNvPr>
              <p:cNvPicPr/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2184915" y="4739025"/>
                <a:ext cx="839880" cy="189000"/>
              </a:xfrm>
              <a:prstGeom prst="rect">
                <a:avLst/>
              </a:prstGeom>
            </p:spPr>
          </p:pic>
        </mc:Fallback>
      </mc:AlternateContent>
      <p:grpSp>
        <p:nvGrpSpPr>
          <p:cNvPr id="19" name="Group 18">
            <a:extLst>
              <a:ext uri="{FF2B5EF4-FFF2-40B4-BE49-F238E27FC236}">
                <a16:creationId xmlns:a16="http://schemas.microsoft.com/office/drawing/2014/main" id="{8E93E9C6-2F8D-48DF-8EF2-7F2500003C62}"/>
              </a:ext>
            </a:extLst>
          </p:cNvPr>
          <p:cNvGrpSpPr/>
          <p:nvPr/>
        </p:nvGrpSpPr>
        <p:grpSpPr>
          <a:xfrm>
            <a:off x="7011435" y="4498185"/>
            <a:ext cx="144720" cy="315000"/>
            <a:chOff x="7011435" y="4498185"/>
            <a:chExt cx="144720" cy="3150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7">
              <p14:nvContentPartPr>
                <p14:cNvPr id="17" name="Ink 16">
                  <a:extLst>
                    <a:ext uri="{FF2B5EF4-FFF2-40B4-BE49-F238E27FC236}">
                      <a16:creationId xmlns:a16="http://schemas.microsoft.com/office/drawing/2014/main" id="{6B75AE76-699F-488D-ABE9-D66623F79DAD}"/>
                    </a:ext>
                  </a:extLst>
                </p14:cNvPr>
                <p14:cNvContentPartPr/>
                <p14:nvPr/>
              </p14:nvContentPartPr>
              <p14:xfrm>
                <a:off x="7022235" y="4498185"/>
                <a:ext cx="47880" cy="268200"/>
              </p14:xfrm>
            </p:contentPart>
          </mc:Choice>
          <mc:Fallback xmlns="">
            <p:pic>
              <p:nvPicPr>
                <p:cNvPr id="17" name="Ink 16">
                  <a:extLst>
                    <a:ext uri="{FF2B5EF4-FFF2-40B4-BE49-F238E27FC236}">
                      <a16:creationId xmlns:a16="http://schemas.microsoft.com/office/drawing/2014/main" id="{6B75AE76-699F-488D-ABE9-D66623F79DAD}"/>
                    </a:ext>
                  </a:extLst>
                </p:cNvPr>
                <p:cNvPicPr/>
                <p:nvPr/>
              </p:nvPicPr>
              <p:blipFill>
                <a:blip r:embed="rId18"/>
                <a:stretch>
                  <a:fillRect/>
                </a:stretch>
              </p:blipFill>
              <p:spPr>
                <a:xfrm>
                  <a:off x="7004235" y="4480185"/>
                  <a:ext cx="83520" cy="303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9">
              <p14:nvContentPartPr>
                <p14:cNvPr id="18" name="Ink 17">
                  <a:extLst>
                    <a:ext uri="{FF2B5EF4-FFF2-40B4-BE49-F238E27FC236}">
                      <a16:creationId xmlns:a16="http://schemas.microsoft.com/office/drawing/2014/main" id="{0E53D160-E27D-4FF9-BCE3-DE2B716039C6}"/>
                    </a:ext>
                  </a:extLst>
                </p14:cNvPr>
                <p14:cNvContentPartPr/>
                <p14:nvPr/>
              </p14:nvContentPartPr>
              <p14:xfrm>
                <a:off x="7011435" y="4680705"/>
                <a:ext cx="144720" cy="132480"/>
              </p14:xfrm>
            </p:contentPart>
          </mc:Choice>
          <mc:Fallback xmlns="">
            <p:pic>
              <p:nvPicPr>
                <p:cNvPr id="18" name="Ink 17">
                  <a:extLst>
                    <a:ext uri="{FF2B5EF4-FFF2-40B4-BE49-F238E27FC236}">
                      <a16:creationId xmlns:a16="http://schemas.microsoft.com/office/drawing/2014/main" id="{0E53D160-E27D-4FF9-BCE3-DE2B716039C6}"/>
                    </a:ext>
                  </a:extLst>
                </p:cNvPr>
                <p:cNvPicPr/>
                <p:nvPr/>
              </p:nvPicPr>
              <p:blipFill>
                <a:blip r:embed="rId20"/>
                <a:stretch>
                  <a:fillRect/>
                </a:stretch>
              </p:blipFill>
              <p:spPr>
                <a:xfrm>
                  <a:off x="6993795" y="4663065"/>
                  <a:ext cx="180360" cy="16812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21">
            <p14:nvContentPartPr>
              <p14:cNvPr id="2" name="Ink 1">
                <a:extLst>
                  <a:ext uri="{FF2B5EF4-FFF2-40B4-BE49-F238E27FC236}">
                    <a16:creationId xmlns:a16="http://schemas.microsoft.com/office/drawing/2014/main" id="{4915B81E-C812-4530-8781-4C1680DB6D9F}"/>
                  </a:ext>
                </a:extLst>
              </p14:cNvPr>
              <p14:cNvContentPartPr/>
              <p14:nvPr/>
            </p14:nvContentPartPr>
            <p14:xfrm>
              <a:off x="3075120" y="1794600"/>
              <a:ext cx="7583040" cy="1416240"/>
            </p14:xfrm>
          </p:contentPart>
        </mc:Choice>
        <mc:Fallback>
          <p:pic>
            <p:nvPicPr>
              <p:cNvPr id="2" name="Ink 1">
                <a:extLst>
                  <a:ext uri="{FF2B5EF4-FFF2-40B4-BE49-F238E27FC236}">
                    <a16:creationId xmlns:a16="http://schemas.microsoft.com/office/drawing/2014/main" id="{4915B81E-C812-4530-8781-4C1680DB6D9F}"/>
                  </a:ext>
                </a:extLst>
              </p:cNvPr>
              <p:cNvPicPr/>
              <p:nvPr/>
            </p:nvPicPr>
            <p:blipFill>
              <a:blip r:embed="rId22"/>
              <a:stretch>
                <a:fillRect/>
              </a:stretch>
            </p:blipFill>
            <p:spPr>
              <a:xfrm>
                <a:off x="3065760" y="1785240"/>
                <a:ext cx="7601760" cy="143496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18939396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14B8AD-3827-4471-A1B9-C8E309F260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1238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14B8AD-3827-4471-A1B9-C8E309F260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9C0DBF30-3F28-4D84-A4CD-751D44F2960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9525"/>
            <a:ext cx="12192000" cy="6858000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6">
            <p14:nvContentPartPr>
              <p14:cNvPr id="2" name="Ink 1">
                <a:extLst>
                  <a:ext uri="{FF2B5EF4-FFF2-40B4-BE49-F238E27FC236}">
                    <a16:creationId xmlns:a16="http://schemas.microsoft.com/office/drawing/2014/main" id="{80AE0E47-1F23-4911-BA59-ED143DA3E5D8}"/>
                  </a:ext>
                </a:extLst>
              </p14:cNvPr>
              <p14:cNvContentPartPr/>
              <p14:nvPr/>
            </p14:nvContentPartPr>
            <p14:xfrm>
              <a:off x="8433000" y="1562040"/>
              <a:ext cx="1854000" cy="2344320"/>
            </p14:xfrm>
          </p:contentPart>
        </mc:Choice>
        <mc:Fallback>
          <p:pic>
            <p:nvPicPr>
              <p:cNvPr id="2" name="Ink 1">
                <a:extLst>
                  <a:ext uri="{FF2B5EF4-FFF2-40B4-BE49-F238E27FC236}">
                    <a16:creationId xmlns:a16="http://schemas.microsoft.com/office/drawing/2014/main" id="{80AE0E47-1F23-4911-BA59-ED143DA3E5D8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423640" y="1552680"/>
                <a:ext cx="1872720" cy="236304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2170771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EC169D5-5EDF-4196-A101-1E435FB38C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357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EC169D5-5EDF-4196-A101-1E435FB38C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3F0B676-C605-4DA6-AB72-DE5D8975432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9525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98053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04D3CEB-822D-4E1D-AAD3-FB9CEC833D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04D3CEB-822D-4E1D-AAD3-FB9CEC833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74D5911B-3428-4C79-9D34-2C83482013A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A864863C-CF4D-481A-9527-0CD863C66BEA}"/>
              </a:ext>
            </a:extLst>
          </p:cNvPr>
          <p:cNvGrpSpPr/>
          <p:nvPr/>
        </p:nvGrpSpPr>
        <p:grpSpPr>
          <a:xfrm>
            <a:off x="9373395" y="1507305"/>
            <a:ext cx="948600" cy="275760"/>
            <a:chOff x="9373395" y="1507305"/>
            <a:chExt cx="948600" cy="2757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">
              <p14:nvContentPartPr>
                <p14:cNvPr id="7" name="Ink 6">
                  <a:extLst>
                    <a:ext uri="{FF2B5EF4-FFF2-40B4-BE49-F238E27FC236}">
                      <a16:creationId xmlns:a16="http://schemas.microsoft.com/office/drawing/2014/main" id="{5E80EF4F-49EF-422B-B8A9-F137B17E05C1}"/>
                    </a:ext>
                  </a:extLst>
                </p14:cNvPr>
                <p14:cNvContentPartPr/>
                <p14:nvPr/>
              </p14:nvContentPartPr>
              <p14:xfrm>
                <a:off x="9373395" y="1570665"/>
                <a:ext cx="199080" cy="199800"/>
              </p14:xfrm>
            </p:contentPart>
          </mc:Choice>
          <mc:Fallback xmlns="">
            <p:pic>
              <p:nvPicPr>
                <p:cNvPr id="7" name="Ink 6">
                  <a:extLst>
                    <a:ext uri="{FF2B5EF4-FFF2-40B4-BE49-F238E27FC236}">
                      <a16:creationId xmlns:a16="http://schemas.microsoft.com/office/drawing/2014/main" id="{5E80EF4F-49EF-422B-B8A9-F137B17E05C1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9355755" y="1553025"/>
                  <a:ext cx="234720" cy="235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">
              <p14:nvContentPartPr>
                <p14:cNvPr id="9" name="Ink 8">
                  <a:extLst>
                    <a:ext uri="{FF2B5EF4-FFF2-40B4-BE49-F238E27FC236}">
                      <a16:creationId xmlns:a16="http://schemas.microsoft.com/office/drawing/2014/main" id="{45AE9CC4-8887-48C9-94C1-99524382A07B}"/>
                    </a:ext>
                  </a:extLst>
                </p14:cNvPr>
                <p14:cNvContentPartPr/>
                <p14:nvPr/>
              </p14:nvContentPartPr>
              <p14:xfrm>
                <a:off x="9630435" y="1660305"/>
                <a:ext cx="118440" cy="74880"/>
              </p14:xfrm>
            </p:contentPart>
          </mc:Choice>
          <mc:Fallback xmlns="">
            <p:pic>
              <p:nvPicPr>
                <p:cNvPr id="9" name="Ink 8">
                  <a:extLst>
                    <a:ext uri="{FF2B5EF4-FFF2-40B4-BE49-F238E27FC236}">
                      <a16:creationId xmlns:a16="http://schemas.microsoft.com/office/drawing/2014/main" id="{45AE9CC4-8887-48C9-94C1-99524382A07B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9612435" y="1642305"/>
                  <a:ext cx="154080" cy="110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">
              <p14:nvContentPartPr>
                <p14:cNvPr id="10" name="Ink 9">
                  <a:extLst>
                    <a:ext uri="{FF2B5EF4-FFF2-40B4-BE49-F238E27FC236}">
                      <a16:creationId xmlns:a16="http://schemas.microsoft.com/office/drawing/2014/main" id="{29C0B6F4-9276-4718-83E1-82EB75228F1C}"/>
                    </a:ext>
                  </a:extLst>
                </p14:cNvPr>
                <p14:cNvContentPartPr/>
                <p14:nvPr/>
              </p14:nvContentPartPr>
              <p14:xfrm>
                <a:off x="9755355" y="1628265"/>
                <a:ext cx="151920" cy="131400"/>
              </p14:xfrm>
            </p:contentPart>
          </mc:Choice>
          <mc:Fallback xmlns="">
            <p:pic>
              <p:nvPicPr>
                <p:cNvPr id="10" name="Ink 9">
                  <a:extLst>
                    <a:ext uri="{FF2B5EF4-FFF2-40B4-BE49-F238E27FC236}">
                      <a16:creationId xmlns:a16="http://schemas.microsoft.com/office/drawing/2014/main" id="{29C0B6F4-9276-4718-83E1-82EB75228F1C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9737355" y="1610625"/>
                  <a:ext cx="187560" cy="167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">
              <p14:nvContentPartPr>
                <p14:cNvPr id="11" name="Ink 10">
                  <a:extLst>
                    <a:ext uri="{FF2B5EF4-FFF2-40B4-BE49-F238E27FC236}">
                      <a16:creationId xmlns:a16="http://schemas.microsoft.com/office/drawing/2014/main" id="{74FA328E-33A7-45E2-8055-8D3A8D5EC5E2}"/>
                    </a:ext>
                  </a:extLst>
                </p14:cNvPr>
                <p14:cNvContentPartPr/>
                <p14:nvPr/>
              </p14:nvContentPartPr>
              <p14:xfrm>
                <a:off x="9992235" y="1507305"/>
                <a:ext cx="56520" cy="257040"/>
              </p14:xfrm>
            </p:contentPart>
          </mc:Choice>
          <mc:Fallback xmlns="">
            <p:pic>
              <p:nvPicPr>
                <p:cNvPr id="11" name="Ink 10">
                  <a:extLst>
                    <a:ext uri="{FF2B5EF4-FFF2-40B4-BE49-F238E27FC236}">
                      <a16:creationId xmlns:a16="http://schemas.microsoft.com/office/drawing/2014/main" id="{74FA328E-33A7-45E2-8055-8D3A8D5EC5E2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9974235" y="1489305"/>
                  <a:ext cx="92160" cy="292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BFC4FA3D-0BFA-467B-96B7-824C480076E2}"/>
                    </a:ext>
                  </a:extLst>
                </p14:cNvPr>
                <p14:cNvContentPartPr/>
                <p14:nvPr/>
              </p14:nvContentPartPr>
              <p14:xfrm>
                <a:off x="10087275" y="1595505"/>
                <a:ext cx="234720" cy="187560"/>
              </p14:xfrm>
            </p:contentPart>
          </mc:Choice>
          <mc:Fallback xmlns=""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BFC4FA3D-0BFA-467B-96B7-824C480076E2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10069275" y="1577865"/>
                  <a:ext cx="270360" cy="2232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0879ED3-017C-45B1-8269-B9AA067394F2}"/>
              </a:ext>
            </a:extLst>
          </p:cNvPr>
          <p:cNvGrpSpPr/>
          <p:nvPr/>
        </p:nvGrpSpPr>
        <p:grpSpPr>
          <a:xfrm>
            <a:off x="1468515" y="1977105"/>
            <a:ext cx="781200" cy="1090800"/>
            <a:chOff x="1468515" y="1977105"/>
            <a:chExt cx="781200" cy="10908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6">
              <p14:nvContentPartPr>
                <p14:cNvPr id="14" name="Ink 13">
                  <a:extLst>
                    <a:ext uri="{FF2B5EF4-FFF2-40B4-BE49-F238E27FC236}">
                      <a16:creationId xmlns:a16="http://schemas.microsoft.com/office/drawing/2014/main" id="{A5D51823-60CB-4E36-9F1E-93D0AF517D97}"/>
                    </a:ext>
                  </a:extLst>
                </p14:cNvPr>
                <p14:cNvContentPartPr/>
                <p14:nvPr/>
              </p14:nvContentPartPr>
              <p14:xfrm>
                <a:off x="2106075" y="1977105"/>
                <a:ext cx="143640" cy="1090800"/>
              </p14:xfrm>
            </p:contentPart>
          </mc:Choice>
          <mc:Fallback xmlns="">
            <p:pic>
              <p:nvPicPr>
                <p:cNvPr id="14" name="Ink 13">
                  <a:extLst>
                    <a:ext uri="{FF2B5EF4-FFF2-40B4-BE49-F238E27FC236}">
                      <a16:creationId xmlns:a16="http://schemas.microsoft.com/office/drawing/2014/main" id="{A5D51823-60CB-4E36-9F1E-93D0AF517D97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2088435" y="1959105"/>
                  <a:ext cx="179280" cy="1126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">
              <p14:nvContentPartPr>
                <p14:cNvPr id="15" name="Ink 14">
                  <a:extLst>
                    <a:ext uri="{FF2B5EF4-FFF2-40B4-BE49-F238E27FC236}">
                      <a16:creationId xmlns:a16="http://schemas.microsoft.com/office/drawing/2014/main" id="{7D7FCB02-C25D-4C08-B35E-BC32A918FE71}"/>
                    </a:ext>
                  </a:extLst>
                </p14:cNvPr>
                <p14:cNvContentPartPr/>
                <p14:nvPr/>
              </p14:nvContentPartPr>
              <p14:xfrm>
                <a:off x="1468515" y="2398665"/>
                <a:ext cx="477000" cy="52560"/>
              </p14:xfrm>
            </p:contentPart>
          </mc:Choice>
          <mc:Fallback xmlns="">
            <p:pic>
              <p:nvPicPr>
                <p:cNvPr id="15" name="Ink 14">
                  <a:extLst>
                    <a:ext uri="{FF2B5EF4-FFF2-40B4-BE49-F238E27FC236}">
                      <a16:creationId xmlns:a16="http://schemas.microsoft.com/office/drawing/2014/main" id="{7D7FCB02-C25D-4C08-B35E-BC32A918FE71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1450875" y="2380665"/>
                  <a:ext cx="512640" cy="88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">
              <p14:nvContentPartPr>
                <p14:cNvPr id="16" name="Ink 15">
                  <a:extLst>
                    <a:ext uri="{FF2B5EF4-FFF2-40B4-BE49-F238E27FC236}">
                      <a16:creationId xmlns:a16="http://schemas.microsoft.com/office/drawing/2014/main" id="{0500DD87-95F4-4D88-84BE-AE7D55E4D49D}"/>
                    </a:ext>
                  </a:extLst>
                </p14:cNvPr>
                <p14:cNvContentPartPr/>
                <p14:nvPr/>
              </p14:nvContentPartPr>
              <p14:xfrm>
                <a:off x="1490115" y="2350785"/>
                <a:ext cx="120600" cy="172440"/>
              </p14:xfrm>
            </p:contentPart>
          </mc:Choice>
          <mc:Fallback xmlns="">
            <p:pic>
              <p:nvPicPr>
                <p:cNvPr id="16" name="Ink 15">
                  <a:extLst>
                    <a:ext uri="{FF2B5EF4-FFF2-40B4-BE49-F238E27FC236}">
                      <a16:creationId xmlns:a16="http://schemas.microsoft.com/office/drawing/2014/main" id="{0500DD87-95F4-4D88-84BE-AE7D55E4D49D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1472115" y="2333145"/>
                  <a:ext cx="156240" cy="2080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2C4CD7F-85F3-40F6-9306-8BB6632AB909}"/>
              </a:ext>
            </a:extLst>
          </p:cNvPr>
          <p:cNvGrpSpPr/>
          <p:nvPr/>
        </p:nvGrpSpPr>
        <p:grpSpPr>
          <a:xfrm>
            <a:off x="250995" y="2209665"/>
            <a:ext cx="841320" cy="307080"/>
            <a:chOff x="250995" y="2209665"/>
            <a:chExt cx="841320" cy="3070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22">
              <p14:nvContentPartPr>
                <p14:cNvPr id="19" name="Ink 18">
                  <a:extLst>
                    <a:ext uri="{FF2B5EF4-FFF2-40B4-BE49-F238E27FC236}">
                      <a16:creationId xmlns:a16="http://schemas.microsoft.com/office/drawing/2014/main" id="{B979FEBB-52A9-4D41-B5F6-0482954F96F7}"/>
                    </a:ext>
                  </a:extLst>
                </p14:cNvPr>
                <p14:cNvContentPartPr/>
                <p14:nvPr/>
              </p14:nvContentPartPr>
              <p14:xfrm>
                <a:off x="250995" y="2274105"/>
                <a:ext cx="164880" cy="227160"/>
              </p14:xfrm>
            </p:contentPart>
          </mc:Choice>
          <mc:Fallback xmlns="">
            <p:pic>
              <p:nvPicPr>
                <p:cNvPr id="19" name="Ink 18">
                  <a:extLst>
                    <a:ext uri="{FF2B5EF4-FFF2-40B4-BE49-F238E27FC236}">
                      <a16:creationId xmlns:a16="http://schemas.microsoft.com/office/drawing/2014/main" id="{B979FEBB-52A9-4D41-B5F6-0482954F96F7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232995" y="2256105"/>
                  <a:ext cx="200520" cy="262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4">
              <p14:nvContentPartPr>
                <p14:cNvPr id="20" name="Ink 19">
                  <a:extLst>
                    <a:ext uri="{FF2B5EF4-FFF2-40B4-BE49-F238E27FC236}">
                      <a16:creationId xmlns:a16="http://schemas.microsoft.com/office/drawing/2014/main" id="{25AAFF44-942E-4455-9A12-68B5CD8192A3}"/>
                    </a:ext>
                  </a:extLst>
                </p14:cNvPr>
                <p14:cNvContentPartPr/>
                <p14:nvPr/>
              </p14:nvContentPartPr>
              <p14:xfrm>
                <a:off x="520275" y="2289945"/>
                <a:ext cx="91440" cy="179280"/>
              </p14:xfrm>
            </p:contentPart>
          </mc:Choice>
          <mc:Fallback xmlns="">
            <p:pic>
              <p:nvPicPr>
                <p:cNvPr id="20" name="Ink 19">
                  <a:extLst>
                    <a:ext uri="{FF2B5EF4-FFF2-40B4-BE49-F238E27FC236}">
                      <a16:creationId xmlns:a16="http://schemas.microsoft.com/office/drawing/2014/main" id="{25AAFF44-942E-4455-9A12-68B5CD8192A3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502275" y="2271945"/>
                  <a:ext cx="127080" cy="214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6">
              <p14:nvContentPartPr>
                <p14:cNvPr id="21" name="Ink 20">
                  <a:extLst>
                    <a:ext uri="{FF2B5EF4-FFF2-40B4-BE49-F238E27FC236}">
                      <a16:creationId xmlns:a16="http://schemas.microsoft.com/office/drawing/2014/main" id="{69747BB2-C674-4DDC-ABCE-41453D826D99}"/>
                    </a:ext>
                  </a:extLst>
                </p14:cNvPr>
                <p14:cNvContentPartPr/>
                <p14:nvPr/>
              </p14:nvContentPartPr>
              <p14:xfrm>
                <a:off x="448275" y="2346465"/>
                <a:ext cx="111240" cy="170280"/>
              </p14:xfrm>
            </p:contentPart>
          </mc:Choice>
          <mc:Fallback xmlns="">
            <p:pic>
              <p:nvPicPr>
                <p:cNvPr id="21" name="Ink 20">
                  <a:extLst>
                    <a:ext uri="{FF2B5EF4-FFF2-40B4-BE49-F238E27FC236}">
                      <a16:creationId xmlns:a16="http://schemas.microsoft.com/office/drawing/2014/main" id="{69747BB2-C674-4DDC-ABCE-41453D826D99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430275" y="2328465"/>
                  <a:ext cx="146880" cy="205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8">
              <p14:nvContentPartPr>
                <p14:cNvPr id="22" name="Ink 21">
                  <a:extLst>
                    <a:ext uri="{FF2B5EF4-FFF2-40B4-BE49-F238E27FC236}">
                      <a16:creationId xmlns:a16="http://schemas.microsoft.com/office/drawing/2014/main" id="{EFF94248-FB5E-459B-B71F-C8278ABE9084}"/>
                    </a:ext>
                  </a:extLst>
                </p14:cNvPr>
                <p14:cNvContentPartPr/>
                <p14:nvPr/>
              </p14:nvContentPartPr>
              <p14:xfrm>
                <a:off x="609555" y="2274825"/>
                <a:ext cx="297000" cy="133560"/>
              </p14:xfrm>
            </p:contentPart>
          </mc:Choice>
          <mc:Fallback xmlns="">
            <p:pic>
              <p:nvPicPr>
                <p:cNvPr id="22" name="Ink 21">
                  <a:extLst>
                    <a:ext uri="{FF2B5EF4-FFF2-40B4-BE49-F238E27FC236}">
                      <a16:creationId xmlns:a16="http://schemas.microsoft.com/office/drawing/2014/main" id="{EFF94248-FB5E-459B-B71F-C8278ABE9084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591555" y="2256825"/>
                  <a:ext cx="332640" cy="169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0">
              <p14:nvContentPartPr>
                <p14:cNvPr id="24" name="Ink 23">
                  <a:extLst>
                    <a:ext uri="{FF2B5EF4-FFF2-40B4-BE49-F238E27FC236}">
                      <a16:creationId xmlns:a16="http://schemas.microsoft.com/office/drawing/2014/main" id="{BC4671D5-A779-4499-994A-B98668BCEA47}"/>
                    </a:ext>
                  </a:extLst>
                </p14:cNvPr>
                <p14:cNvContentPartPr/>
                <p14:nvPr/>
              </p14:nvContentPartPr>
              <p14:xfrm>
                <a:off x="909795" y="2209665"/>
                <a:ext cx="182520" cy="176760"/>
              </p14:xfrm>
            </p:contentPart>
          </mc:Choice>
          <mc:Fallback xmlns="">
            <p:pic>
              <p:nvPicPr>
                <p:cNvPr id="24" name="Ink 23">
                  <a:extLst>
                    <a:ext uri="{FF2B5EF4-FFF2-40B4-BE49-F238E27FC236}">
                      <a16:creationId xmlns:a16="http://schemas.microsoft.com/office/drawing/2014/main" id="{BC4671D5-A779-4499-994A-B98668BCEA47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891795" y="2191665"/>
                  <a:ext cx="218160" cy="2124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55EE1DED-A83E-4912-8653-345392F6B44F}"/>
              </a:ext>
            </a:extLst>
          </p:cNvPr>
          <p:cNvGrpSpPr/>
          <p:nvPr/>
        </p:nvGrpSpPr>
        <p:grpSpPr>
          <a:xfrm>
            <a:off x="9297435" y="2069985"/>
            <a:ext cx="1081080" cy="420840"/>
            <a:chOff x="9297435" y="2069985"/>
            <a:chExt cx="1081080" cy="4208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32">
              <p14:nvContentPartPr>
                <p14:cNvPr id="26" name="Ink 25">
                  <a:extLst>
                    <a:ext uri="{FF2B5EF4-FFF2-40B4-BE49-F238E27FC236}">
                      <a16:creationId xmlns:a16="http://schemas.microsoft.com/office/drawing/2014/main" id="{F3CE6778-68F7-488C-91F8-0B5D2F8AA9D1}"/>
                    </a:ext>
                  </a:extLst>
                </p14:cNvPr>
                <p14:cNvContentPartPr/>
                <p14:nvPr/>
              </p14:nvContentPartPr>
              <p14:xfrm>
                <a:off x="9476715" y="2126865"/>
                <a:ext cx="11160" cy="231840"/>
              </p14:xfrm>
            </p:contentPart>
          </mc:Choice>
          <mc:Fallback xmlns="">
            <p:pic>
              <p:nvPicPr>
                <p:cNvPr id="26" name="Ink 25">
                  <a:extLst>
                    <a:ext uri="{FF2B5EF4-FFF2-40B4-BE49-F238E27FC236}">
                      <a16:creationId xmlns:a16="http://schemas.microsoft.com/office/drawing/2014/main" id="{F3CE6778-68F7-488C-91F8-0B5D2F8AA9D1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9458715" y="2109225"/>
                  <a:ext cx="46800" cy="267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4">
              <p14:nvContentPartPr>
                <p14:cNvPr id="27" name="Ink 26">
                  <a:extLst>
                    <a:ext uri="{FF2B5EF4-FFF2-40B4-BE49-F238E27FC236}">
                      <a16:creationId xmlns:a16="http://schemas.microsoft.com/office/drawing/2014/main" id="{4965FF0C-F76F-49D4-B9CE-F746E50D5A19}"/>
                    </a:ext>
                  </a:extLst>
                </p14:cNvPr>
                <p14:cNvContentPartPr/>
                <p14:nvPr/>
              </p14:nvContentPartPr>
              <p14:xfrm>
                <a:off x="9297435" y="2069985"/>
                <a:ext cx="294120" cy="420840"/>
              </p14:xfrm>
            </p:contentPart>
          </mc:Choice>
          <mc:Fallback xmlns="">
            <p:pic>
              <p:nvPicPr>
                <p:cNvPr id="27" name="Ink 26">
                  <a:extLst>
                    <a:ext uri="{FF2B5EF4-FFF2-40B4-BE49-F238E27FC236}">
                      <a16:creationId xmlns:a16="http://schemas.microsoft.com/office/drawing/2014/main" id="{4965FF0C-F76F-49D4-B9CE-F746E50D5A19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9279435" y="2052345"/>
                  <a:ext cx="329760" cy="456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6">
              <p14:nvContentPartPr>
                <p14:cNvPr id="28" name="Ink 27">
                  <a:extLst>
                    <a:ext uri="{FF2B5EF4-FFF2-40B4-BE49-F238E27FC236}">
                      <a16:creationId xmlns:a16="http://schemas.microsoft.com/office/drawing/2014/main" id="{4DED7387-53C0-4326-93DE-4F56AAB22412}"/>
                    </a:ext>
                  </a:extLst>
                </p14:cNvPr>
                <p14:cNvContentPartPr/>
                <p14:nvPr/>
              </p14:nvContentPartPr>
              <p14:xfrm>
                <a:off x="9713235" y="2150265"/>
                <a:ext cx="154800" cy="274680"/>
              </p14:xfrm>
            </p:contentPart>
          </mc:Choice>
          <mc:Fallback xmlns="">
            <p:pic>
              <p:nvPicPr>
                <p:cNvPr id="28" name="Ink 27">
                  <a:extLst>
                    <a:ext uri="{FF2B5EF4-FFF2-40B4-BE49-F238E27FC236}">
                      <a16:creationId xmlns:a16="http://schemas.microsoft.com/office/drawing/2014/main" id="{4DED7387-53C0-4326-93DE-4F56AAB22412}"/>
                    </a:ext>
                  </a:extLst>
                </p:cNvPr>
                <p:cNvPicPr/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9695595" y="2132625"/>
                  <a:ext cx="190440" cy="310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8">
              <p14:nvContentPartPr>
                <p14:cNvPr id="29" name="Ink 28">
                  <a:extLst>
                    <a:ext uri="{FF2B5EF4-FFF2-40B4-BE49-F238E27FC236}">
                      <a16:creationId xmlns:a16="http://schemas.microsoft.com/office/drawing/2014/main" id="{44E514CD-09EB-4438-AC91-66A1FD298822}"/>
                    </a:ext>
                  </a:extLst>
                </p14:cNvPr>
                <p14:cNvContentPartPr/>
                <p14:nvPr/>
              </p14:nvContentPartPr>
              <p14:xfrm>
                <a:off x="9727995" y="2274465"/>
                <a:ext cx="159480" cy="57240"/>
              </p14:xfrm>
            </p:contentPart>
          </mc:Choice>
          <mc:Fallback xmlns="">
            <p:pic>
              <p:nvPicPr>
                <p:cNvPr id="29" name="Ink 28">
                  <a:extLst>
                    <a:ext uri="{FF2B5EF4-FFF2-40B4-BE49-F238E27FC236}">
                      <a16:creationId xmlns:a16="http://schemas.microsoft.com/office/drawing/2014/main" id="{44E514CD-09EB-4438-AC91-66A1FD298822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9709995" y="2256465"/>
                  <a:ext cx="195120" cy="92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0">
              <p14:nvContentPartPr>
                <p14:cNvPr id="30" name="Ink 29">
                  <a:extLst>
                    <a:ext uri="{FF2B5EF4-FFF2-40B4-BE49-F238E27FC236}">
                      <a16:creationId xmlns:a16="http://schemas.microsoft.com/office/drawing/2014/main" id="{E6C6657A-26DB-4C92-A102-D0F77FD5E6BB}"/>
                    </a:ext>
                  </a:extLst>
                </p14:cNvPr>
                <p14:cNvContentPartPr/>
                <p14:nvPr/>
              </p14:nvContentPartPr>
              <p14:xfrm>
                <a:off x="10023915" y="2183745"/>
                <a:ext cx="95760" cy="290880"/>
              </p14:xfrm>
            </p:contentPart>
          </mc:Choice>
          <mc:Fallback xmlns="">
            <p:pic>
              <p:nvPicPr>
                <p:cNvPr id="30" name="Ink 29">
                  <a:extLst>
                    <a:ext uri="{FF2B5EF4-FFF2-40B4-BE49-F238E27FC236}">
                      <a16:creationId xmlns:a16="http://schemas.microsoft.com/office/drawing/2014/main" id="{E6C6657A-26DB-4C92-A102-D0F77FD5E6BB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10005915" y="2165745"/>
                  <a:ext cx="131400" cy="326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2">
              <p14:nvContentPartPr>
                <p14:cNvPr id="31" name="Ink 30">
                  <a:extLst>
                    <a:ext uri="{FF2B5EF4-FFF2-40B4-BE49-F238E27FC236}">
                      <a16:creationId xmlns:a16="http://schemas.microsoft.com/office/drawing/2014/main" id="{6E6DD10C-B3E1-4640-8304-FCC6357D4CDD}"/>
                    </a:ext>
                  </a:extLst>
                </p14:cNvPr>
                <p14:cNvContentPartPr/>
                <p14:nvPr/>
              </p14:nvContentPartPr>
              <p14:xfrm>
                <a:off x="10271955" y="2185545"/>
                <a:ext cx="106560" cy="219960"/>
              </p14:xfrm>
            </p:contentPart>
          </mc:Choice>
          <mc:Fallback xmlns="">
            <p:pic>
              <p:nvPicPr>
                <p:cNvPr id="31" name="Ink 30">
                  <a:extLst>
                    <a:ext uri="{FF2B5EF4-FFF2-40B4-BE49-F238E27FC236}">
                      <a16:creationId xmlns:a16="http://schemas.microsoft.com/office/drawing/2014/main" id="{6E6DD10C-B3E1-4640-8304-FCC6357D4CDD}"/>
                    </a:ext>
                  </a:extLst>
                </p:cNvPr>
                <p:cNvPicPr/>
                <p:nvPr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10253955" y="2167905"/>
                  <a:ext cx="142200" cy="2556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7F53EB5-DD94-40C1-864F-11CB0A08C722}"/>
              </a:ext>
            </a:extLst>
          </p:cNvPr>
          <p:cNvGrpSpPr/>
          <p:nvPr/>
        </p:nvGrpSpPr>
        <p:grpSpPr>
          <a:xfrm>
            <a:off x="10624755" y="2104545"/>
            <a:ext cx="1752120" cy="324720"/>
            <a:chOff x="10624755" y="2104545"/>
            <a:chExt cx="1752120" cy="3247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44">
              <p14:nvContentPartPr>
                <p14:cNvPr id="36" name="Ink 35">
                  <a:extLst>
                    <a:ext uri="{FF2B5EF4-FFF2-40B4-BE49-F238E27FC236}">
                      <a16:creationId xmlns:a16="http://schemas.microsoft.com/office/drawing/2014/main" id="{FC41E75B-E966-43CC-A35E-BB9AE2269548}"/>
                    </a:ext>
                  </a:extLst>
                </p14:cNvPr>
                <p14:cNvContentPartPr/>
                <p14:nvPr/>
              </p14:nvContentPartPr>
              <p14:xfrm>
                <a:off x="10624755" y="2219745"/>
                <a:ext cx="143640" cy="132120"/>
              </p14:xfrm>
            </p:contentPart>
          </mc:Choice>
          <mc:Fallback xmlns="">
            <p:pic>
              <p:nvPicPr>
                <p:cNvPr id="36" name="Ink 35">
                  <a:extLst>
                    <a:ext uri="{FF2B5EF4-FFF2-40B4-BE49-F238E27FC236}">
                      <a16:creationId xmlns:a16="http://schemas.microsoft.com/office/drawing/2014/main" id="{FC41E75B-E966-43CC-A35E-BB9AE2269548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10607115" y="2201745"/>
                  <a:ext cx="179280" cy="167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6">
              <p14:nvContentPartPr>
                <p14:cNvPr id="37" name="Ink 36">
                  <a:extLst>
                    <a:ext uri="{FF2B5EF4-FFF2-40B4-BE49-F238E27FC236}">
                      <a16:creationId xmlns:a16="http://schemas.microsoft.com/office/drawing/2014/main" id="{A11A741B-B20A-459A-AB3F-34E09E623994}"/>
                    </a:ext>
                  </a:extLst>
                </p14:cNvPr>
                <p14:cNvContentPartPr/>
                <p14:nvPr/>
              </p14:nvContentPartPr>
              <p14:xfrm>
                <a:off x="10823115" y="2220105"/>
                <a:ext cx="240120" cy="123840"/>
              </p14:xfrm>
            </p:contentPart>
          </mc:Choice>
          <mc:Fallback xmlns="">
            <p:pic>
              <p:nvPicPr>
                <p:cNvPr id="37" name="Ink 36">
                  <a:extLst>
                    <a:ext uri="{FF2B5EF4-FFF2-40B4-BE49-F238E27FC236}">
                      <a16:creationId xmlns:a16="http://schemas.microsoft.com/office/drawing/2014/main" id="{A11A741B-B20A-459A-AB3F-34E09E623994}"/>
                    </a:ext>
                  </a:extLst>
                </p:cNvPr>
                <p:cNvPicPr/>
                <p:nvPr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10805115" y="2202465"/>
                  <a:ext cx="275760" cy="159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8">
              <p14:nvContentPartPr>
                <p14:cNvPr id="38" name="Ink 37">
                  <a:extLst>
                    <a:ext uri="{FF2B5EF4-FFF2-40B4-BE49-F238E27FC236}">
                      <a16:creationId xmlns:a16="http://schemas.microsoft.com/office/drawing/2014/main" id="{9E836F4D-6419-4404-9BB6-E076F11741EC}"/>
                    </a:ext>
                  </a:extLst>
                </p14:cNvPr>
                <p14:cNvContentPartPr/>
                <p14:nvPr/>
              </p14:nvContentPartPr>
              <p14:xfrm>
                <a:off x="11236395" y="2204625"/>
                <a:ext cx="117000" cy="162000"/>
              </p14:xfrm>
            </p:contentPart>
          </mc:Choice>
          <mc:Fallback xmlns="">
            <p:pic>
              <p:nvPicPr>
                <p:cNvPr id="38" name="Ink 37">
                  <a:extLst>
                    <a:ext uri="{FF2B5EF4-FFF2-40B4-BE49-F238E27FC236}">
                      <a16:creationId xmlns:a16="http://schemas.microsoft.com/office/drawing/2014/main" id="{9E836F4D-6419-4404-9BB6-E076F11741EC}"/>
                    </a:ext>
                  </a:extLst>
                </p:cNvPr>
                <p:cNvPicPr/>
                <p:nvPr/>
              </p:nvPicPr>
              <p:blipFill>
                <a:blip r:embed="rId49"/>
                <a:stretch>
                  <a:fillRect/>
                </a:stretch>
              </p:blipFill>
              <p:spPr>
                <a:xfrm>
                  <a:off x="11218755" y="2186985"/>
                  <a:ext cx="152640" cy="197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0">
              <p14:nvContentPartPr>
                <p14:cNvPr id="39" name="Ink 38">
                  <a:extLst>
                    <a:ext uri="{FF2B5EF4-FFF2-40B4-BE49-F238E27FC236}">
                      <a16:creationId xmlns:a16="http://schemas.microsoft.com/office/drawing/2014/main" id="{B3CBE499-6AAE-40CF-8F12-51A9BED8DE6F}"/>
                    </a:ext>
                  </a:extLst>
                </p14:cNvPr>
                <p14:cNvContentPartPr/>
                <p14:nvPr/>
              </p14:nvContentPartPr>
              <p14:xfrm>
                <a:off x="11421075" y="2182665"/>
                <a:ext cx="180360" cy="246600"/>
              </p14:xfrm>
            </p:contentPart>
          </mc:Choice>
          <mc:Fallback xmlns="">
            <p:pic>
              <p:nvPicPr>
                <p:cNvPr id="39" name="Ink 38">
                  <a:extLst>
                    <a:ext uri="{FF2B5EF4-FFF2-40B4-BE49-F238E27FC236}">
                      <a16:creationId xmlns:a16="http://schemas.microsoft.com/office/drawing/2014/main" id="{B3CBE499-6AAE-40CF-8F12-51A9BED8DE6F}"/>
                    </a:ext>
                  </a:extLst>
                </p:cNvPr>
                <p:cNvPicPr/>
                <p:nvPr/>
              </p:nvPicPr>
              <p:blipFill>
                <a:blip r:embed="rId51"/>
                <a:stretch>
                  <a:fillRect/>
                </a:stretch>
              </p:blipFill>
              <p:spPr>
                <a:xfrm>
                  <a:off x="11403435" y="2165025"/>
                  <a:ext cx="216000" cy="282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2">
              <p14:nvContentPartPr>
                <p14:cNvPr id="40" name="Ink 39">
                  <a:extLst>
                    <a:ext uri="{FF2B5EF4-FFF2-40B4-BE49-F238E27FC236}">
                      <a16:creationId xmlns:a16="http://schemas.microsoft.com/office/drawing/2014/main" id="{AA934C80-7B12-4668-ADB6-FCA656AB7DE8}"/>
                    </a:ext>
                  </a:extLst>
                </p14:cNvPr>
                <p14:cNvContentPartPr/>
                <p14:nvPr/>
              </p14:nvContentPartPr>
              <p14:xfrm>
                <a:off x="11637075" y="2174025"/>
                <a:ext cx="113400" cy="206280"/>
              </p14:xfrm>
            </p:contentPart>
          </mc:Choice>
          <mc:Fallback xmlns="">
            <p:pic>
              <p:nvPicPr>
                <p:cNvPr id="40" name="Ink 39">
                  <a:extLst>
                    <a:ext uri="{FF2B5EF4-FFF2-40B4-BE49-F238E27FC236}">
                      <a16:creationId xmlns:a16="http://schemas.microsoft.com/office/drawing/2014/main" id="{AA934C80-7B12-4668-ADB6-FCA656AB7DE8}"/>
                    </a:ext>
                  </a:extLst>
                </p:cNvPr>
                <p:cNvPicPr/>
                <p:nvPr/>
              </p:nvPicPr>
              <p:blipFill>
                <a:blip r:embed="rId53"/>
                <a:stretch>
                  <a:fillRect/>
                </a:stretch>
              </p:blipFill>
              <p:spPr>
                <a:xfrm>
                  <a:off x="11619435" y="2156025"/>
                  <a:ext cx="149040" cy="241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4">
              <p14:nvContentPartPr>
                <p14:cNvPr id="41" name="Ink 40">
                  <a:extLst>
                    <a:ext uri="{FF2B5EF4-FFF2-40B4-BE49-F238E27FC236}">
                      <a16:creationId xmlns:a16="http://schemas.microsoft.com/office/drawing/2014/main" id="{D83A9D21-152C-4C79-9178-2441764E9F79}"/>
                    </a:ext>
                  </a:extLst>
                </p14:cNvPr>
                <p14:cNvContentPartPr/>
                <p14:nvPr/>
              </p14:nvContentPartPr>
              <p14:xfrm>
                <a:off x="11782515" y="2200305"/>
                <a:ext cx="77400" cy="90720"/>
              </p14:xfrm>
            </p:contentPart>
          </mc:Choice>
          <mc:Fallback xmlns="">
            <p:pic>
              <p:nvPicPr>
                <p:cNvPr id="41" name="Ink 40">
                  <a:extLst>
                    <a:ext uri="{FF2B5EF4-FFF2-40B4-BE49-F238E27FC236}">
                      <a16:creationId xmlns:a16="http://schemas.microsoft.com/office/drawing/2014/main" id="{D83A9D21-152C-4C79-9178-2441764E9F79}"/>
                    </a:ext>
                  </a:extLst>
                </p:cNvPr>
                <p:cNvPicPr/>
                <p:nvPr/>
              </p:nvPicPr>
              <p:blipFill>
                <a:blip r:embed="rId55"/>
                <a:stretch>
                  <a:fillRect/>
                </a:stretch>
              </p:blipFill>
              <p:spPr>
                <a:xfrm>
                  <a:off x="11764875" y="2182305"/>
                  <a:ext cx="113040" cy="126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6">
              <p14:nvContentPartPr>
                <p14:cNvPr id="42" name="Ink 41">
                  <a:extLst>
                    <a:ext uri="{FF2B5EF4-FFF2-40B4-BE49-F238E27FC236}">
                      <a16:creationId xmlns:a16="http://schemas.microsoft.com/office/drawing/2014/main" id="{4406DDF9-F724-4E5B-9C4C-13A06FA84D6E}"/>
                    </a:ext>
                  </a:extLst>
                </p14:cNvPr>
                <p14:cNvContentPartPr/>
                <p14:nvPr/>
              </p14:nvContentPartPr>
              <p14:xfrm>
                <a:off x="11914635" y="2160345"/>
                <a:ext cx="81360" cy="183960"/>
              </p14:xfrm>
            </p:contentPart>
          </mc:Choice>
          <mc:Fallback xmlns="">
            <p:pic>
              <p:nvPicPr>
                <p:cNvPr id="42" name="Ink 41">
                  <a:extLst>
                    <a:ext uri="{FF2B5EF4-FFF2-40B4-BE49-F238E27FC236}">
                      <a16:creationId xmlns:a16="http://schemas.microsoft.com/office/drawing/2014/main" id="{4406DDF9-F724-4E5B-9C4C-13A06FA84D6E}"/>
                    </a:ext>
                  </a:extLst>
                </p:cNvPr>
                <p:cNvPicPr/>
                <p:nvPr/>
              </p:nvPicPr>
              <p:blipFill>
                <a:blip r:embed="rId57"/>
                <a:stretch>
                  <a:fillRect/>
                </a:stretch>
              </p:blipFill>
              <p:spPr>
                <a:xfrm>
                  <a:off x="11896995" y="2142345"/>
                  <a:ext cx="117000" cy="219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8">
              <p14:nvContentPartPr>
                <p14:cNvPr id="43" name="Ink 42">
                  <a:extLst>
                    <a:ext uri="{FF2B5EF4-FFF2-40B4-BE49-F238E27FC236}">
                      <a16:creationId xmlns:a16="http://schemas.microsoft.com/office/drawing/2014/main" id="{5DA2B74F-1C4E-4B23-9034-73076D3E7812}"/>
                    </a:ext>
                  </a:extLst>
                </p14:cNvPr>
                <p14:cNvContentPartPr/>
                <p14:nvPr/>
              </p14:nvContentPartPr>
              <p14:xfrm>
                <a:off x="12040275" y="2104545"/>
                <a:ext cx="159480" cy="201960"/>
              </p14:xfrm>
            </p:contentPart>
          </mc:Choice>
          <mc:Fallback xmlns="">
            <p:pic>
              <p:nvPicPr>
                <p:cNvPr id="43" name="Ink 42">
                  <a:extLst>
                    <a:ext uri="{FF2B5EF4-FFF2-40B4-BE49-F238E27FC236}">
                      <a16:creationId xmlns:a16="http://schemas.microsoft.com/office/drawing/2014/main" id="{5DA2B74F-1C4E-4B23-9034-73076D3E7812}"/>
                    </a:ext>
                  </a:extLst>
                </p:cNvPr>
                <p:cNvPicPr/>
                <p:nvPr/>
              </p:nvPicPr>
              <p:blipFill>
                <a:blip r:embed="rId59"/>
                <a:stretch>
                  <a:fillRect/>
                </a:stretch>
              </p:blipFill>
              <p:spPr>
                <a:xfrm>
                  <a:off x="12022635" y="2086905"/>
                  <a:ext cx="195120" cy="237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0">
              <p14:nvContentPartPr>
                <p14:cNvPr id="44" name="Ink 43">
                  <a:extLst>
                    <a:ext uri="{FF2B5EF4-FFF2-40B4-BE49-F238E27FC236}">
                      <a16:creationId xmlns:a16="http://schemas.microsoft.com/office/drawing/2014/main" id="{E40F0D50-7B41-4E58-BDB1-9910BE12B0E8}"/>
                    </a:ext>
                  </a:extLst>
                </p14:cNvPr>
                <p14:cNvContentPartPr/>
                <p14:nvPr/>
              </p14:nvContentPartPr>
              <p14:xfrm>
                <a:off x="12150435" y="2160705"/>
                <a:ext cx="226440" cy="145440"/>
              </p14:xfrm>
            </p:contentPart>
          </mc:Choice>
          <mc:Fallback xmlns="">
            <p:pic>
              <p:nvPicPr>
                <p:cNvPr id="44" name="Ink 43">
                  <a:extLst>
                    <a:ext uri="{FF2B5EF4-FFF2-40B4-BE49-F238E27FC236}">
                      <a16:creationId xmlns:a16="http://schemas.microsoft.com/office/drawing/2014/main" id="{E40F0D50-7B41-4E58-BDB1-9910BE12B0E8}"/>
                    </a:ext>
                  </a:extLst>
                </p:cNvPr>
                <p:cNvPicPr/>
                <p:nvPr/>
              </p:nvPicPr>
              <p:blipFill>
                <a:blip r:embed="rId61"/>
                <a:stretch>
                  <a:fillRect/>
                </a:stretch>
              </p:blipFill>
              <p:spPr>
                <a:xfrm>
                  <a:off x="12132435" y="2143065"/>
                  <a:ext cx="262080" cy="18108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62">
            <p14:nvContentPartPr>
              <p14:cNvPr id="46" name="Ink 45">
                <a:extLst>
                  <a:ext uri="{FF2B5EF4-FFF2-40B4-BE49-F238E27FC236}">
                    <a16:creationId xmlns:a16="http://schemas.microsoft.com/office/drawing/2014/main" id="{0C42A3C4-55FB-452D-9493-FE4DA1E81CD9}"/>
                  </a:ext>
                </a:extLst>
              </p14:cNvPr>
              <p14:cNvContentPartPr/>
              <p14:nvPr/>
            </p14:nvContentPartPr>
            <p14:xfrm>
              <a:off x="9121035" y="2663265"/>
              <a:ext cx="446760" cy="346320"/>
            </p14:xfrm>
          </p:contentPart>
        </mc:Choice>
        <mc:Fallback xmlns="">
          <p:pic>
            <p:nvPicPr>
              <p:cNvPr id="46" name="Ink 45">
                <a:extLst>
                  <a:ext uri="{FF2B5EF4-FFF2-40B4-BE49-F238E27FC236}">
                    <a16:creationId xmlns:a16="http://schemas.microsoft.com/office/drawing/2014/main" id="{0C42A3C4-55FB-452D-9493-FE4DA1E81CD9}"/>
                  </a:ext>
                </a:extLst>
              </p:cNvPr>
              <p:cNvPicPr/>
              <p:nvPr/>
            </p:nvPicPr>
            <p:blipFill>
              <a:blip r:embed="rId63"/>
              <a:stretch>
                <a:fillRect/>
              </a:stretch>
            </p:blipFill>
            <p:spPr>
              <a:xfrm>
                <a:off x="9103395" y="2645265"/>
                <a:ext cx="482400" cy="381960"/>
              </a:xfrm>
              <a:prstGeom prst="rect">
                <a:avLst/>
              </a:prstGeom>
            </p:spPr>
          </p:pic>
        </mc:Fallback>
      </mc:AlternateContent>
      <p:grpSp>
        <p:nvGrpSpPr>
          <p:cNvPr id="62" name="Group 61">
            <a:extLst>
              <a:ext uri="{FF2B5EF4-FFF2-40B4-BE49-F238E27FC236}">
                <a16:creationId xmlns:a16="http://schemas.microsoft.com/office/drawing/2014/main" id="{CDE092BC-3D54-42FD-87BF-004F57293605}"/>
              </a:ext>
            </a:extLst>
          </p:cNvPr>
          <p:cNvGrpSpPr/>
          <p:nvPr/>
        </p:nvGrpSpPr>
        <p:grpSpPr>
          <a:xfrm>
            <a:off x="9704955" y="2681985"/>
            <a:ext cx="619920" cy="214920"/>
            <a:chOff x="9704955" y="2681985"/>
            <a:chExt cx="619920" cy="2149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4">
              <p14:nvContentPartPr>
                <p14:cNvPr id="47" name="Ink 46">
                  <a:extLst>
                    <a:ext uri="{FF2B5EF4-FFF2-40B4-BE49-F238E27FC236}">
                      <a16:creationId xmlns:a16="http://schemas.microsoft.com/office/drawing/2014/main" id="{639BBE7E-6A3B-4978-B587-5DBDDFC77BEC}"/>
                    </a:ext>
                  </a:extLst>
                </p14:cNvPr>
                <p14:cNvContentPartPr/>
                <p14:nvPr/>
              </p14:nvContentPartPr>
              <p14:xfrm>
                <a:off x="9704955" y="2681985"/>
                <a:ext cx="162360" cy="214920"/>
              </p14:xfrm>
            </p:contentPart>
          </mc:Choice>
          <mc:Fallback xmlns="">
            <p:pic>
              <p:nvPicPr>
                <p:cNvPr id="47" name="Ink 46">
                  <a:extLst>
                    <a:ext uri="{FF2B5EF4-FFF2-40B4-BE49-F238E27FC236}">
                      <a16:creationId xmlns:a16="http://schemas.microsoft.com/office/drawing/2014/main" id="{639BBE7E-6A3B-4978-B587-5DBDDFC77BEC}"/>
                    </a:ext>
                  </a:extLst>
                </p:cNvPr>
                <p:cNvPicPr/>
                <p:nvPr/>
              </p:nvPicPr>
              <p:blipFill>
                <a:blip r:embed="rId65"/>
                <a:stretch>
                  <a:fillRect/>
                </a:stretch>
              </p:blipFill>
              <p:spPr>
                <a:xfrm>
                  <a:off x="9686955" y="2663985"/>
                  <a:ext cx="198000" cy="250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6">
              <p14:nvContentPartPr>
                <p14:cNvPr id="48" name="Ink 47">
                  <a:extLst>
                    <a:ext uri="{FF2B5EF4-FFF2-40B4-BE49-F238E27FC236}">
                      <a16:creationId xmlns:a16="http://schemas.microsoft.com/office/drawing/2014/main" id="{5552CBE6-C9D6-4E3B-8046-1162AD29FC52}"/>
                    </a:ext>
                  </a:extLst>
                </p14:cNvPr>
                <p14:cNvContentPartPr/>
                <p14:nvPr/>
              </p14:nvContentPartPr>
              <p14:xfrm>
                <a:off x="9744555" y="2819145"/>
                <a:ext cx="74880" cy="42480"/>
              </p14:xfrm>
            </p:contentPart>
          </mc:Choice>
          <mc:Fallback xmlns="">
            <p:pic>
              <p:nvPicPr>
                <p:cNvPr id="48" name="Ink 47">
                  <a:extLst>
                    <a:ext uri="{FF2B5EF4-FFF2-40B4-BE49-F238E27FC236}">
                      <a16:creationId xmlns:a16="http://schemas.microsoft.com/office/drawing/2014/main" id="{5552CBE6-C9D6-4E3B-8046-1162AD29FC52}"/>
                    </a:ext>
                  </a:extLst>
                </p:cNvPr>
                <p:cNvPicPr/>
                <p:nvPr/>
              </p:nvPicPr>
              <p:blipFill>
                <a:blip r:embed="rId67"/>
                <a:stretch>
                  <a:fillRect/>
                </a:stretch>
              </p:blipFill>
              <p:spPr>
                <a:xfrm>
                  <a:off x="9726915" y="2801505"/>
                  <a:ext cx="110520" cy="78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8">
              <p14:nvContentPartPr>
                <p14:cNvPr id="49" name="Ink 48">
                  <a:extLst>
                    <a:ext uri="{FF2B5EF4-FFF2-40B4-BE49-F238E27FC236}">
                      <a16:creationId xmlns:a16="http://schemas.microsoft.com/office/drawing/2014/main" id="{987C2339-A929-4DBC-9B84-9A6555C66B3C}"/>
                    </a:ext>
                  </a:extLst>
                </p14:cNvPr>
                <p14:cNvContentPartPr/>
                <p14:nvPr/>
              </p14:nvContentPartPr>
              <p14:xfrm>
                <a:off x="9942555" y="2692785"/>
                <a:ext cx="93960" cy="203760"/>
              </p14:xfrm>
            </p:contentPart>
          </mc:Choice>
          <mc:Fallback xmlns="">
            <p:pic>
              <p:nvPicPr>
                <p:cNvPr id="49" name="Ink 48">
                  <a:extLst>
                    <a:ext uri="{FF2B5EF4-FFF2-40B4-BE49-F238E27FC236}">
                      <a16:creationId xmlns:a16="http://schemas.microsoft.com/office/drawing/2014/main" id="{987C2339-A929-4DBC-9B84-9A6555C66B3C}"/>
                    </a:ext>
                  </a:extLst>
                </p:cNvPr>
                <p:cNvPicPr/>
                <p:nvPr/>
              </p:nvPicPr>
              <p:blipFill>
                <a:blip r:embed="rId69"/>
                <a:stretch>
                  <a:fillRect/>
                </a:stretch>
              </p:blipFill>
              <p:spPr>
                <a:xfrm>
                  <a:off x="9924555" y="2674785"/>
                  <a:ext cx="129600" cy="239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0">
              <p14:nvContentPartPr>
                <p14:cNvPr id="50" name="Ink 49">
                  <a:extLst>
                    <a:ext uri="{FF2B5EF4-FFF2-40B4-BE49-F238E27FC236}">
                      <a16:creationId xmlns:a16="http://schemas.microsoft.com/office/drawing/2014/main" id="{748E74EF-186E-4678-A66A-8F0E31848702}"/>
                    </a:ext>
                  </a:extLst>
                </p14:cNvPr>
                <p14:cNvContentPartPr/>
                <p14:nvPr/>
              </p14:nvContentPartPr>
              <p14:xfrm>
                <a:off x="10158555" y="2693865"/>
                <a:ext cx="166320" cy="180360"/>
              </p14:xfrm>
            </p:contentPart>
          </mc:Choice>
          <mc:Fallback xmlns="">
            <p:pic>
              <p:nvPicPr>
                <p:cNvPr id="50" name="Ink 49">
                  <a:extLst>
                    <a:ext uri="{FF2B5EF4-FFF2-40B4-BE49-F238E27FC236}">
                      <a16:creationId xmlns:a16="http://schemas.microsoft.com/office/drawing/2014/main" id="{748E74EF-186E-4678-A66A-8F0E31848702}"/>
                    </a:ext>
                  </a:extLst>
                </p:cNvPr>
                <p:cNvPicPr/>
                <p:nvPr/>
              </p:nvPicPr>
              <p:blipFill>
                <a:blip r:embed="rId71"/>
                <a:stretch>
                  <a:fillRect/>
                </a:stretch>
              </p:blipFill>
              <p:spPr>
                <a:xfrm>
                  <a:off x="10140915" y="2676225"/>
                  <a:ext cx="201960" cy="2160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ECB1FE00-4CCA-4679-8084-23C148E805FD}"/>
              </a:ext>
            </a:extLst>
          </p:cNvPr>
          <p:cNvGrpSpPr/>
          <p:nvPr/>
        </p:nvGrpSpPr>
        <p:grpSpPr>
          <a:xfrm>
            <a:off x="10559595" y="2606025"/>
            <a:ext cx="1568520" cy="259200"/>
            <a:chOff x="10559595" y="2606025"/>
            <a:chExt cx="1568520" cy="2592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72">
              <p14:nvContentPartPr>
                <p14:cNvPr id="53" name="Ink 52">
                  <a:extLst>
                    <a:ext uri="{FF2B5EF4-FFF2-40B4-BE49-F238E27FC236}">
                      <a16:creationId xmlns:a16="http://schemas.microsoft.com/office/drawing/2014/main" id="{63D203CB-1FC5-4D9D-AC78-B3D0FB7100F7}"/>
                    </a:ext>
                  </a:extLst>
                </p14:cNvPr>
                <p14:cNvContentPartPr/>
                <p14:nvPr/>
              </p14:nvContentPartPr>
              <p14:xfrm>
                <a:off x="10559595" y="2663625"/>
                <a:ext cx="429840" cy="137160"/>
              </p14:xfrm>
            </p:contentPart>
          </mc:Choice>
          <mc:Fallback xmlns="">
            <p:pic>
              <p:nvPicPr>
                <p:cNvPr id="53" name="Ink 52">
                  <a:extLst>
                    <a:ext uri="{FF2B5EF4-FFF2-40B4-BE49-F238E27FC236}">
                      <a16:creationId xmlns:a16="http://schemas.microsoft.com/office/drawing/2014/main" id="{63D203CB-1FC5-4D9D-AC78-B3D0FB7100F7}"/>
                    </a:ext>
                  </a:extLst>
                </p:cNvPr>
                <p:cNvPicPr/>
                <p:nvPr/>
              </p:nvPicPr>
              <p:blipFill>
                <a:blip r:embed="rId73"/>
                <a:stretch>
                  <a:fillRect/>
                </a:stretch>
              </p:blipFill>
              <p:spPr>
                <a:xfrm>
                  <a:off x="10541955" y="2645625"/>
                  <a:ext cx="465480" cy="172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4">
              <p14:nvContentPartPr>
                <p14:cNvPr id="54" name="Ink 53">
                  <a:extLst>
                    <a:ext uri="{FF2B5EF4-FFF2-40B4-BE49-F238E27FC236}">
                      <a16:creationId xmlns:a16="http://schemas.microsoft.com/office/drawing/2014/main" id="{6647C96E-F453-4F26-9D02-EE8102F97D02}"/>
                    </a:ext>
                  </a:extLst>
                </p14:cNvPr>
                <p14:cNvContentPartPr/>
                <p14:nvPr/>
              </p14:nvContentPartPr>
              <p14:xfrm>
                <a:off x="11127675" y="2643105"/>
                <a:ext cx="137880" cy="222120"/>
              </p14:xfrm>
            </p:contentPart>
          </mc:Choice>
          <mc:Fallback xmlns="">
            <p:pic>
              <p:nvPicPr>
                <p:cNvPr id="54" name="Ink 53">
                  <a:extLst>
                    <a:ext uri="{FF2B5EF4-FFF2-40B4-BE49-F238E27FC236}">
                      <a16:creationId xmlns:a16="http://schemas.microsoft.com/office/drawing/2014/main" id="{6647C96E-F453-4F26-9D02-EE8102F97D02}"/>
                    </a:ext>
                  </a:extLst>
                </p:cNvPr>
                <p:cNvPicPr/>
                <p:nvPr/>
              </p:nvPicPr>
              <p:blipFill>
                <a:blip r:embed="rId75"/>
                <a:stretch>
                  <a:fillRect/>
                </a:stretch>
              </p:blipFill>
              <p:spPr>
                <a:xfrm>
                  <a:off x="11110035" y="2625105"/>
                  <a:ext cx="173520" cy="257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6">
              <p14:nvContentPartPr>
                <p14:cNvPr id="55" name="Ink 54">
                  <a:extLst>
                    <a:ext uri="{FF2B5EF4-FFF2-40B4-BE49-F238E27FC236}">
                      <a16:creationId xmlns:a16="http://schemas.microsoft.com/office/drawing/2014/main" id="{B43D6FCA-FB24-4C28-911C-12E2A120E4A4}"/>
                    </a:ext>
                  </a:extLst>
                </p14:cNvPr>
                <p14:cNvContentPartPr/>
                <p14:nvPr/>
              </p14:nvContentPartPr>
              <p14:xfrm>
                <a:off x="11309115" y="2714385"/>
                <a:ext cx="36720" cy="78480"/>
              </p14:xfrm>
            </p:contentPart>
          </mc:Choice>
          <mc:Fallback xmlns="">
            <p:pic>
              <p:nvPicPr>
                <p:cNvPr id="55" name="Ink 54">
                  <a:extLst>
                    <a:ext uri="{FF2B5EF4-FFF2-40B4-BE49-F238E27FC236}">
                      <a16:creationId xmlns:a16="http://schemas.microsoft.com/office/drawing/2014/main" id="{B43D6FCA-FB24-4C28-911C-12E2A120E4A4}"/>
                    </a:ext>
                  </a:extLst>
                </p:cNvPr>
                <p:cNvPicPr/>
                <p:nvPr/>
              </p:nvPicPr>
              <p:blipFill>
                <a:blip r:embed="rId77"/>
                <a:stretch>
                  <a:fillRect/>
                </a:stretch>
              </p:blipFill>
              <p:spPr>
                <a:xfrm>
                  <a:off x="11291115" y="2696385"/>
                  <a:ext cx="72360" cy="114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8">
              <p14:nvContentPartPr>
                <p14:cNvPr id="56" name="Ink 55">
                  <a:extLst>
                    <a:ext uri="{FF2B5EF4-FFF2-40B4-BE49-F238E27FC236}">
                      <a16:creationId xmlns:a16="http://schemas.microsoft.com/office/drawing/2014/main" id="{9DB1A425-36F7-49B4-B3D3-298106D09DD1}"/>
                    </a:ext>
                  </a:extLst>
                </p14:cNvPr>
                <p14:cNvContentPartPr/>
                <p14:nvPr/>
              </p14:nvContentPartPr>
              <p14:xfrm>
                <a:off x="11329635" y="2651025"/>
                <a:ext cx="289080" cy="147960"/>
              </p14:xfrm>
            </p:contentPart>
          </mc:Choice>
          <mc:Fallback xmlns="">
            <p:pic>
              <p:nvPicPr>
                <p:cNvPr id="56" name="Ink 55">
                  <a:extLst>
                    <a:ext uri="{FF2B5EF4-FFF2-40B4-BE49-F238E27FC236}">
                      <a16:creationId xmlns:a16="http://schemas.microsoft.com/office/drawing/2014/main" id="{9DB1A425-36F7-49B4-B3D3-298106D09DD1}"/>
                    </a:ext>
                  </a:extLst>
                </p:cNvPr>
                <p:cNvPicPr/>
                <p:nvPr/>
              </p:nvPicPr>
              <p:blipFill>
                <a:blip r:embed="rId79"/>
                <a:stretch>
                  <a:fillRect/>
                </a:stretch>
              </p:blipFill>
              <p:spPr>
                <a:xfrm>
                  <a:off x="11311635" y="2633025"/>
                  <a:ext cx="324720" cy="183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0">
              <p14:nvContentPartPr>
                <p14:cNvPr id="57" name="Ink 56">
                  <a:extLst>
                    <a:ext uri="{FF2B5EF4-FFF2-40B4-BE49-F238E27FC236}">
                      <a16:creationId xmlns:a16="http://schemas.microsoft.com/office/drawing/2014/main" id="{FBAC06F1-01CD-4D69-92C6-E9959378835F}"/>
                    </a:ext>
                  </a:extLst>
                </p14:cNvPr>
                <p14:cNvContentPartPr/>
                <p14:nvPr/>
              </p14:nvContentPartPr>
              <p14:xfrm>
                <a:off x="11670915" y="2608185"/>
                <a:ext cx="32760" cy="187560"/>
              </p14:xfrm>
            </p:contentPart>
          </mc:Choice>
          <mc:Fallback xmlns="">
            <p:pic>
              <p:nvPicPr>
                <p:cNvPr id="57" name="Ink 56">
                  <a:extLst>
                    <a:ext uri="{FF2B5EF4-FFF2-40B4-BE49-F238E27FC236}">
                      <a16:creationId xmlns:a16="http://schemas.microsoft.com/office/drawing/2014/main" id="{FBAC06F1-01CD-4D69-92C6-E9959378835F}"/>
                    </a:ext>
                  </a:extLst>
                </p:cNvPr>
                <p:cNvPicPr/>
                <p:nvPr/>
              </p:nvPicPr>
              <p:blipFill>
                <a:blip r:embed="rId81"/>
                <a:stretch>
                  <a:fillRect/>
                </a:stretch>
              </p:blipFill>
              <p:spPr>
                <a:xfrm>
                  <a:off x="11653275" y="2590185"/>
                  <a:ext cx="68400" cy="223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2">
              <p14:nvContentPartPr>
                <p14:cNvPr id="58" name="Ink 57">
                  <a:extLst>
                    <a:ext uri="{FF2B5EF4-FFF2-40B4-BE49-F238E27FC236}">
                      <a16:creationId xmlns:a16="http://schemas.microsoft.com/office/drawing/2014/main" id="{037AD582-A651-4143-92FE-7D9206E51004}"/>
                    </a:ext>
                  </a:extLst>
                </p14:cNvPr>
                <p14:cNvContentPartPr/>
                <p14:nvPr/>
              </p14:nvContentPartPr>
              <p14:xfrm>
                <a:off x="11771715" y="2606025"/>
                <a:ext cx="39600" cy="175680"/>
              </p14:xfrm>
            </p:contentPart>
          </mc:Choice>
          <mc:Fallback xmlns="">
            <p:pic>
              <p:nvPicPr>
                <p:cNvPr id="58" name="Ink 57">
                  <a:extLst>
                    <a:ext uri="{FF2B5EF4-FFF2-40B4-BE49-F238E27FC236}">
                      <a16:creationId xmlns:a16="http://schemas.microsoft.com/office/drawing/2014/main" id="{037AD582-A651-4143-92FE-7D9206E51004}"/>
                    </a:ext>
                  </a:extLst>
                </p:cNvPr>
                <p:cNvPicPr/>
                <p:nvPr/>
              </p:nvPicPr>
              <p:blipFill>
                <a:blip r:embed="rId83"/>
                <a:stretch>
                  <a:fillRect/>
                </a:stretch>
              </p:blipFill>
              <p:spPr>
                <a:xfrm>
                  <a:off x="11754075" y="2588385"/>
                  <a:ext cx="75240" cy="211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4">
              <p14:nvContentPartPr>
                <p14:cNvPr id="59" name="Ink 58">
                  <a:extLst>
                    <a:ext uri="{FF2B5EF4-FFF2-40B4-BE49-F238E27FC236}">
                      <a16:creationId xmlns:a16="http://schemas.microsoft.com/office/drawing/2014/main" id="{CC2356D0-4A41-4B8B-8C01-8AB24F4DD640}"/>
                    </a:ext>
                  </a:extLst>
                </p14:cNvPr>
                <p14:cNvContentPartPr/>
                <p14:nvPr/>
              </p14:nvContentPartPr>
              <p14:xfrm>
                <a:off x="11860635" y="2689185"/>
                <a:ext cx="124920" cy="122760"/>
              </p14:xfrm>
            </p:contentPart>
          </mc:Choice>
          <mc:Fallback xmlns="">
            <p:pic>
              <p:nvPicPr>
                <p:cNvPr id="59" name="Ink 58">
                  <a:extLst>
                    <a:ext uri="{FF2B5EF4-FFF2-40B4-BE49-F238E27FC236}">
                      <a16:creationId xmlns:a16="http://schemas.microsoft.com/office/drawing/2014/main" id="{CC2356D0-4A41-4B8B-8C01-8AB24F4DD640}"/>
                    </a:ext>
                  </a:extLst>
                </p:cNvPr>
                <p:cNvPicPr/>
                <p:nvPr/>
              </p:nvPicPr>
              <p:blipFill>
                <a:blip r:embed="rId85"/>
                <a:stretch>
                  <a:fillRect/>
                </a:stretch>
              </p:blipFill>
              <p:spPr>
                <a:xfrm>
                  <a:off x="11842635" y="2671185"/>
                  <a:ext cx="160560" cy="158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6">
              <p14:nvContentPartPr>
                <p14:cNvPr id="60" name="Ink 59">
                  <a:extLst>
                    <a:ext uri="{FF2B5EF4-FFF2-40B4-BE49-F238E27FC236}">
                      <a16:creationId xmlns:a16="http://schemas.microsoft.com/office/drawing/2014/main" id="{1E9C010C-1611-433F-A5CF-F5B2753A54C6}"/>
                    </a:ext>
                  </a:extLst>
                </p14:cNvPr>
                <p14:cNvContentPartPr/>
                <p14:nvPr/>
              </p14:nvContentPartPr>
              <p14:xfrm>
                <a:off x="12053235" y="2714745"/>
                <a:ext cx="74880" cy="68760"/>
              </p14:xfrm>
            </p:contentPart>
          </mc:Choice>
          <mc:Fallback xmlns="">
            <p:pic>
              <p:nvPicPr>
                <p:cNvPr id="60" name="Ink 59">
                  <a:extLst>
                    <a:ext uri="{FF2B5EF4-FFF2-40B4-BE49-F238E27FC236}">
                      <a16:creationId xmlns:a16="http://schemas.microsoft.com/office/drawing/2014/main" id="{1E9C010C-1611-433F-A5CF-F5B2753A54C6}"/>
                    </a:ext>
                  </a:extLst>
                </p:cNvPr>
                <p:cNvPicPr/>
                <p:nvPr/>
              </p:nvPicPr>
              <p:blipFill>
                <a:blip r:embed="rId87"/>
                <a:stretch>
                  <a:fillRect/>
                </a:stretch>
              </p:blipFill>
              <p:spPr>
                <a:xfrm>
                  <a:off x="12035595" y="2696745"/>
                  <a:ext cx="110520" cy="10440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88">
            <p14:nvContentPartPr>
              <p14:cNvPr id="2" name="Ink 1">
                <a:extLst>
                  <a:ext uri="{FF2B5EF4-FFF2-40B4-BE49-F238E27FC236}">
                    <a16:creationId xmlns:a16="http://schemas.microsoft.com/office/drawing/2014/main" id="{2EFF6A1C-58C5-4BCF-AFAA-7972CE085472}"/>
                  </a:ext>
                </a:extLst>
              </p14:cNvPr>
              <p14:cNvContentPartPr/>
              <p14:nvPr/>
            </p14:nvContentPartPr>
            <p14:xfrm>
              <a:off x="2271600" y="1162080"/>
              <a:ext cx="6887880" cy="4835520"/>
            </p14:xfrm>
          </p:contentPart>
        </mc:Choice>
        <mc:Fallback>
          <p:pic>
            <p:nvPicPr>
              <p:cNvPr id="2" name="Ink 1">
                <a:extLst>
                  <a:ext uri="{FF2B5EF4-FFF2-40B4-BE49-F238E27FC236}">
                    <a16:creationId xmlns:a16="http://schemas.microsoft.com/office/drawing/2014/main" id="{2EFF6A1C-58C5-4BCF-AFAA-7972CE085472}"/>
                  </a:ext>
                </a:extLst>
              </p:cNvPr>
              <p:cNvPicPr/>
              <p:nvPr/>
            </p:nvPicPr>
            <p:blipFill>
              <a:blip r:embed="rId89"/>
              <a:stretch>
                <a:fillRect/>
              </a:stretch>
            </p:blipFill>
            <p:spPr>
              <a:xfrm>
                <a:off x="2262240" y="1152720"/>
                <a:ext cx="6906600" cy="485424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6300015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04D3CEB-822D-4E1D-AAD3-FB9CEC833D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04D3CEB-822D-4E1D-AAD3-FB9CEC833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356669E0-68AB-42D6-BF57-8C0304401EF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5749" y="114300"/>
            <a:ext cx="10639425" cy="5833114"/>
          </a:xfrm>
          <a:prstGeom prst="rect">
            <a:avLst/>
          </a:prstGeom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6217A037-C9A0-4AB6-AAB2-9E095D7CB7FF}"/>
              </a:ext>
            </a:extLst>
          </p:cNvPr>
          <p:cNvGrpSpPr/>
          <p:nvPr/>
        </p:nvGrpSpPr>
        <p:grpSpPr>
          <a:xfrm>
            <a:off x="7428675" y="3663705"/>
            <a:ext cx="3713760" cy="387720"/>
            <a:chOff x="7428675" y="3663705"/>
            <a:chExt cx="3713760" cy="3877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2CA56659-5074-4BA7-B262-F2089AF7CC61}"/>
                    </a:ext>
                  </a:extLst>
                </p14:cNvPr>
                <p14:cNvContentPartPr/>
                <p14:nvPr/>
              </p14:nvContentPartPr>
              <p14:xfrm>
                <a:off x="7603995" y="3813825"/>
                <a:ext cx="15480" cy="163800"/>
              </p14:xfrm>
            </p:contentPart>
          </mc:Choice>
          <mc:Fallback xmlns=""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2CA56659-5074-4BA7-B262-F2089AF7CC61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7585995" y="3795825"/>
                  <a:ext cx="51120" cy="199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">
              <p14:nvContentPartPr>
                <p14:cNvPr id="13" name="Ink 12">
                  <a:extLst>
                    <a:ext uri="{FF2B5EF4-FFF2-40B4-BE49-F238E27FC236}">
                      <a16:creationId xmlns:a16="http://schemas.microsoft.com/office/drawing/2014/main" id="{6EBE2E75-DA6A-4CA2-B7FF-F59391130763}"/>
                    </a:ext>
                  </a:extLst>
                </p14:cNvPr>
                <p14:cNvContentPartPr/>
                <p14:nvPr/>
              </p14:nvContentPartPr>
              <p14:xfrm>
                <a:off x="7428675" y="3727065"/>
                <a:ext cx="336600" cy="324360"/>
              </p14:xfrm>
            </p:contentPart>
          </mc:Choice>
          <mc:Fallback xmlns="">
            <p:pic>
              <p:nvPicPr>
                <p:cNvPr id="13" name="Ink 12">
                  <a:extLst>
                    <a:ext uri="{FF2B5EF4-FFF2-40B4-BE49-F238E27FC236}">
                      <a16:creationId xmlns:a16="http://schemas.microsoft.com/office/drawing/2014/main" id="{6EBE2E75-DA6A-4CA2-B7FF-F59391130763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7411035" y="3709065"/>
                  <a:ext cx="372240" cy="360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">
              <p14:nvContentPartPr>
                <p14:cNvPr id="14" name="Ink 13">
                  <a:extLst>
                    <a:ext uri="{FF2B5EF4-FFF2-40B4-BE49-F238E27FC236}">
                      <a16:creationId xmlns:a16="http://schemas.microsoft.com/office/drawing/2014/main" id="{B3130F19-8D2D-4FE8-B7E5-F18772D16749}"/>
                    </a:ext>
                  </a:extLst>
                </p14:cNvPr>
                <p14:cNvContentPartPr/>
                <p14:nvPr/>
              </p14:nvContentPartPr>
              <p14:xfrm>
                <a:off x="7846275" y="3754785"/>
                <a:ext cx="123480" cy="212400"/>
              </p14:xfrm>
            </p:contentPart>
          </mc:Choice>
          <mc:Fallback xmlns="">
            <p:pic>
              <p:nvPicPr>
                <p:cNvPr id="14" name="Ink 13">
                  <a:extLst>
                    <a:ext uri="{FF2B5EF4-FFF2-40B4-BE49-F238E27FC236}">
                      <a16:creationId xmlns:a16="http://schemas.microsoft.com/office/drawing/2014/main" id="{B3130F19-8D2D-4FE8-B7E5-F18772D16749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7828275" y="3736785"/>
                  <a:ext cx="159120" cy="248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">
              <p14:nvContentPartPr>
                <p14:cNvPr id="15" name="Ink 14">
                  <a:extLst>
                    <a:ext uri="{FF2B5EF4-FFF2-40B4-BE49-F238E27FC236}">
                      <a16:creationId xmlns:a16="http://schemas.microsoft.com/office/drawing/2014/main" id="{C62EB867-614C-4F7F-A7ED-8E75C5DFF303}"/>
                    </a:ext>
                  </a:extLst>
                </p14:cNvPr>
                <p14:cNvContentPartPr/>
                <p14:nvPr/>
              </p14:nvContentPartPr>
              <p14:xfrm>
                <a:off x="8105115" y="3792225"/>
                <a:ext cx="55440" cy="123120"/>
              </p14:xfrm>
            </p:contentPart>
          </mc:Choice>
          <mc:Fallback xmlns="">
            <p:pic>
              <p:nvPicPr>
                <p:cNvPr id="15" name="Ink 14">
                  <a:extLst>
                    <a:ext uri="{FF2B5EF4-FFF2-40B4-BE49-F238E27FC236}">
                      <a16:creationId xmlns:a16="http://schemas.microsoft.com/office/drawing/2014/main" id="{C62EB867-614C-4F7F-A7ED-8E75C5DFF303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8087115" y="3774225"/>
                  <a:ext cx="91080" cy="158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">
              <p14:nvContentPartPr>
                <p14:cNvPr id="16" name="Ink 15">
                  <a:extLst>
                    <a:ext uri="{FF2B5EF4-FFF2-40B4-BE49-F238E27FC236}">
                      <a16:creationId xmlns:a16="http://schemas.microsoft.com/office/drawing/2014/main" id="{239FBBA6-1E21-44C0-8255-8F5DE804CFDC}"/>
                    </a:ext>
                  </a:extLst>
                </p14:cNvPr>
                <p14:cNvContentPartPr/>
                <p14:nvPr/>
              </p14:nvContentPartPr>
              <p14:xfrm>
                <a:off x="8124915" y="3741465"/>
                <a:ext cx="357480" cy="214200"/>
              </p14:xfrm>
            </p:contentPart>
          </mc:Choice>
          <mc:Fallback xmlns="">
            <p:pic>
              <p:nvPicPr>
                <p:cNvPr id="16" name="Ink 15">
                  <a:extLst>
                    <a:ext uri="{FF2B5EF4-FFF2-40B4-BE49-F238E27FC236}">
                      <a16:creationId xmlns:a16="http://schemas.microsoft.com/office/drawing/2014/main" id="{239FBBA6-1E21-44C0-8255-8F5DE804CFDC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8106915" y="3723465"/>
                  <a:ext cx="393120" cy="249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">
              <p14:nvContentPartPr>
                <p14:cNvPr id="17" name="Ink 16">
                  <a:extLst>
                    <a:ext uri="{FF2B5EF4-FFF2-40B4-BE49-F238E27FC236}">
                      <a16:creationId xmlns:a16="http://schemas.microsoft.com/office/drawing/2014/main" id="{FA544C9E-18BC-42F6-863B-F4696995073C}"/>
                    </a:ext>
                  </a:extLst>
                </p14:cNvPr>
                <p14:cNvContentPartPr/>
                <p14:nvPr/>
              </p14:nvContentPartPr>
              <p14:xfrm>
                <a:off x="8510475" y="3822465"/>
                <a:ext cx="36360" cy="83880"/>
              </p14:xfrm>
            </p:contentPart>
          </mc:Choice>
          <mc:Fallback xmlns="">
            <p:pic>
              <p:nvPicPr>
                <p:cNvPr id="17" name="Ink 16">
                  <a:extLst>
                    <a:ext uri="{FF2B5EF4-FFF2-40B4-BE49-F238E27FC236}">
                      <a16:creationId xmlns:a16="http://schemas.microsoft.com/office/drawing/2014/main" id="{FA544C9E-18BC-42F6-863B-F4696995073C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8492475" y="3804465"/>
                  <a:ext cx="72000" cy="119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">
              <p14:nvContentPartPr>
                <p14:cNvPr id="18" name="Ink 17">
                  <a:extLst>
                    <a:ext uri="{FF2B5EF4-FFF2-40B4-BE49-F238E27FC236}">
                      <a16:creationId xmlns:a16="http://schemas.microsoft.com/office/drawing/2014/main" id="{5569C77A-E101-4B2C-94A1-9A84163D701B}"/>
                    </a:ext>
                  </a:extLst>
                </p14:cNvPr>
                <p14:cNvContentPartPr/>
                <p14:nvPr/>
              </p14:nvContentPartPr>
              <p14:xfrm>
                <a:off x="8514435" y="3663705"/>
                <a:ext cx="225000" cy="298800"/>
              </p14:xfrm>
            </p:contentPart>
          </mc:Choice>
          <mc:Fallback xmlns="">
            <p:pic>
              <p:nvPicPr>
                <p:cNvPr id="18" name="Ink 17">
                  <a:extLst>
                    <a:ext uri="{FF2B5EF4-FFF2-40B4-BE49-F238E27FC236}">
                      <a16:creationId xmlns:a16="http://schemas.microsoft.com/office/drawing/2014/main" id="{5569C77A-E101-4B2C-94A1-9A84163D701B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8496795" y="3646065"/>
                  <a:ext cx="260640" cy="334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">
              <p14:nvContentPartPr>
                <p14:cNvPr id="19" name="Ink 18">
                  <a:extLst>
                    <a:ext uri="{FF2B5EF4-FFF2-40B4-BE49-F238E27FC236}">
                      <a16:creationId xmlns:a16="http://schemas.microsoft.com/office/drawing/2014/main" id="{E0DE3302-8489-4F45-BC8A-8C549E760D0C}"/>
                    </a:ext>
                  </a:extLst>
                </p14:cNvPr>
                <p14:cNvContentPartPr/>
                <p14:nvPr/>
              </p14:nvContentPartPr>
              <p14:xfrm>
                <a:off x="8718555" y="3794025"/>
                <a:ext cx="142200" cy="181800"/>
              </p14:xfrm>
            </p:contentPart>
          </mc:Choice>
          <mc:Fallback xmlns="">
            <p:pic>
              <p:nvPicPr>
                <p:cNvPr id="19" name="Ink 18">
                  <a:extLst>
                    <a:ext uri="{FF2B5EF4-FFF2-40B4-BE49-F238E27FC236}">
                      <a16:creationId xmlns:a16="http://schemas.microsoft.com/office/drawing/2014/main" id="{E0DE3302-8489-4F45-BC8A-8C549E760D0C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8700915" y="3776025"/>
                  <a:ext cx="177840" cy="217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">
              <p14:nvContentPartPr>
                <p14:cNvPr id="20" name="Ink 19">
                  <a:extLst>
                    <a:ext uri="{FF2B5EF4-FFF2-40B4-BE49-F238E27FC236}">
                      <a16:creationId xmlns:a16="http://schemas.microsoft.com/office/drawing/2014/main" id="{7E1C0A8D-2E2B-4E72-8414-A79BB65964CB}"/>
                    </a:ext>
                  </a:extLst>
                </p14:cNvPr>
                <p14:cNvContentPartPr/>
                <p14:nvPr/>
              </p14:nvContentPartPr>
              <p14:xfrm>
                <a:off x="8891355" y="3825705"/>
                <a:ext cx="174600" cy="95400"/>
              </p14:xfrm>
            </p:contentPart>
          </mc:Choice>
          <mc:Fallback xmlns="">
            <p:pic>
              <p:nvPicPr>
                <p:cNvPr id="20" name="Ink 19">
                  <a:extLst>
                    <a:ext uri="{FF2B5EF4-FFF2-40B4-BE49-F238E27FC236}">
                      <a16:creationId xmlns:a16="http://schemas.microsoft.com/office/drawing/2014/main" id="{7E1C0A8D-2E2B-4E72-8414-A79BB65964CB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8873355" y="3808065"/>
                  <a:ext cx="210240" cy="131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4">
              <p14:nvContentPartPr>
                <p14:cNvPr id="21" name="Ink 20">
                  <a:extLst>
                    <a:ext uri="{FF2B5EF4-FFF2-40B4-BE49-F238E27FC236}">
                      <a16:creationId xmlns:a16="http://schemas.microsoft.com/office/drawing/2014/main" id="{BDF3BBBC-27E5-4F7F-87DF-9D931B68F433}"/>
                    </a:ext>
                  </a:extLst>
                </p14:cNvPr>
                <p14:cNvContentPartPr/>
                <p14:nvPr/>
              </p14:nvContentPartPr>
              <p14:xfrm>
                <a:off x="8970195" y="3672345"/>
                <a:ext cx="299520" cy="240480"/>
              </p14:xfrm>
            </p:contentPart>
          </mc:Choice>
          <mc:Fallback xmlns="">
            <p:pic>
              <p:nvPicPr>
                <p:cNvPr id="21" name="Ink 20">
                  <a:extLst>
                    <a:ext uri="{FF2B5EF4-FFF2-40B4-BE49-F238E27FC236}">
                      <a16:creationId xmlns:a16="http://schemas.microsoft.com/office/drawing/2014/main" id="{BDF3BBBC-27E5-4F7F-87DF-9D931B68F433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8952195" y="3654345"/>
                  <a:ext cx="335160" cy="276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6">
              <p14:nvContentPartPr>
                <p14:cNvPr id="22" name="Ink 21">
                  <a:extLst>
                    <a:ext uri="{FF2B5EF4-FFF2-40B4-BE49-F238E27FC236}">
                      <a16:creationId xmlns:a16="http://schemas.microsoft.com/office/drawing/2014/main" id="{FCA24188-19AA-4050-99B8-3BBDD6F8A7C4}"/>
                    </a:ext>
                  </a:extLst>
                </p14:cNvPr>
                <p14:cNvContentPartPr/>
                <p14:nvPr/>
              </p14:nvContentPartPr>
              <p14:xfrm>
                <a:off x="9158475" y="3785385"/>
                <a:ext cx="294840" cy="253800"/>
              </p14:xfrm>
            </p:contentPart>
          </mc:Choice>
          <mc:Fallback xmlns="">
            <p:pic>
              <p:nvPicPr>
                <p:cNvPr id="22" name="Ink 21">
                  <a:extLst>
                    <a:ext uri="{FF2B5EF4-FFF2-40B4-BE49-F238E27FC236}">
                      <a16:creationId xmlns:a16="http://schemas.microsoft.com/office/drawing/2014/main" id="{FCA24188-19AA-4050-99B8-3BBDD6F8A7C4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9140475" y="3767745"/>
                  <a:ext cx="330480" cy="289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8">
              <p14:nvContentPartPr>
                <p14:cNvPr id="23" name="Ink 22">
                  <a:extLst>
                    <a:ext uri="{FF2B5EF4-FFF2-40B4-BE49-F238E27FC236}">
                      <a16:creationId xmlns:a16="http://schemas.microsoft.com/office/drawing/2014/main" id="{D4B8556B-75B2-42D0-A49B-A2B8890A5F2C}"/>
                    </a:ext>
                  </a:extLst>
                </p14:cNvPr>
                <p14:cNvContentPartPr/>
                <p14:nvPr/>
              </p14:nvContentPartPr>
              <p14:xfrm>
                <a:off x="9692715" y="3719865"/>
                <a:ext cx="469080" cy="161640"/>
              </p14:xfrm>
            </p:contentPart>
          </mc:Choice>
          <mc:Fallback xmlns="">
            <p:pic>
              <p:nvPicPr>
                <p:cNvPr id="23" name="Ink 22">
                  <a:extLst>
                    <a:ext uri="{FF2B5EF4-FFF2-40B4-BE49-F238E27FC236}">
                      <a16:creationId xmlns:a16="http://schemas.microsoft.com/office/drawing/2014/main" id="{D4B8556B-75B2-42D0-A49B-A2B8890A5F2C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9674715" y="3702225"/>
                  <a:ext cx="504720" cy="197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0">
              <p14:nvContentPartPr>
                <p14:cNvPr id="24" name="Ink 23">
                  <a:extLst>
                    <a:ext uri="{FF2B5EF4-FFF2-40B4-BE49-F238E27FC236}">
                      <a16:creationId xmlns:a16="http://schemas.microsoft.com/office/drawing/2014/main" id="{9A723B36-3521-4FD2-808C-472AD388FCCA}"/>
                    </a:ext>
                  </a:extLst>
                </p14:cNvPr>
                <p14:cNvContentPartPr/>
                <p14:nvPr/>
              </p14:nvContentPartPr>
              <p14:xfrm>
                <a:off x="10345755" y="3679905"/>
                <a:ext cx="796680" cy="239040"/>
              </p14:xfrm>
            </p:contentPart>
          </mc:Choice>
          <mc:Fallback xmlns="">
            <p:pic>
              <p:nvPicPr>
                <p:cNvPr id="24" name="Ink 23">
                  <a:extLst>
                    <a:ext uri="{FF2B5EF4-FFF2-40B4-BE49-F238E27FC236}">
                      <a16:creationId xmlns:a16="http://schemas.microsoft.com/office/drawing/2014/main" id="{9A723B36-3521-4FD2-808C-472AD388FCCA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10327755" y="3661905"/>
                  <a:ext cx="832320" cy="2746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15472FD0-E08D-445D-B5D6-3AA14D6A44A0}"/>
              </a:ext>
            </a:extLst>
          </p:cNvPr>
          <p:cNvGrpSpPr/>
          <p:nvPr/>
        </p:nvGrpSpPr>
        <p:grpSpPr>
          <a:xfrm>
            <a:off x="8152275" y="4184985"/>
            <a:ext cx="896400" cy="255240"/>
            <a:chOff x="8152275" y="4184985"/>
            <a:chExt cx="896400" cy="2552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32">
              <p14:nvContentPartPr>
                <p14:cNvPr id="26" name="Ink 25">
                  <a:extLst>
                    <a:ext uri="{FF2B5EF4-FFF2-40B4-BE49-F238E27FC236}">
                      <a16:creationId xmlns:a16="http://schemas.microsoft.com/office/drawing/2014/main" id="{E1CB6BD7-C65F-4157-97E5-58817A82B617}"/>
                    </a:ext>
                  </a:extLst>
                </p14:cNvPr>
                <p14:cNvContentPartPr/>
                <p14:nvPr/>
              </p14:nvContentPartPr>
              <p14:xfrm>
                <a:off x="8152275" y="4184985"/>
                <a:ext cx="326160" cy="255240"/>
              </p14:xfrm>
            </p:contentPart>
          </mc:Choice>
          <mc:Fallback xmlns="">
            <p:pic>
              <p:nvPicPr>
                <p:cNvPr id="26" name="Ink 25">
                  <a:extLst>
                    <a:ext uri="{FF2B5EF4-FFF2-40B4-BE49-F238E27FC236}">
                      <a16:creationId xmlns:a16="http://schemas.microsoft.com/office/drawing/2014/main" id="{E1CB6BD7-C65F-4157-97E5-58817A82B617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8134275" y="4166985"/>
                  <a:ext cx="361800" cy="290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4">
              <p14:nvContentPartPr>
                <p14:cNvPr id="27" name="Ink 26">
                  <a:extLst>
                    <a:ext uri="{FF2B5EF4-FFF2-40B4-BE49-F238E27FC236}">
                      <a16:creationId xmlns:a16="http://schemas.microsoft.com/office/drawing/2014/main" id="{688DF802-5E7C-432D-BCAC-15752BF17FF9}"/>
                    </a:ext>
                  </a:extLst>
                </p14:cNvPr>
                <p14:cNvContentPartPr/>
                <p14:nvPr/>
              </p14:nvContentPartPr>
              <p14:xfrm>
                <a:off x="8588955" y="4260945"/>
                <a:ext cx="84600" cy="106560"/>
              </p14:xfrm>
            </p:contentPart>
          </mc:Choice>
          <mc:Fallback xmlns="">
            <p:pic>
              <p:nvPicPr>
                <p:cNvPr id="27" name="Ink 26">
                  <a:extLst>
                    <a:ext uri="{FF2B5EF4-FFF2-40B4-BE49-F238E27FC236}">
                      <a16:creationId xmlns:a16="http://schemas.microsoft.com/office/drawing/2014/main" id="{688DF802-5E7C-432D-BCAC-15752BF17FF9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8570955" y="4243305"/>
                  <a:ext cx="120240" cy="142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6">
              <p14:nvContentPartPr>
                <p14:cNvPr id="28" name="Ink 27">
                  <a:extLst>
                    <a:ext uri="{FF2B5EF4-FFF2-40B4-BE49-F238E27FC236}">
                      <a16:creationId xmlns:a16="http://schemas.microsoft.com/office/drawing/2014/main" id="{DE94824C-C138-40A0-9A39-7EBD08320542}"/>
                    </a:ext>
                  </a:extLst>
                </p14:cNvPr>
                <p14:cNvContentPartPr/>
                <p14:nvPr/>
              </p14:nvContentPartPr>
              <p14:xfrm>
                <a:off x="8746275" y="4211625"/>
                <a:ext cx="90000" cy="164160"/>
              </p14:xfrm>
            </p:contentPart>
          </mc:Choice>
          <mc:Fallback xmlns="">
            <p:pic>
              <p:nvPicPr>
                <p:cNvPr id="28" name="Ink 27">
                  <a:extLst>
                    <a:ext uri="{FF2B5EF4-FFF2-40B4-BE49-F238E27FC236}">
                      <a16:creationId xmlns:a16="http://schemas.microsoft.com/office/drawing/2014/main" id="{DE94824C-C138-40A0-9A39-7EBD08320542}"/>
                    </a:ext>
                  </a:extLst>
                </p:cNvPr>
                <p:cNvPicPr/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8728275" y="4193985"/>
                  <a:ext cx="125640" cy="199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8">
              <p14:nvContentPartPr>
                <p14:cNvPr id="29" name="Ink 28">
                  <a:extLst>
                    <a:ext uri="{FF2B5EF4-FFF2-40B4-BE49-F238E27FC236}">
                      <a16:creationId xmlns:a16="http://schemas.microsoft.com/office/drawing/2014/main" id="{72E63677-E1ED-4997-8E4A-48FC80AA285E}"/>
                    </a:ext>
                  </a:extLst>
                </p14:cNvPr>
                <p14:cNvContentPartPr/>
                <p14:nvPr/>
              </p14:nvContentPartPr>
              <p14:xfrm>
                <a:off x="8915835" y="4197225"/>
                <a:ext cx="132840" cy="145080"/>
              </p14:xfrm>
            </p:contentPart>
          </mc:Choice>
          <mc:Fallback xmlns="">
            <p:pic>
              <p:nvPicPr>
                <p:cNvPr id="29" name="Ink 28">
                  <a:extLst>
                    <a:ext uri="{FF2B5EF4-FFF2-40B4-BE49-F238E27FC236}">
                      <a16:creationId xmlns:a16="http://schemas.microsoft.com/office/drawing/2014/main" id="{72E63677-E1ED-4997-8E4A-48FC80AA285E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8897835" y="4179585"/>
                  <a:ext cx="168480" cy="1807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A5A43D87-E23A-4E1E-9316-824DA6381E55}"/>
              </a:ext>
            </a:extLst>
          </p:cNvPr>
          <p:cNvGrpSpPr/>
          <p:nvPr/>
        </p:nvGrpSpPr>
        <p:grpSpPr>
          <a:xfrm>
            <a:off x="9311115" y="4078425"/>
            <a:ext cx="2129400" cy="251640"/>
            <a:chOff x="9311115" y="4078425"/>
            <a:chExt cx="2129400" cy="2516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40">
              <p14:nvContentPartPr>
                <p14:cNvPr id="30" name="Ink 29">
                  <a:extLst>
                    <a:ext uri="{FF2B5EF4-FFF2-40B4-BE49-F238E27FC236}">
                      <a16:creationId xmlns:a16="http://schemas.microsoft.com/office/drawing/2014/main" id="{DDE46BEA-4AA9-481D-8330-92754DA5230B}"/>
                    </a:ext>
                  </a:extLst>
                </p14:cNvPr>
                <p14:cNvContentPartPr/>
                <p14:nvPr/>
              </p14:nvContentPartPr>
              <p14:xfrm>
                <a:off x="9406875" y="4117305"/>
                <a:ext cx="47880" cy="212760"/>
              </p14:xfrm>
            </p:contentPart>
          </mc:Choice>
          <mc:Fallback xmlns="">
            <p:pic>
              <p:nvPicPr>
                <p:cNvPr id="30" name="Ink 29">
                  <a:extLst>
                    <a:ext uri="{FF2B5EF4-FFF2-40B4-BE49-F238E27FC236}">
                      <a16:creationId xmlns:a16="http://schemas.microsoft.com/office/drawing/2014/main" id="{DDE46BEA-4AA9-481D-8330-92754DA5230B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9388875" y="4099305"/>
                  <a:ext cx="83520" cy="248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2">
              <p14:nvContentPartPr>
                <p14:cNvPr id="31" name="Ink 30">
                  <a:extLst>
                    <a:ext uri="{FF2B5EF4-FFF2-40B4-BE49-F238E27FC236}">
                      <a16:creationId xmlns:a16="http://schemas.microsoft.com/office/drawing/2014/main" id="{83344506-DFF1-4086-B509-C57BCE71C231}"/>
                    </a:ext>
                  </a:extLst>
                </p14:cNvPr>
                <p14:cNvContentPartPr/>
                <p14:nvPr/>
              </p14:nvContentPartPr>
              <p14:xfrm>
                <a:off x="9311115" y="4214505"/>
                <a:ext cx="338760" cy="101880"/>
              </p14:xfrm>
            </p:contentPart>
          </mc:Choice>
          <mc:Fallback xmlns="">
            <p:pic>
              <p:nvPicPr>
                <p:cNvPr id="31" name="Ink 30">
                  <a:extLst>
                    <a:ext uri="{FF2B5EF4-FFF2-40B4-BE49-F238E27FC236}">
                      <a16:creationId xmlns:a16="http://schemas.microsoft.com/office/drawing/2014/main" id="{83344506-DFF1-4086-B509-C57BCE71C231}"/>
                    </a:ext>
                  </a:extLst>
                </p:cNvPr>
                <p:cNvPicPr/>
                <p:nvPr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9293475" y="4196865"/>
                  <a:ext cx="374400" cy="137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4">
              <p14:nvContentPartPr>
                <p14:cNvPr id="32" name="Ink 31">
                  <a:extLst>
                    <a:ext uri="{FF2B5EF4-FFF2-40B4-BE49-F238E27FC236}">
                      <a16:creationId xmlns:a16="http://schemas.microsoft.com/office/drawing/2014/main" id="{FBD278CF-DE7F-401F-AA58-671AD6019E28}"/>
                    </a:ext>
                  </a:extLst>
                </p14:cNvPr>
                <p14:cNvContentPartPr/>
                <p14:nvPr/>
              </p14:nvContentPartPr>
              <p14:xfrm>
                <a:off x="9717195" y="4179945"/>
                <a:ext cx="173520" cy="147960"/>
              </p14:xfrm>
            </p:contentPart>
          </mc:Choice>
          <mc:Fallback xmlns="">
            <p:pic>
              <p:nvPicPr>
                <p:cNvPr id="32" name="Ink 31">
                  <a:extLst>
                    <a:ext uri="{FF2B5EF4-FFF2-40B4-BE49-F238E27FC236}">
                      <a16:creationId xmlns:a16="http://schemas.microsoft.com/office/drawing/2014/main" id="{FBD278CF-DE7F-401F-AA58-671AD6019E28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9699195" y="4162305"/>
                  <a:ext cx="209160" cy="183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6">
              <p14:nvContentPartPr>
                <p14:cNvPr id="33" name="Ink 32">
                  <a:extLst>
                    <a:ext uri="{FF2B5EF4-FFF2-40B4-BE49-F238E27FC236}">
                      <a16:creationId xmlns:a16="http://schemas.microsoft.com/office/drawing/2014/main" id="{1CFC96DC-E27E-4444-A0C7-9D925AD981F9}"/>
                    </a:ext>
                  </a:extLst>
                </p14:cNvPr>
                <p14:cNvContentPartPr/>
                <p14:nvPr/>
              </p14:nvContentPartPr>
              <p14:xfrm>
                <a:off x="9994755" y="4195065"/>
                <a:ext cx="198000" cy="118800"/>
              </p14:xfrm>
            </p:contentPart>
          </mc:Choice>
          <mc:Fallback xmlns="">
            <p:pic>
              <p:nvPicPr>
                <p:cNvPr id="33" name="Ink 32">
                  <a:extLst>
                    <a:ext uri="{FF2B5EF4-FFF2-40B4-BE49-F238E27FC236}">
                      <a16:creationId xmlns:a16="http://schemas.microsoft.com/office/drawing/2014/main" id="{1CFC96DC-E27E-4444-A0C7-9D925AD981F9}"/>
                    </a:ext>
                  </a:extLst>
                </p:cNvPr>
                <p:cNvPicPr/>
                <p:nvPr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9976755" y="4177065"/>
                  <a:ext cx="233640" cy="154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8">
              <p14:nvContentPartPr>
                <p14:cNvPr id="34" name="Ink 33">
                  <a:extLst>
                    <a:ext uri="{FF2B5EF4-FFF2-40B4-BE49-F238E27FC236}">
                      <a16:creationId xmlns:a16="http://schemas.microsoft.com/office/drawing/2014/main" id="{6EF4CF14-DE2D-4019-9D69-3773889F7C2F}"/>
                    </a:ext>
                  </a:extLst>
                </p14:cNvPr>
                <p14:cNvContentPartPr/>
                <p14:nvPr/>
              </p14:nvContentPartPr>
              <p14:xfrm>
                <a:off x="10185915" y="4210545"/>
                <a:ext cx="275040" cy="107280"/>
              </p14:xfrm>
            </p:contentPart>
          </mc:Choice>
          <mc:Fallback xmlns="">
            <p:pic>
              <p:nvPicPr>
                <p:cNvPr id="34" name="Ink 33">
                  <a:extLst>
                    <a:ext uri="{FF2B5EF4-FFF2-40B4-BE49-F238E27FC236}">
                      <a16:creationId xmlns:a16="http://schemas.microsoft.com/office/drawing/2014/main" id="{6EF4CF14-DE2D-4019-9D69-3773889F7C2F}"/>
                    </a:ext>
                  </a:extLst>
                </p:cNvPr>
                <p:cNvPicPr/>
                <p:nvPr/>
              </p:nvPicPr>
              <p:blipFill>
                <a:blip r:embed="rId49"/>
                <a:stretch>
                  <a:fillRect/>
                </a:stretch>
              </p:blipFill>
              <p:spPr>
                <a:xfrm>
                  <a:off x="10168275" y="4192545"/>
                  <a:ext cx="310680" cy="142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0">
              <p14:nvContentPartPr>
                <p14:cNvPr id="35" name="Ink 34">
                  <a:extLst>
                    <a:ext uri="{FF2B5EF4-FFF2-40B4-BE49-F238E27FC236}">
                      <a16:creationId xmlns:a16="http://schemas.microsoft.com/office/drawing/2014/main" id="{0E2E0A5E-BB5D-46BB-AB7D-62E5E89DFAB8}"/>
                    </a:ext>
                  </a:extLst>
                </p14:cNvPr>
                <p14:cNvContentPartPr/>
                <p14:nvPr/>
              </p14:nvContentPartPr>
              <p14:xfrm>
                <a:off x="10602435" y="4153665"/>
                <a:ext cx="115920" cy="145440"/>
              </p14:xfrm>
            </p:contentPart>
          </mc:Choice>
          <mc:Fallback xmlns="">
            <p:pic>
              <p:nvPicPr>
                <p:cNvPr id="35" name="Ink 34">
                  <a:extLst>
                    <a:ext uri="{FF2B5EF4-FFF2-40B4-BE49-F238E27FC236}">
                      <a16:creationId xmlns:a16="http://schemas.microsoft.com/office/drawing/2014/main" id="{0E2E0A5E-BB5D-46BB-AB7D-62E5E89DFAB8}"/>
                    </a:ext>
                  </a:extLst>
                </p:cNvPr>
                <p:cNvPicPr/>
                <p:nvPr/>
              </p:nvPicPr>
              <p:blipFill>
                <a:blip r:embed="rId51"/>
                <a:stretch>
                  <a:fillRect/>
                </a:stretch>
              </p:blipFill>
              <p:spPr>
                <a:xfrm>
                  <a:off x="10584435" y="4135665"/>
                  <a:ext cx="151560" cy="181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2">
              <p14:nvContentPartPr>
                <p14:cNvPr id="36" name="Ink 35">
                  <a:extLst>
                    <a:ext uri="{FF2B5EF4-FFF2-40B4-BE49-F238E27FC236}">
                      <a16:creationId xmlns:a16="http://schemas.microsoft.com/office/drawing/2014/main" id="{2E529442-5444-4007-B4C3-E8D181FDF39C}"/>
                    </a:ext>
                  </a:extLst>
                </p14:cNvPr>
                <p14:cNvContentPartPr/>
                <p14:nvPr/>
              </p14:nvContentPartPr>
              <p14:xfrm>
                <a:off x="10767675" y="4078425"/>
                <a:ext cx="74880" cy="195840"/>
              </p14:xfrm>
            </p:contentPart>
          </mc:Choice>
          <mc:Fallback xmlns="">
            <p:pic>
              <p:nvPicPr>
                <p:cNvPr id="36" name="Ink 35">
                  <a:extLst>
                    <a:ext uri="{FF2B5EF4-FFF2-40B4-BE49-F238E27FC236}">
                      <a16:creationId xmlns:a16="http://schemas.microsoft.com/office/drawing/2014/main" id="{2E529442-5444-4007-B4C3-E8D181FDF39C}"/>
                    </a:ext>
                  </a:extLst>
                </p:cNvPr>
                <p:cNvPicPr/>
                <p:nvPr/>
              </p:nvPicPr>
              <p:blipFill>
                <a:blip r:embed="rId53"/>
                <a:stretch>
                  <a:fillRect/>
                </a:stretch>
              </p:blipFill>
              <p:spPr>
                <a:xfrm>
                  <a:off x="10749675" y="4060425"/>
                  <a:ext cx="110520" cy="231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4">
              <p14:nvContentPartPr>
                <p14:cNvPr id="37" name="Ink 36">
                  <a:extLst>
                    <a:ext uri="{FF2B5EF4-FFF2-40B4-BE49-F238E27FC236}">
                      <a16:creationId xmlns:a16="http://schemas.microsoft.com/office/drawing/2014/main" id="{4951B58B-8004-4D51-A4D1-19931B4158C0}"/>
                    </a:ext>
                  </a:extLst>
                </p14:cNvPr>
                <p14:cNvContentPartPr/>
                <p14:nvPr/>
              </p14:nvContentPartPr>
              <p14:xfrm>
                <a:off x="10715115" y="4173825"/>
                <a:ext cx="725400" cy="109080"/>
              </p14:xfrm>
            </p:contentPart>
          </mc:Choice>
          <mc:Fallback xmlns="">
            <p:pic>
              <p:nvPicPr>
                <p:cNvPr id="37" name="Ink 36">
                  <a:extLst>
                    <a:ext uri="{FF2B5EF4-FFF2-40B4-BE49-F238E27FC236}">
                      <a16:creationId xmlns:a16="http://schemas.microsoft.com/office/drawing/2014/main" id="{4951B58B-8004-4D51-A4D1-19931B4158C0}"/>
                    </a:ext>
                  </a:extLst>
                </p:cNvPr>
                <p:cNvPicPr/>
                <p:nvPr/>
              </p:nvPicPr>
              <p:blipFill>
                <a:blip r:embed="rId55"/>
                <a:stretch>
                  <a:fillRect/>
                </a:stretch>
              </p:blipFill>
              <p:spPr>
                <a:xfrm>
                  <a:off x="10697115" y="4155825"/>
                  <a:ext cx="761040" cy="1447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773B5526-1CFA-4060-B386-F5500EF91331}"/>
              </a:ext>
            </a:extLst>
          </p:cNvPr>
          <p:cNvGrpSpPr/>
          <p:nvPr/>
        </p:nvGrpSpPr>
        <p:grpSpPr>
          <a:xfrm>
            <a:off x="8991435" y="4564785"/>
            <a:ext cx="1036080" cy="385920"/>
            <a:chOff x="8991435" y="4564785"/>
            <a:chExt cx="1036080" cy="3859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56">
              <p14:nvContentPartPr>
                <p14:cNvPr id="49" name="Ink 48">
                  <a:extLst>
                    <a:ext uri="{FF2B5EF4-FFF2-40B4-BE49-F238E27FC236}">
                      <a16:creationId xmlns:a16="http://schemas.microsoft.com/office/drawing/2014/main" id="{D48FD3EF-6077-464F-A05E-9CD8259B44AC}"/>
                    </a:ext>
                  </a:extLst>
                </p14:cNvPr>
                <p14:cNvContentPartPr/>
                <p14:nvPr/>
              </p14:nvContentPartPr>
              <p14:xfrm>
                <a:off x="8991435" y="4604385"/>
                <a:ext cx="159840" cy="171360"/>
              </p14:xfrm>
            </p:contentPart>
          </mc:Choice>
          <mc:Fallback xmlns="">
            <p:pic>
              <p:nvPicPr>
                <p:cNvPr id="49" name="Ink 48">
                  <a:extLst>
                    <a:ext uri="{FF2B5EF4-FFF2-40B4-BE49-F238E27FC236}">
                      <a16:creationId xmlns:a16="http://schemas.microsoft.com/office/drawing/2014/main" id="{D48FD3EF-6077-464F-A05E-9CD8259B44AC}"/>
                    </a:ext>
                  </a:extLst>
                </p:cNvPr>
                <p:cNvPicPr/>
                <p:nvPr/>
              </p:nvPicPr>
              <p:blipFill>
                <a:blip r:embed="rId57"/>
                <a:stretch>
                  <a:fillRect/>
                </a:stretch>
              </p:blipFill>
              <p:spPr>
                <a:xfrm>
                  <a:off x="8973795" y="4586745"/>
                  <a:ext cx="195480" cy="207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8">
              <p14:nvContentPartPr>
                <p14:cNvPr id="50" name="Ink 49">
                  <a:extLst>
                    <a:ext uri="{FF2B5EF4-FFF2-40B4-BE49-F238E27FC236}">
                      <a16:creationId xmlns:a16="http://schemas.microsoft.com/office/drawing/2014/main" id="{F15ABA9D-95FB-402A-92DC-5771BE647B42}"/>
                    </a:ext>
                  </a:extLst>
                </p14:cNvPr>
                <p14:cNvContentPartPr/>
                <p14:nvPr/>
              </p14:nvContentPartPr>
              <p14:xfrm>
                <a:off x="9197355" y="4564785"/>
                <a:ext cx="389160" cy="385920"/>
              </p14:xfrm>
            </p:contentPart>
          </mc:Choice>
          <mc:Fallback xmlns="">
            <p:pic>
              <p:nvPicPr>
                <p:cNvPr id="50" name="Ink 49">
                  <a:extLst>
                    <a:ext uri="{FF2B5EF4-FFF2-40B4-BE49-F238E27FC236}">
                      <a16:creationId xmlns:a16="http://schemas.microsoft.com/office/drawing/2014/main" id="{F15ABA9D-95FB-402A-92DC-5771BE647B42}"/>
                    </a:ext>
                  </a:extLst>
                </p:cNvPr>
                <p:cNvPicPr/>
                <p:nvPr/>
              </p:nvPicPr>
              <p:blipFill>
                <a:blip r:embed="rId59"/>
                <a:stretch>
                  <a:fillRect/>
                </a:stretch>
              </p:blipFill>
              <p:spPr>
                <a:xfrm>
                  <a:off x="9179355" y="4547145"/>
                  <a:ext cx="424800" cy="421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0">
              <p14:nvContentPartPr>
                <p14:cNvPr id="51" name="Ink 50">
                  <a:extLst>
                    <a:ext uri="{FF2B5EF4-FFF2-40B4-BE49-F238E27FC236}">
                      <a16:creationId xmlns:a16="http://schemas.microsoft.com/office/drawing/2014/main" id="{74781DCC-D257-4959-9712-916161408F5B}"/>
                    </a:ext>
                  </a:extLst>
                </p14:cNvPr>
                <p14:cNvContentPartPr/>
                <p14:nvPr/>
              </p14:nvContentPartPr>
              <p14:xfrm>
                <a:off x="9667515" y="4715985"/>
                <a:ext cx="106200" cy="15120"/>
              </p14:xfrm>
            </p:contentPart>
          </mc:Choice>
          <mc:Fallback xmlns="">
            <p:pic>
              <p:nvPicPr>
                <p:cNvPr id="51" name="Ink 50">
                  <a:extLst>
                    <a:ext uri="{FF2B5EF4-FFF2-40B4-BE49-F238E27FC236}">
                      <a16:creationId xmlns:a16="http://schemas.microsoft.com/office/drawing/2014/main" id="{74781DCC-D257-4959-9712-916161408F5B}"/>
                    </a:ext>
                  </a:extLst>
                </p:cNvPr>
                <p:cNvPicPr/>
                <p:nvPr/>
              </p:nvPicPr>
              <p:blipFill>
                <a:blip r:embed="rId61"/>
                <a:stretch>
                  <a:fillRect/>
                </a:stretch>
              </p:blipFill>
              <p:spPr>
                <a:xfrm>
                  <a:off x="9649515" y="4697985"/>
                  <a:ext cx="141840" cy="50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2">
              <p14:nvContentPartPr>
                <p14:cNvPr id="52" name="Ink 51">
                  <a:extLst>
                    <a:ext uri="{FF2B5EF4-FFF2-40B4-BE49-F238E27FC236}">
                      <a16:creationId xmlns:a16="http://schemas.microsoft.com/office/drawing/2014/main" id="{84FAEC12-921D-49E0-A28E-4A39951CD725}"/>
                    </a:ext>
                  </a:extLst>
                </p14:cNvPr>
                <p14:cNvContentPartPr/>
                <p14:nvPr/>
              </p14:nvContentPartPr>
              <p14:xfrm>
                <a:off x="9804315" y="4618785"/>
                <a:ext cx="101880" cy="196920"/>
              </p14:xfrm>
            </p:contentPart>
          </mc:Choice>
          <mc:Fallback xmlns="">
            <p:pic>
              <p:nvPicPr>
                <p:cNvPr id="52" name="Ink 51">
                  <a:extLst>
                    <a:ext uri="{FF2B5EF4-FFF2-40B4-BE49-F238E27FC236}">
                      <a16:creationId xmlns:a16="http://schemas.microsoft.com/office/drawing/2014/main" id="{84FAEC12-921D-49E0-A28E-4A39951CD725}"/>
                    </a:ext>
                  </a:extLst>
                </p:cNvPr>
                <p:cNvPicPr/>
                <p:nvPr/>
              </p:nvPicPr>
              <p:blipFill>
                <a:blip r:embed="rId63"/>
                <a:stretch>
                  <a:fillRect/>
                </a:stretch>
              </p:blipFill>
              <p:spPr>
                <a:xfrm>
                  <a:off x="9786315" y="4600785"/>
                  <a:ext cx="137520" cy="232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4">
              <p14:nvContentPartPr>
                <p14:cNvPr id="53" name="Ink 52">
                  <a:extLst>
                    <a:ext uri="{FF2B5EF4-FFF2-40B4-BE49-F238E27FC236}">
                      <a16:creationId xmlns:a16="http://schemas.microsoft.com/office/drawing/2014/main" id="{89805704-EF71-4D00-AFB9-A92454E73292}"/>
                    </a:ext>
                  </a:extLst>
                </p14:cNvPr>
                <p14:cNvContentPartPr/>
                <p14:nvPr/>
              </p14:nvContentPartPr>
              <p14:xfrm>
                <a:off x="9965235" y="4610865"/>
                <a:ext cx="62280" cy="266040"/>
              </p14:xfrm>
            </p:contentPart>
          </mc:Choice>
          <mc:Fallback xmlns="">
            <p:pic>
              <p:nvPicPr>
                <p:cNvPr id="53" name="Ink 52">
                  <a:extLst>
                    <a:ext uri="{FF2B5EF4-FFF2-40B4-BE49-F238E27FC236}">
                      <a16:creationId xmlns:a16="http://schemas.microsoft.com/office/drawing/2014/main" id="{89805704-EF71-4D00-AFB9-A92454E73292}"/>
                    </a:ext>
                  </a:extLst>
                </p:cNvPr>
                <p:cNvPicPr/>
                <p:nvPr/>
              </p:nvPicPr>
              <p:blipFill>
                <a:blip r:embed="rId65"/>
                <a:stretch>
                  <a:fillRect/>
                </a:stretch>
              </p:blipFill>
              <p:spPr>
                <a:xfrm>
                  <a:off x="9947595" y="4593225"/>
                  <a:ext cx="97920" cy="30168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66">
            <p14:nvContentPartPr>
              <p14:cNvPr id="55" name="Ink 54">
                <a:extLst>
                  <a:ext uri="{FF2B5EF4-FFF2-40B4-BE49-F238E27FC236}">
                    <a16:creationId xmlns:a16="http://schemas.microsoft.com/office/drawing/2014/main" id="{DF610378-C551-4AEF-B140-69233298D7D0}"/>
                  </a:ext>
                </a:extLst>
              </p14:cNvPr>
              <p14:cNvContentPartPr/>
              <p14:nvPr/>
            </p14:nvContentPartPr>
            <p14:xfrm>
              <a:off x="2579115" y="2891145"/>
              <a:ext cx="34920" cy="209160"/>
            </p14:xfrm>
          </p:contentPart>
        </mc:Choice>
        <mc:Fallback xmlns="">
          <p:pic>
            <p:nvPicPr>
              <p:cNvPr id="55" name="Ink 54">
                <a:extLst>
                  <a:ext uri="{FF2B5EF4-FFF2-40B4-BE49-F238E27FC236}">
                    <a16:creationId xmlns:a16="http://schemas.microsoft.com/office/drawing/2014/main" id="{DF610378-C551-4AEF-B140-69233298D7D0}"/>
                  </a:ext>
                </a:extLst>
              </p:cNvPr>
              <p:cNvPicPr/>
              <p:nvPr/>
            </p:nvPicPr>
            <p:blipFill>
              <a:blip r:embed="rId67"/>
              <a:stretch>
                <a:fillRect/>
              </a:stretch>
            </p:blipFill>
            <p:spPr>
              <a:xfrm>
                <a:off x="2561475" y="2873505"/>
                <a:ext cx="70560" cy="244800"/>
              </a:xfrm>
              <a:prstGeom prst="rect">
                <a:avLst/>
              </a:prstGeom>
            </p:spPr>
          </p:pic>
        </mc:Fallback>
      </mc:AlternateContent>
      <p:grpSp>
        <p:nvGrpSpPr>
          <p:cNvPr id="65" name="Group 64">
            <a:extLst>
              <a:ext uri="{FF2B5EF4-FFF2-40B4-BE49-F238E27FC236}">
                <a16:creationId xmlns:a16="http://schemas.microsoft.com/office/drawing/2014/main" id="{14D11BF6-9F6D-445B-A4CA-C9A79EB01486}"/>
              </a:ext>
            </a:extLst>
          </p:cNvPr>
          <p:cNvGrpSpPr/>
          <p:nvPr/>
        </p:nvGrpSpPr>
        <p:grpSpPr>
          <a:xfrm>
            <a:off x="4928835" y="5389185"/>
            <a:ext cx="231480" cy="309600"/>
            <a:chOff x="4928835" y="5389185"/>
            <a:chExt cx="231480" cy="3096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8">
              <p14:nvContentPartPr>
                <p14:cNvPr id="61" name="Ink 60">
                  <a:extLst>
                    <a:ext uri="{FF2B5EF4-FFF2-40B4-BE49-F238E27FC236}">
                      <a16:creationId xmlns:a16="http://schemas.microsoft.com/office/drawing/2014/main" id="{9362DEEB-FA63-4730-B2A9-3EB74E3B072A}"/>
                    </a:ext>
                  </a:extLst>
                </p14:cNvPr>
                <p14:cNvContentPartPr/>
                <p14:nvPr/>
              </p14:nvContentPartPr>
              <p14:xfrm>
                <a:off x="4956555" y="5416185"/>
                <a:ext cx="199800" cy="282600"/>
              </p14:xfrm>
            </p:contentPart>
          </mc:Choice>
          <mc:Fallback xmlns="">
            <p:pic>
              <p:nvPicPr>
                <p:cNvPr id="61" name="Ink 60">
                  <a:extLst>
                    <a:ext uri="{FF2B5EF4-FFF2-40B4-BE49-F238E27FC236}">
                      <a16:creationId xmlns:a16="http://schemas.microsoft.com/office/drawing/2014/main" id="{9362DEEB-FA63-4730-B2A9-3EB74E3B072A}"/>
                    </a:ext>
                  </a:extLst>
                </p:cNvPr>
                <p:cNvPicPr/>
                <p:nvPr/>
              </p:nvPicPr>
              <p:blipFill>
                <a:blip r:embed="rId69"/>
                <a:stretch>
                  <a:fillRect/>
                </a:stretch>
              </p:blipFill>
              <p:spPr>
                <a:xfrm>
                  <a:off x="4938555" y="5398185"/>
                  <a:ext cx="235440" cy="318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0">
              <p14:nvContentPartPr>
                <p14:cNvPr id="62" name="Ink 61">
                  <a:extLst>
                    <a:ext uri="{FF2B5EF4-FFF2-40B4-BE49-F238E27FC236}">
                      <a16:creationId xmlns:a16="http://schemas.microsoft.com/office/drawing/2014/main" id="{3DFBEFEA-85E3-4BCA-A76F-F33EB805A602}"/>
                    </a:ext>
                  </a:extLst>
                </p14:cNvPr>
                <p14:cNvContentPartPr/>
                <p14:nvPr/>
              </p14:nvContentPartPr>
              <p14:xfrm>
                <a:off x="4928835" y="5389185"/>
                <a:ext cx="231480" cy="143640"/>
              </p14:xfrm>
            </p:contentPart>
          </mc:Choice>
          <mc:Fallback xmlns="">
            <p:pic>
              <p:nvPicPr>
                <p:cNvPr id="62" name="Ink 61">
                  <a:extLst>
                    <a:ext uri="{FF2B5EF4-FFF2-40B4-BE49-F238E27FC236}">
                      <a16:creationId xmlns:a16="http://schemas.microsoft.com/office/drawing/2014/main" id="{3DFBEFEA-85E3-4BCA-A76F-F33EB805A602}"/>
                    </a:ext>
                  </a:extLst>
                </p:cNvPr>
                <p:cNvPicPr/>
                <p:nvPr/>
              </p:nvPicPr>
              <p:blipFill>
                <a:blip r:embed="rId71"/>
                <a:stretch>
                  <a:fillRect/>
                </a:stretch>
              </p:blipFill>
              <p:spPr>
                <a:xfrm>
                  <a:off x="4911195" y="5371545"/>
                  <a:ext cx="267120" cy="179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2">
              <p14:nvContentPartPr>
                <p14:cNvPr id="63" name="Ink 62">
                  <a:extLst>
                    <a:ext uri="{FF2B5EF4-FFF2-40B4-BE49-F238E27FC236}">
                      <a16:creationId xmlns:a16="http://schemas.microsoft.com/office/drawing/2014/main" id="{BBEBF695-2D1B-4126-AB57-2BA02ADE3D7D}"/>
                    </a:ext>
                  </a:extLst>
                </p14:cNvPr>
                <p14:cNvContentPartPr/>
                <p14:nvPr/>
              </p14:nvContentPartPr>
              <p14:xfrm>
                <a:off x="5030715" y="5438505"/>
                <a:ext cx="127800" cy="194040"/>
              </p14:xfrm>
            </p:contentPart>
          </mc:Choice>
          <mc:Fallback xmlns="">
            <p:pic>
              <p:nvPicPr>
                <p:cNvPr id="63" name="Ink 62">
                  <a:extLst>
                    <a:ext uri="{FF2B5EF4-FFF2-40B4-BE49-F238E27FC236}">
                      <a16:creationId xmlns:a16="http://schemas.microsoft.com/office/drawing/2014/main" id="{BBEBF695-2D1B-4126-AB57-2BA02ADE3D7D}"/>
                    </a:ext>
                  </a:extLst>
                </p:cNvPr>
                <p:cNvPicPr/>
                <p:nvPr/>
              </p:nvPicPr>
              <p:blipFill>
                <a:blip r:embed="rId73"/>
                <a:stretch>
                  <a:fillRect/>
                </a:stretch>
              </p:blipFill>
              <p:spPr>
                <a:xfrm>
                  <a:off x="5013075" y="5420505"/>
                  <a:ext cx="163440" cy="229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4">
              <p14:nvContentPartPr>
                <p14:cNvPr id="64" name="Ink 63">
                  <a:extLst>
                    <a:ext uri="{FF2B5EF4-FFF2-40B4-BE49-F238E27FC236}">
                      <a16:creationId xmlns:a16="http://schemas.microsoft.com/office/drawing/2014/main" id="{925BAEE6-6450-46E8-9C13-D2783836BA3D}"/>
                    </a:ext>
                  </a:extLst>
                </p14:cNvPr>
                <p14:cNvContentPartPr/>
                <p14:nvPr/>
              </p14:nvContentPartPr>
              <p14:xfrm>
                <a:off x="4930635" y="5407905"/>
                <a:ext cx="208800" cy="87480"/>
              </p14:xfrm>
            </p:contentPart>
          </mc:Choice>
          <mc:Fallback xmlns="">
            <p:pic>
              <p:nvPicPr>
                <p:cNvPr id="64" name="Ink 63">
                  <a:extLst>
                    <a:ext uri="{FF2B5EF4-FFF2-40B4-BE49-F238E27FC236}">
                      <a16:creationId xmlns:a16="http://schemas.microsoft.com/office/drawing/2014/main" id="{925BAEE6-6450-46E8-9C13-D2783836BA3D}"/>
                    </a:ext>
                  </a:extLst>
                </p:cNvPr>
                <p:cNvPicPr/>
                <p:nvPr/>
              </p:nvPicPr>
              <p:blipFill>
                <a:blip r:embed="rId75"/>
                <a:stretch>
                  <a:fillRect/>
                </a:stretch>
              </p:blipFill>
              <p:spPr>
                <a:xfrm>
                  <a:off x="4912635" y="5390265"/>
                  <a:ext cx="244440" cy="12312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76">
            <p14:nvContentPartPr>
              <p14:cNvPr id="66" name="Ink 65">
                <a:extLst>
                  <a:ext uri="{FF2B5EF4-FFF2-40B4-BE49-F238E27FC236}">
                    <a16:creationId xmlns:a16="http://schemas.microsoft.com/office/drawing/2014/main" id="{C1CD454B-207B-4FAF-A070-4C3022D9B1E5}"/>
                  </a:ext>
                </a:extLst>
              </p14:cNvPr>
              <p14:cNvContentPartPr/>
              <p14:nvPr/>
            </p14:nvContentPartPr>
            <p14:xfrm>
              <a:off x="5189835" y="2180865"/>
              <a:ext cx="4320" cy="6480"/>
            </p14:xfrm>
          </p:contentPart>
        </mc:Choice>
        <mc:Fallback xmlns="">
          <p:pic>
            <p:nvPicPr>
              <p:cNvPr id="66" name="Ink 65">
                <a:extLst>
                  <a:ext uri="{FF2B5EF4-FFF2-40B4-BE49-F238E27FC236}">
                    <a16:creationId xmlns:a16="http://schemas.microsoft.com/office/drawing/2014/main" id="{C1CD454B-207B-4FAF-A070-4C3022D9B1E5}"/>
                  </a:ext>
                </a:extLst>
              </p:cNvPr>
              <p:cNvPicPr/>
              <p:nvPr/>
            </p:nvPicPr>
            <p:blipFill>
              <a:blip r:embed="rId77"/>
              <a:stretch>
                <a:fillRect/>
              </a:stretch>
            </p:blipFill>
            <p:spPr>
              <a:xfrm>
                <a:off x="5172195" y="2162865"/>
                <a:ext cx="39960" cy="42120"/>
              </a:xfrm>
              <a:prstGeom prst="rect">
                <a:avLst/>
              </a:prstGeom>
            </p:spPr>
          </p:pic>
        </mc:Fallback>
      </mc:AlternateContent>
      <p:grpSp>
        <p:nvGrpSpPr>
          <p:cNvPr id="74" name="Group 73">
            <a:extLst>
              <a:ext uri="{FF2B5EF4-FFF2-40B4-BE49-F238E27FC236}">
                <a16:creationId xmlns:a16="http://schemas.microsoft.com/office/drawing/2014/main" id="{E0160BFD-58BD-4156-8A00-B7C1DBC501E0}"/>
              </a:ext>
            </a:extLst>
          </p:cNvPr>
          <p:cNvGrpSpPr/>
          <p:nvPr/>
        </p:nvGrpSpPr>
        <p:grpSpPr>
          <a:xfrm>
            <a:off x="5443275" y="2048385"/>
            <a:ext cx="214920" cy="269640"/>
            <a:chOff x="5443275" y="2048385"/>
            <a:chExt cx="214920" cy="2696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78">
              <p14:nvContentPartPr>
                <p14:cNvPr id="67" name="Ink 66">
                  <a:extLst>
                    <a:ext uri="{FF2B5EF4-FFF2-40B4-BE49-F238E27FC236}">
                      <a16:creationId xmlns:a16="http://schemas.microsoft.com/office/drawing/2014/main" id="{7979BBF3-44BF-47F2-B95C-A8A1161D2BBA}"/>
                    </a:ext>
                  </a:extLst>
                </p14:cNvPr>
                <p14:cNvContentPartPr/>
                <p14:nvPr/>
              </p14:nvContentPartPr>
              <p14:xfrm>
                <a:off x="5443275" y="2048385"/>
                <a:ext cx="81360" cy="190080"/>
              </p14:xfrm>
            </p:contentPart>
          </mc:Choice>
          <mc:Fallback xmlns="">
            <p:pic>
              <p:nvPicPr>
                <p:cNvPr id="67" name="Ink 66">
                  <a:extLst>
                    <a:ext uri="{FF2B5EF4-FFF2-40B4-BE49-F238E27FC236}">
                      <a16:creationId xmlns:a16="http://schemas.microsoft.com/office/drawing/2014/main" id="{7979BBF3-44BF-47F2-B95C-A8A1161D2BBA}"/>
                    </a:ext>
                  </a:extLst>
                </p:cNvPr>
                <p:cNvPicPr/>
                <p:nvPr/>
              </p:nvPicPr>
              <p:blipFill>
                <a:blip r:embed="rId79"/>
                <a:stretch>
                  <a:fillRect/>
                </a:stretch>
              </p:blipFill>
              <p:spPr>
                <a:xfrm>
                  <a:off x="5425635" y="2030745"/>
                  <a:ext cx="117000" cy="225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0">
              <p14:nvContentPartPr>
                <p14:cNvPr id="68" name="Ink 67">
                  <a:extLst>
                    <a:ext uri="{FF2B5EF4-FFF2-40B4-BE49-F238E27FC236}">
                      <a16:creationId xmlns:a16="http://schemas.microsoft.com/office/drawing/2014/main" id="{0803FE75-6319-48FC-A1D8-4D1216E0C04F}"/>
                    </a:ext>
                  </a:extLst>
                </p14:cNvPr>
                <p14:cNvContentPartPr/>
                <p14:nvPr/>
              </p14:nvContentPartPr>
              <p14:xfrm>
                <a:off x="5468475" y="2287425"/>
                <a:ext cx="9360" cy="30600"/>
              </p14:xfrm>
            </p:contentPart>
          </mc:Choice>
          <mc:Fallback xmlns="">
            <p:pic>
              <p:nvPicPr>
                <p:cNvPr id="68" name="Ink 67">
                  <a:extLst>
                    <a:ext uri="{FF2B5EF4-FFF2-40B4-BE49-F238E27FC236}">
                      <a16:creationId xmlns:a16="http://schemas.microsoft.com/office/drawing/2014/main" id="{0803FE75-6319-48FC-A1D8-4D1216E0C04F}"/>
                    </a:ext>
                  </a:extLst>
                </p:cNvPr>
                <p:cNvPicPr/>
                <p:nvPr/>
              </p:nvPicPr>
              <p:blipFill>
                <a:blip r:embed="rId81"/>
                <a:stretch>
                  <a:fillRect/>
                </a:stretch>
              </p:blipFill>
              <p:spPr>
                <a:xfrm>
                  <a:off x="5450835" y="2269425"/>
                  <a:ext cx="45000" cy="66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2">
              <p14:nvContentPartPr>
                <p14:cNvPr id="69" name="Ink 68">
                  <a:extLst>
                    <a:ext uri="{FF2B5EF4-FFF2-40B4-BE49-F238E27FC236}">
                      <a16:creationId xmlns:a16="http://schemas.microsoft.com/office/drawing/2014/main" id="{CB3102D2-5D68-4711-93B4-EB373DA1C37D}"/>
                    </a:ext>
                  </a:extLst>
                </p14:cNvPr>
                <p14:cNvContentPartPr/>
                <p14:nvPr/>
              </p14:nvContentPartPr>
              <p14:xfrm>
                <a:off x="5565675" y="2085825"/>
                <a:ext cx="92520" cy="181080"/>
              </p14:xfrm>
            </p:contentPart>
          </mc:Choice>
          <mc:Fallback xmlns="">
            <p:pic>
              <p:nvPicPr>
                <p:cNvPr id="69" name="Ink 68">
                  <a:extLst>
                    <a:ext uri="{FF2B5EF4-FFF2-40B4-BE49-F238E27FC236}">
                      <a16:creationId xmlns:a16="http://schemas.microsoft.com/office/drawing/2014/main" id="{CB3102D2-5D68-4711-93B4-EB373DA1C37D}"/>
                    </a:ext>
                  </a:extLst>
                </p:cNvPr>
                <p:cNvPicPr/>
                <p:nvPr/>
              </p:nvPicPr>
              <p:blipFill>
                <a:blip r:embed="rId83"/>
                <a:stretch>
                  <a:fillRect/>
                </a:stretch>
              </p:blipFill>
              <p:spPr>
                <a:xfrm>
                  <a:off x="5548035" y="2068185"/>
                  <a:ext cx="128160" cy="2167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950EC694-63FE-4CB6-B5BB-E6EBB2463201}"/>
              </a:ext>
            </a:extLst>
          </p:cNvPr>
          <p:cNvGrpSpPr/>
          <p:nvPr/>
        </p:nvGrpSpPr>
        <p:grpSpPr>
          <a:xfrm>
            <a:off x="6545595" y="2035785"/>
            <a:ext cx="246960" cy="280440"/>
            <a:chOff x="6545595" y="2035785"/>
            <a:chExt cx="246960" cy="2804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84">
              <p14:nvContentPartPr>
                <p14:cNvPr id="70" name="Ink 69">
                  <a:extLst>
                    <a:ext uri="{FF2B5EF4-FFF2-40B4-BE49-F238E27FC236}">
                      <a16:creationId xmlns:a16="http://schemas.microsoft.com/office/drawing/2014/main" id="{12AD0F1A-1C57-47FE-A033-192E30B801A5}"/>
                    </a:ext>
                  </a:extLst>
                </p14:cNvPr>
                <p14:cNvContentPartPr/>
                <p14:nvPr/>
              </p14:nvContentPartPr>
              <p14:xfrm>
                <a:off x="6545595" y="2035785"/>
                <a:ext cx="73800" cy="280440"/>
              </p14:xfrm>
            </p:contentPart>
          </mc:Choice>
          <mc:Fallback xmlns="">
            <p:pic>
              <p:nvPicPr>
                <p:cNvPr id="70" name="Ink 69">
                  <a:extLst>
                    <a:ext uri="{FF2B5EF4-FFF2-40B4-BE49-F238E27FC236}">
                      <a16:creationId xmlns:a16="http://schemas.microsoft.com/office/drawing/2014/main" id="{12AD0F1A-1C57-47FE-A033-192E30B801A5}"/>
                    </a:ext>
                  </a:extLst>
                </p:cNvPr>
                <p:cNvPicPr/>
                <p:nvPr/>
              </p:nvPicPr>
              <p:blipFill>
                <a:blip r:embed="rId85"/>
                <a:stretch>
                  <a:fillRect/>
                </a:stretch>
              </p:blipFill>
              <p:spPr>
                <a:xfrm>
                  <a:off x="6527955" y="2018145"/>
                  <a:ext cx="109440" cy="316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6">
              <p14:nvContentPartPr>
                <p14:cNvPr id="71" name="Ink 70">
                  <a:extLst>
                    <a:ext uri="{FF2B5EF4-FFF2-40B4-BE49-F238E27FC236}">
                      <a16:creationId xmlns:a16="http://schemas.microsoft.com/office/drawing/2014/main" id="{9FF87547-4800-4DF9-B993-AB460417F10F}"/>
                    </a:ext>
                  </a:extLst>
                </p14:cNvPr>
                <p14:cNvContentPartPr/>
                <p14:nvPr/>
              </p14:nvContentPartPr>
              <p14:xfrm>
                <a:off x="6676635" y="2050905"/>
                <a:ext cx="91800" cy="178920"/>
              </p14:xfrm>
            </p:contentPart>
          </mc:Choice>
          <mc:Fallback xmlns="">
            <p:pic>
              <p:nvPicPr>
                <p:cNvPr id="71" name="Ink 70">
                  <a:extLst>
                    <a:ext uri="{FF2B5EF4-FFF2-40B4-BE49-F238E27FC236}">
                      <a16:creationId xmlns:a16="http://schemas.microsoft.com/office/drawing/2014/main" id="{9FF87547-4800-4DF9-B993-AB460417F10F}"/>
                    </a:ext>
                  </a:extLst>
                </p:cNvPr>
                <p:cNvPicPr/>
                <p:nvPr/>
              </p:nvPicPr>
              <p:blipFill>
                <a:blip r:embed="rId87"/>
                <a:stretch>
                  <a:fillRect/>
                </a:stretch>
              </p:blipFill>
              <p:spPr>
                <a:xfrm>
                  <a:off x="6658995" y="2033265"/>
                  <a:ext cx="127440" cy="214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8">
              <p14:nvContentPartPr>
                <p14:cNvPr id="72" name="Ink 71">
                  <a:extLst>
                    <a:ext uri="{FF2B5EF4-FFF2-40B4-BE49-F238E27FC236}">
                      <a16:creationId xmlns:a16="http://schemas.microsoft.com/office/drawing/2014/main" id="{85BBCD04-B72E-4911-ABAB-A50C62E06021}"/>
                    </a:ext>
                  </a:extLst>
                </p14:cNvPr>
                <p14:cNvContentPartPr/>
                <p14:nvPr/>
              </p14:nvContentPartPr>
              <p14:xfrm>
                <a:off x="6770955" y="2293185"/>
                <a:ext cx="21600" cy="21600"/>
              </p14:xfrm>
            </p:contentPart>
          </mc:Choice>
          <mc:Fallback xmlns="">
            <p:pic>
              <p:nvPicPr>
                <p:cNvPr id="72" name="Ink 71">
                  <a:extLst>
                    <a:ext uri="{FF2B5EF4-FFF2-40B4-BE49-F238E27FC236}">
                      <a16:creationId xmlns:a16="http://schemas.microsoft.com/office/drawing/2014/main" id="{85BBCD04-B72E-4911-ABAB-A50C62E06021}"/>
                    </a:ext>
                  </a:extLst>
                </p:cNvPr>
                <p:cNvPicPr/>
                <p:nvPr/>
              </p:nvPicPr>
              <p:blipFill>
                <a:blip r:embed="rId89"/>
                <a:stretch>
                  <a:fillRect/>
                </a:stretch>
              </p:blipFill>
              <p:spPr>
                <a:xfrm>
                  <a:off x="6752955" y="2275185"/>
                  <a:ext cx="57240" cy="5724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90">
            <p14:nvContentPartPr>
              <p14:cNvPr id="78" name="Ink 77">
                <a:extLst>
                  <a:ext uri="{FF2B5EF4-FFF2-40B4-BE49-F238E27FC236}">
                    <a16:creationId xmlns:a16="http://schemas.microsoft.com/office/drawing/2014/main" id="{CC6BBF45-CC4C-4DA7-B491-4CB9D966B01B}"/>
                  </a:ext>
                </a:extLst>
              </p14:cNvPr>
              <p14:cNvContentPartPr/>
              <p14:nvPr/>
            </p14:nvContentPartPr>
            <p14:xfrm>
              <a:off x="9970635" y="5227545"/>
              <a:ext cx="6120" cy="3240"/>
            </p14:xfrm>
          </p:contentPart>
        </mc:Choice>
        <mc:Fallback xmlns="">
          <p:pic>
            <p:nvPicPr>
              <p:cNvPr id="78" name="Ink 77">
                <a:extLst>
                  <a:ext uri="{FF2B5EF4-FFF2-40B4-BE49-F238E27FC236}">
                    <a16:creationId xmlns:a16="http://schemas.microsoft.com/office/drawing/2014/main" id="{CC6BBF45-CC4C-4DA7-B491-4CB9D966B01B}"/>
                  </a:ext>
                </a:extLst>
              </p:cNvPr>
              <p:cNvPicPr/>
              <p:nvPr/>
            </p:nvPicPr>
            <p:blipFill>
              <a:blip r:embed="rId91"/>
              <a:stretch>
                <a:fillRect/>
              </a:stretch>
            </p:blipFill>
            <p:spPr>
              <a:xfrm>
                <a:off x="9952635" y="5209905"/>
                <a:ext cx="41760" cy="38880"/>
              </a:xfrm>
              <a:prstGeom prst="rect">
                <a:avLst/>
              </a:prstGeom>
            </p:spPr>
          </p:pic>
        </mc:Fallback>
      </mc:AlternateContent>
      <p:grpSp>
        <p:nvGrpSpPr>
          <p:cNvPr id="89" name="Group 88">
            <a:extLst>
              <a:ext uri="{FF2B5EF4-FFF2-40B4-BE49-F238E27FC236}">
                <a16:creationId xmlns:a16="http://schemas.microsoft.com/office/drawing/2014/main" id="{FD088EA3-FADB-4AAC-AD81-950F191F352F}"/>
              </a:ext>
            </a:extLst>
          </p:cNvPr>
          <p:cNvGrpSpPr/>
          <p:nvPr/>
        </p:nvGrpSpPr>
        <p:grpSpPr>
          <a:xfrm>
            <a:off x="9200955" y="5075265"/>
            <a:ext cx="1593720" cy="363960"/>
            <a:chOff x="9200955" y="5075265"/>
            <a:chExt cx="1593720" cy="3639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92">
              <p14:nvContentPartPr>
                <p14:cNvPr id="81" name="Ink 80">
                  <a:extLst>
                    <a:ext uri="{FF2B5EF4-FFF2-40B4-BE49-F238E27FC236}">
                      <a16:creationId xmlns:a16="http://schemas.microsoft.com/office/drawing/2014/main" id="{463B9C10-7AE1-4A48-953F-47FEB845175D}"/>
                    </a:ext>
                  </a:extLst>
                </p14:cNvPr>
                <p14:cNvContentPartPr/>
                <p14:nvPr/>
              </p14:nvContentPartPr>
              <p14:xfrm>
                <a:off x="9200955" y="5105145"/>
                <a:ext cx="157320" cy="213480"/>
              </p14:xfrm>
            </p:contentPart>
          </mc:Choice>
          <mc:Fallback xmlns="">
            <p:pic>
              <p:nvPicPr>
                <p:cNvPr id="81" name="Ink 80">
                  <a:extLst>
                    <a:ext uri="{FF2B5EF4-FFF2-40B4-BE49-F238E27FC236}">
                      <a16:creationId xmlns:a16="http://schemas.microsoft.com/office/drawing/2014/main" id="{463B9C10-7AE1-4A48-953F-47FEB845175D}"/>
                    </a:ext>
                  </a:extLst>
                </p:cNvPr>
                <p:cNvPicPr/>
                <p:nvPr/>
              </p:nvPicPr>
              <p:blipFill>
                <a:blip r:embed="rId93"/>
                <a:stretch>
                  <a:fillRect/>
                </a:stretch>
              </p:blipFill>
              <p:spPr>
                <a:xfrm>
                  <a:off x="9182955" y="5087505"/>
                  <a:ext cx="192960" cy="249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4">
              <p14:nvContentPartPr>
                <p14:cNvPr id="82" name="Ink 81">
                  <a:extLst>
                    <a:ext uri="{FF2B5EF4-FFF2-40B4-BE49-F238E27FC236}">
                      <a16:creationId xmlns:a16="http://schemas.microsoft.com/office/drawing/2014/main" id="{88156434-94D3-43C7-B0A9-7533E6F669D6}"/>
                    </a:ext>
                  </a:extLst>
                </p14:cNvPr>
                <p14:cNvContentPartPr/>
                <p14:nvPr/>
              </p14:nvContentPartPr>
              <p14:xfrm>
                <a:off x="9394275" y="5191545"/>
                <a:ext cx="152640" cy="247680"/>
              </p14:xfrm>
            </p:contentPart>
          </mc:Choice>
          <mc:Fallback xmlns="">
            <p:pic>
              <p:nvPicPr>
                <p:cNvPr id="82" name="Ink 81">
                  <a:extLst>
                    <a:ext uri="{FF2B5EF4-FFF2-40B4-BE49-F238E27FC236}">
                      <a16:creationId xmlns:a16="http://schemas.microsoft.com/office/drawing/2014/main" id="{88156434-94D3-43C7-B0A9-7533E6F669D6}"/>
                    </a:ext>
                  </a:extLst>
                </p:cNvPr>
                <p:cNvPicPr/>
                <p:nvPr/>
              </p:nvPicPr>
              <p:blipFill>
                <a:blip r:embed="rId95"/>
                <a:stretch>
                  <a:fillRect/>
                </a:stretch>
              </p:blipFill>
              <p:spPr>
                <a:xfrm>
                  <a:off x="9376635" y="5173545"/>
                  <a:ext cx="188280" cy="283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6">
              <p14:nvContentPartPr>
                <p14:cNvPr id="83" name="Ink 82">
                  <a:extLst>
                    <a:ext uri="{FF2B5EF4-FFF2-40B4-BE49-F238E27FC236}">
                      <a16:creationId xmlns:a16="http://schemas.microsoft.com/office/drawing/2014/main" id="{BC63AE98-4531-4AFD-92D4-FDB94DCA661E}"/>
                    </a:ext>
                  </a:extLst>
                </p14:cNvPr>
                <p14:cNvContentPartPr/>
                <p14:nvPr/>
              </p14:nvContentPartPr>
              <p14:xfrm>
                <a:off x="9719355" y="5116665"/>
                <a:ext cx="273240" cy="194760"/>
              </p14:xfrm>
            </p:contentPart>
          </mc:Choice>
          <mc:Fallback xmlns="">
            <p:pic>
              <p:nvPicPr>
                <p:cNvPr id="83" name="Ink 82">
                  <a:extLst>
                    <a:ext uri="{FF2B5EF4-FFF2-40B4-BE49-F238E27FC236}">
                      <a16:creationId xmlns:a16="http://schemas.microsoft.com/office/drawing/2014/main" id="{BC63AE98-4531-4AFD-92D4-FDB94DCA661E}"/>
                    </a:ext>
                  </a:extLst>
                </p:cNvPr>
                <p:cNvPicPr/>
                <p:nvPr/>
              </p:nvPicPr>
              <p:blipFill>
                <a:blip r:embed="rId97"/>
                <a:stretch>
                  <a:fillRect/>
                </a:stretch>
              </p:blipFill>
              <p:spPr>
                <a:xfrm>
                  <a:off x="9701355" y="5099025"/>
                  <a:ext cx="308880" cy="230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8">
              <p14:nvContentPartPr>
                <p14:cNvPr id="84" name="Ink 83">
                  <a:extLst>
                    <a:ext uri="{FF2B5EF4-FFF2-40B4-BE49-F238E27FC236}">
                      <a16:creationId xmlns:a16="http://schemas.microsoft.com/office/drawing/2014/main" id="{43199AF0-9336-4B1B-AEB6-99373988D2AF}"/>
                    </a:ext>
                  </a:extLst>
                </p14:cNvPr>
                <p14:cNvContentPartPr/>
                <p14:nvPr/>
              </p14:nvContentPartPr>
              <p14:xfrm>
                <a:off x="10039755" y="5176065"/>
                <a:ext cx="152280" cy="109800"/>
              </p14:xfrm>
            </p:contentPart>
          </mc:Choice>
          <mc:Fallback xmlns="">
            <p:pic>
              <p:nvPicPr>
                <p:cNvPr id="84" name="Ink 83">
                  <a:extLst>
                    <a:ext uri="{FF2B5EF4-FFF2-40B4-BE49-F238E27FC236}">
                      <a16:creationId xmlns:a16="http://schemas.microsoft.com/office/drawing/2014/main" id="{43199AF0-9336-4B1B-AEB6-99373988D2AF}"/>
                    </a:ext>
                  </a:extLst>
                </p:cNvPr>
                <p:cNvPicPr/>
                <p:nvPr/>
              </p:nvPicPr>
              <p:blipFill>
                <a:blip r:embed="rId99"/>
                <a:stretch>
                  <a:fillRect/>
                </a:stretch>
              </p:blipFill>
              <p:spPr>
                <a:xfrm>
                  <a:off x="10021755" y="5158065"/>
                  <a:ext cx="187920" cy="145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0">
              <p14:nvContentPartPr>
                <p14:cNvPr id="85" name="Ink 84">
                  <a:extLst>
                    <a:ext uri="{FF2B5EF4-FFF2-40B4-BE49-F238E27FC236}">
                      <a16:creationId xmlns:a16="http://schemas.microsoft.com/office/drawing/2014/main" id="{4A9F8E62-692F-4C5D-B33C-E4AE0BB2045B}"/>
                    </a:ext>
                  </a:extLst>
                </p14:cNvPr>
                <p14:cNvContentPartPr/>
                <p14:nvPr/>
              </p14:nvContentPartPr>
              <p14:xfrm>
                <a:off x="10263675" y="5118105"/>
                <a:ext cx="199080" cy="174240"/>
              </p14:xfrm>
            </p:contentPart>
          </mc:Choice>
          <mc:Fallback xmlns="">
            <p:pic>
              <p:nvPicPr>
                <p:cNvPr id="85" name="Ink 84">
                  <a:extLst>
                    <a:ext uri="{FF2B5EF4-FFF2-40B4-BE49-F238E27FC236}">
                      <a16:creationId xmlns:a16="http://schemas.microsoft.com/office/drawing/2014/main" id="{4A9F8E62-692F-4C5D-B33C-E4AE0BB2045B}"/>
                    </a:ext>
                  </a:extLst>
                </p:cNvPr>
                <p:cNvPicPr/>
                <p:nvPr/>
              </p:nvPicPr>
              <p:blipFill>
                <a:blip r:embed="rId101"/>
                <a:stretch>
                  <a:fillRect/>
                </a:stretch>
              </p:blipFill>
              <p:spPr>
                <a:xfrm>
                  <a:off x="10245675" y="5100105"/>
                  <a:ext cx="234720" cy="209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2">
              <p14:nvContentPartPr>
                <p14:cNvPr id="86" name="Ink 85">
                  <a:extLst>
                    <a:ext uri="{FF2B5EF4-FFF2-40B4-BE49-F238E27FC236}">
                      <a16:creationId xmlns:a16="http://schemas.microsoft.com/office/drawing/2014/main" id="{1E6EA9DC-498B-43C1-9F54-A2A3179FDF5A}"/>
                    </a:ext>
                  </a:extLst>
                </p14:cNvPr>
                <p14:cNvContentPartPr/>
                <p14:nvPr/>
              </p14:nvContentPartPr>
              <p14:xfrm>
                <a:off x="10432875" y="5075625"/>
                <a:ext cx="33480" cy="52200"/>
              </p14:xfrm>
            </p:contentPart>
          </mc:Choice>
          <mc:Fallback xmlns="">
            <p:pic>
              <p:nvPicPr>
                <p:cNvPr id="86" name="Ink 85">
                  <a:extLst>
                    <a:ext uri="{FF2B5EF4-FFF2-40B4-BE49-F238E27FC236}">
                      <a16:creationId xmlns:a16="http://schemas.microsoft.com/office/drawing/2014/main" id="{1E6EA9DC-498B-43C1-9F54-A2A3179FDF5A}"/>
                    </a:ext>
                  </a:extLst>
                </p:cNvPr>
                <p:cNvPicPr/>
                <p:nvPr/>
              </p:nvPicPr>
              <p:blipFill>
                <a:blip r:embed="rId103"/>
                <a:stretch>
                  <a:fillRect/>
                </a:stretch>
              </p:blipFill>
              <p:spPr>
                <a:xfrm>
                  <a:off x="10414875" y="5057625"/>
                  <a:ext cx="69120" cy="87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4">
              <p14:nvContentPartPr>
                <p14:cNvPr id="87" name="Ink 86">
                  <a:extLst>
                    <a:ext uri="{FF2B5EF4-FFF2-40B4-BE49-F238E27FC236}">
                      <a16:creationId xmlns:a16="http://schemas.microsoft.com/office/drawing/2014/main" id="{D5D5D8E5-C49D-4BE5-B17E-851DFEA7679B}"/>
                    </a:ext>
                  </a:extLst>
                </p14:cNvPr>
                <p14:cNvContentPartPr/>
                <p14:nvPr/>
              </p14:nvContentPartPr>
              <p14:xfrm>
                <a:off x="10531515" y="5101185"/>
                <a:ext cx="263160" cy="240840"/>
              </p14:xfrm>
            </p:contentPart>
          </mc:Choice>
          <mc:Fallback xmlns="">
            <p:pic>
              <p:nvPicPr>
                <p:cNvPr id="87" name="Ink 86">
                  <a:extLst>
                    <a:ext uri="{FF2B5EF4-FFF2-40B4-BE49-F238E27FC236}">
                      <a16:creationId xmlns:a16="http://schemas.microsoft.com/office/drawing/2014/main" id="{D5D5D8E5-C49D-4BE5-B17E-851DFEA7679B}"/>
                    </a:ext>
                  </a:extLst>
                </p:cNvPr>
                <p:cNvPicPr/>
                <p:nvPr/>
              </p:nvPicPr>
              <p:blipFill>
                <a:blip r:embed="rId105"/>
                <a:stretch>
                  <a:fillRect/>
                </a:stretch>
              </p:blipFill>
              <p:spPr>
                <a:xfrm>
                  <a:off x="10513515" y="5083545"/>
                  <a:ext cx="298800" cy="276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6">
              <p14:nvContentPartPr>
                <p14:cNvPr id="88" name="Ink 87">
                  <a:extLst>
                    <a:ext uri="{FF2B5EF4-FFF2-40B4-BE49-F238E27FC236}">
                      <a16:creationId xmlns:a16="http://schemas.microsoft.com/office/drawing/2014/main" id="{FABD9309-5CF8-4416-822F-730118129EDB}"/>
                    </a:ext>
                  </a:extLst>
                </p14:cNvPr>
                <p14:cNvContentPartPr/>
                <p14:nvPr/>
              </p14:nvContentPartPr>
              <p14:xfrm>
                <a:off x="10242795" y="5075265"/>
                <a:ext cx="41040" cy="216720"/>
              </p14:xfrm>
            </p:contentPart>
          </mc:Choice>
          <mc:Fallback xmlns="">
            <p:pic>
              <p:nvPicPr>
                <p:cNvPr id="88" name="Ink 87">
                  <a:extLst>
                    <a:ext uri="{FF2B5EF4-FFF2-40B4-BE49-F238E27FC236}">
                      <a16:creationId xmlns:a16="http://schemas.microsoft.com/office/drawing/2014/main" id="{FABD9309-5CF8-4416-822F-730118129EDB}"/>
                    </a:ext>
                  </a:extLst>
                </p:cNvPr>
                <p:cNvPicPr/>
                <p:nvPr/>
              </p:nvPicPr>
              <p:blipFill>
                <a:blip r:embed="rId107"/>
                <a:stretch>
                  <a:fillRect/>
                </a:stretch>
              </p:blipFill>
              <p:spPr>
                <a:xfrm>
                  <a:off x="10224795" y="5057625"/>
                  <a:ext cx="76680" cy="2523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B938F733-0C02-4896-A5A8-4D29B41888EF}"/>
              </a:ext>
            </a:extLst>
          </p:cNvPr>
          <p:cNvGrpSpPr/>
          <p:nvPr/>
        </p:nvGrpSpPr>
        <p:grpSpPr>
          <a:xfrm>
            <a:off x="11035515" y="4973025"/>
            <a:ext cx="557640" cy="266400"/>
            <a:chOff x="11035515" y="4973025"/>
            <a:chExt cx="557640" cy="2664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08">
              <p14:nvContentPartPr>
                <p14:cNvPr id="90" name="Ink 89">
                  <a:extLst>
                    <a:ext uri="{FF2B5EF4-FFF2-40B4-BE49-F238E27FC236}">
                      <a16:creationId xmlns:a16="http://schemas.microsoft.com/office/drawing/2014/main" id="{ADBC88BB-60F2-4460-A99F-B4E584C585CC}"/>
                    </a:ext>
                  </a:extLst>
                </p14:cNvPr>
                <p14:cNvContentPartPr/>
                <p14:nvPr/>
              </p14:nvContentPartPr>
              <p14:xfrm>
                <a:off x="11035515" y="5072745"/>
                <a:ext cx="158760" cy="166680"/>
              </p14:xfrm>
            </p:contentPart>
          </mc:Choice>
          <mc:Fallback xmlns="">
            <p:pic>
              <p:nvPicPr>
                <p:cNvPr id="90" name="Ink 89">
                  <a:extLst>
                    <a:ext uri="{FF2B5EF4-FFF2-40B4-BE49-F238E27FC236}">
                      <a16:creationId xmlns:a16="http://schemas.microsoft.com/office/drawing/2014/main" id="{ADBC88BB-60F2-4460-A99F-B4E584C585CC}"/>
                    </a:ext>
                  </a:extLst>
                </p:cNvPr>
                <p:cNvPicPr/>
                <p:nvPr/>
              </p:nvPicPr>
              <p:blipFill>
                <a:blip r:embed="rId109"/>
                <a:stretch>
                  <a:fillRect/>
                </a:stretch>
              </p:blipFill>
              <p:spPr>
                <a:xfrm>
                  <a:off x="11017875" y="5055105"/>
                  <a:ext cx="194400" cy="202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0">
              <p14:nvContentPartPr>
                <p14:cNvPr id="91" name="Ink 90">
                  <a:extLst>
                    <a:ext uri="{FF2B5EF4-FFF2-40B4-BE49-F238E27FC236}">
                      <a16:creationId xmlns:a16="http://schemas.microsoft.com/office/drawing/2014/main" id="{C4A41010-160E-4F0B-8C3F-C7DB9BF175C3}"/>
                    </a:ext>
                  </a:extLst>
                </p14:cNvPr>
                <p14:cNvContentPartPr/>
                <p14:nvPr/>
              </p14:nvContentPartPr>
              <p14:xfrm>
                <a:off x="11357715" y="5063025"/>
                <a:ext cx="10800" cy="162720"/>
              </p14:xfrm>
            </p:contentPart>
          </mc:Choice>
          <mc:Fallback xmlns="">
            <p:pic>
              <p:nvPicPr>
                <p:cNvPr id="91" name="Ink 90">
                  <a:extLst>
                    <a:ext uri="{FF2B5EF4-FFF2-40B4-BE49-F238E27FC236}">
                      <a16:creationId xmlns:a16="http://schemas.microsoft.com/office/drawing/2014/main" id="{C4A41010-160E-4F0B-8C3F-C7DB9BF175C3}"/>
                    </a:ext>
                  </a:extLst>
                </p:cNvPr>
                <p:cNvPicPr/>
                <p:nvPr/>
              </p:nvPicPr>
              <p:blipFill>
                <a:blip r:embed="rId111"/>
                <a:stretch>
                  <a:fillRect/>
                </a:stretch>
              </p:blipFill>
              <p:spPr>
                <a:xfrm>
                  <a:off x="11340075" y="5045025"/>
                  <a:ext cx="46440" cy="198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2">
              <p14:nvContentPartPr>
                <p14:cNvPr id="92" name="Ink 91">
                  <a:extLst>
                    <a:ext uri="{FF2B5EF4-FFF2-40B4-BE49-F238E27FC236}">
                      <a16:creationId xmlns:a16="http://schemas.microsoft.com/office/drawing/2014/main" id="{64669249-45BD-48D5-BB4D-047425589651}"/>
                    </a:ext>
                  </a:extLst>
                </p14:cNvPr>
                <p14:cNvContentPartPr/>
                <p14:nvPr/>
              </p14:nvContentPartPr>
              <p14:xfrm>
                <a:off x="11354835" y="4973025"/>
                <a:ext cx="11160" cy="30960"/>
              </p14:xfrm>
            </p:contentPart>
          </mc:Choice>
          <mc:Fallback xmlns="">
            <p:pic>
              <p:nvPicPr>
                <p:cNvPr id="92" name="Ink 91">
                  <a:extLst>
                    <a:ext uri="{FF2B5EF4-FFF2-40B4-BE49-F238E27FC236}">
                      <a16:creationId xmlns:a16="http://schemas.microsoft.com/office/drawing/2014/main" id="{64669249-45BD-48D5-BB4D-047425589651}"/>
                    </a:ext>
                  </a:extLst>
                </p:cNvPr>
                <p:cNvPicPr/>
                <p:nvPr/>
              </p:nvPicPr>
              <p:blipFill>
                <a:blip r:embed="rId113"/>
                <a:stretch>
                  <a:fillRect/>
                </a:stretch>
              </p:blipFill>
              <p:spPr>
                <a:xfrm>
                  <a:off x="11337195" y="4955385"/>
                  <a:ext cx="46800" cy="66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4">
              <p14:nvContentPartPr>
                <p14:cNvPr id="93" name="Ink 92">
                  <a:extLst>
                    <a:ext uri="{FF2B5EF4-FFF2-40B4-BE49-F238E27FC236}">
                      <a16:creationId xmlns:a16="http://schemas.microsoft.com/office/drawing/2014/main" id="{5F1113D6-C653-4EF1-9B23-CA75841738E5}"/>
                    </a:ext>
                  </a:extLst>
                </p14:cNvPr>
                <p14:cNvContentPartPr/>
                <p14:nvPr/>
              </p14:nvContentPartPr>
              <p14:xfrm>
                <a:off x="11477235" y="5031705"/>
                <a:ext cx="115920" cy="174600"/>
              </p14:xfrm>
            </p:contentPart>
          </mc:Choice>
          <mc:Fallback xmlns="">
            <p:pic>
              <p:nvPicPr>
                <p:cNvPr id="93" name="Ink 92">
                  <a:extLst>
                    <a:ext uri="{FF2B5EF4-FFF2-40B4-BE49-F238E27FC236}">
                      <a16:creationId xmlns:a16="http://schemas.microsoft.com/office/drawing/2014/main" id="{5F1113D6-C653-4EF1-9B23-CA75841738E5}"/>
                    </a:ext>
                  </a:extLst>
                </p:cNvPr>
                <p:cNvPicPr/>
                <p:nvPr/>
              </p:nvPicPr>
              <p:blipFill>
                <a:blip r:embed="rId115"/>
                <a:stretch>
                  <a:fillRect/>
                </a:stretch>
              </p:blipFill>
              <p:spPr>
                <a:xfrm>
                  <a:off x="11459595" y="5013705"/>
                  <a:ext cx="151560" cy="2102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B9EABB31-EF76-4413-A8EC-E0FCB1A07EAE}"/>
              </a:ext>
            </a:extLst>
          </p:cNvPr>
          <p:cNvGrpSpPr/>
          <p:nvPr/>
        </p:nvGrpSpPr>
        <p:grpSpPr>
          <a:xfrm>
            <a:off x="8917995" y="5525985"/>
            <a:ext cx="3195360" cy="1004760"/>
            <a:chOff x="8917995" y="5525985"/>
            <a:chExt cx="3195360" cy="10047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16">
              <p14:nvContentPartPr>
                <p14:cNvPr id="94" name="Ink 93">
                  <a:extLst>
                    <a:ext uri="{FF2B5EF4-FFF2-40B4-BE49-F238E27FC236}">
                      <a16:creationId xmlns:a16="http://schemas.microsoft.com/office/drawing/2014/main" id="{A233EF9A-C955-4F2F-9B0A-3C4F6F8B32F4}"/>
                    </a:ext>
                  </a:extLst>
                </p14:cNvPr>
                <p14:cNvContentPartPr/>
                <p14:nvPr/>
              </p14:nvContentPartPr>
              <p14:xfrm>
                <a:off x="9111675" y="5600865"/>
                <a:ext cx="185040" cy="176040"/>
              </p14:xfrm>
            </p:contentPart>
          </mc:Choice>
          <mc:Fallback xmlns="">
            <p:pic>
              <p:nvPicPr>
                <p:cNvPr id="94" name="Ink 93">
                  <a:extLst>
                    <a:ext uri="{FF2B5EF4-FFF2-40B4-BE49-F238E27FC236}">
                      <a16:creationId xmlns:a16="http://schemas.microsoft.com/office/drawing/2014/main" id="{A233EF9A-C955-4F2F-9B0A-3C4F6F8B32F4}"/>
                    </a:ext>
                  </a:extLst>
                </p:cNvPr>
                <p:cNvPicPr/>
                <p:nvPr/>
              </p:nvPicPr>
              <p:blipFill>
                <a:blip r:embed="rId117"/>
                <a:stretch>
                  <a:fillRect/>
                </a:stretch>
              </p:blipFill>
              <p:spPr>
                <a:xfrm>
                  <a:off x="9093675" y="5583225"/>
                  <a:ext cx="220680" cy="211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8">
              <p14:nvContentPartPr>
                <p14:cNvPr id="95" name="Ink 94">
                  <a:extLst>
                    <a:ext uri="{FF2B5EF4-FFF2-40B4-BE49-F238E27FC236}">
                      <a16:creationId xmlns:a16="http://schemas.microsoft.com/office/drawing/2014/main" id="{3AC8CC2B-950E-44B3-A3FC-07D089D11C14}"/>
                    </a:ext>
                  </a:extLst>
                </p14:cNvPr>
                <p14:cNvContentPartPr/>
                <p14:nvPr/>
              </p14:nvContentPartPr>
              <p14:xfrm>
                <a:off x="9387435" y="5594025"/>
                <a:ext cx="348840" cy="170640"/>
              </p14:xfrm>
            </p:contentPart>
          </mc:Choice>
          <mc:Fallback xmlns="">
            <p:pic>
              <p:nvPicPr>
                <p:cNvPr id="95" name="Ink 94">
                  <a:extLst>
                    <a:ext uri="{FF2B5EF4-FFF2-40B4-BE49-F238E27FC236}">
                      <a16:creationId xmlns:a16="http://schemas.microsoft.com/office/drawing/2014/main" id="{3AC8CC2B-950E-44B3-A3FC-07D089D11C14}"/>
                    </a:ext>
                  </a:extLst>
                </p:cNvPr>
                <p:cNvPicPr/>
                <p:nvPr/>
              </p:nvPicPr>
              <p:blipFill>
                <a:blip r:embed="rId119"/>
                <a:stretch>
                  <a:fillRect/>
                </a:stretch>
              </p:blipFill>
              <p:spPr>
                <a:xfrm>
                  <a:off x="9369435" y="5576025"/>
                  <a:ext cx="384480" cy="206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0">
              <p14:nvContentPartPr>
                <p14:cNvPr id="96" name="Ink 95">
                  <a:extLst>
                    <a:ext uri="{FF2B5EF4-FFF2-40B4-BE49-F238E27FC236}">
                      <a16:creationId xmlns:a16="http://schemas.microsoft.com/office/drawing/2014/main" id="{D58C21EC-2F55-4F59-81DA-28C3B0CF7A0A}"/>
                    </a:ext>
                  </a:extLst>
                </p14:cNvPr>
                <p14:cNvContentPartPr/>
                <p14:nvPr/>
              </p14:nvContentPartPr>
              <p14:xfrm>
                <a:off x="9810795" y="5587185"/>
                <a:ext cx="55800" cy="195120"/>
              </p14:xfrm>
            </p:contentPart>
          </mc:Choice>
          <mc:Fallback xmlns="">
            <p:pic>
              <p:nvPicPr>
                <p:cNvPr id="96" name="Ink 95">
                  <a:extLst>
                    <a:ext uri="{FF2B5EF4-FFF2-40B4-BE49-F238E27FC236}">
                      <a16:creationId xmlns:a16="http://schemas.microsoft.com/office/drawing/2014/main" id="{D58C21EC-2F55-4F59-81DA-28C3B0CF7A0A}"/>
                    </a:ext>
                  </a:extLst>
                </p:cNvPr>
                <p:cNvPicPr/>
                <p:nvPr/>
              </p:nvPicPr>
              <p:blipFill>
                <a:blip r:embed="rId121"/>
                <a:stretch>
                  <a:fillRect/>
                </a:stretch>
              </p:blipFill>
              <p:spPr>
                <a:xfrm>
                  <a:off x="9792795" y="5569185"/>
                  <a:ext cx="91440" cy="230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2">
              <p14:nvContentPartPr>
                <p14:cNvPr id="97" name="Ink 96">
                  <a:extLst>
                    <a:ext uri="{FF2B5EF4-FFF2-40B4-BE49-F238E27FC236}">
                      <a16:creationId xmlns:a16="http://schemas.microsoft.com/office/drawing/2014/main" id="{4AB70D70-B2FB-4258-BEB0-B59AB075F94B}"/>
                    </a:ext>
                  </a:extLst>
                </p14:cNvPr>
                <p14:cNvContentPartPr/>
                <p14:nvPr/>
              </p14:nvContentPartPr>
              <p14:xfrm>
                <a:off x="9807555" y="5685105"/>
                <a:ext cx="185760" cy="59400"/>
              </p14:xfrm>
            </p:contentPart>
          </mc:Choice>
          <mc:Fallback xmlns="">
            <p:pic>
              <p:nvPicPr>
                <p:cNvPr id="97" name="Ink 96">
                  <a:extLst>
                    <a:ext uri="{FF2B5EF4-FFF2-40B4-BE49-F238E27FC236}">
                      <a16:creationId xmlns:a16="http://schemas.microsoft.com/office/drawing/2014/main" id="{4AB70D70-B2FB-4258-BEB0-B59AB075F94B}"/>
                    </a:ext>
                  </a:extLst>
                </p:cNvPr>
                <p:cNvPicPr/>
                <p:nvPr/>
              </p:nvPicPr>
              <p:blipFill>
                <a:blip r:embed="rId123"/>
                <a:stretch>
                  <a:fillRect/>
                </a:stretch>
              </p:blipFill>
              <p:spPr>
                <a:xfrm>
                  <a:off x="9789555" y="5667465"/>
                  <a:ext cx="221400" cy="95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4">
              <p14:nvContentPartPr>
                <p14:cNvPr id="98" name="Ink 97">
                  <a:extLst>
                    <a:ext uri="{FF2B5EF4-FFF2-40B4-BE49-F238E27FC236}">
                      <a16:creationId xmlns:a16="http://schemas.microsoft.com/office/drawing/2014/main" id="{A2138275-0A9E-4793-9C0F-4AA4CCC6FC2A}"/>
                    </a:ext>
                  </a:extLst>
                </p14:cNvPr>
                <p14:cNvContentPartPr/>
                <p14:nvPr/>
              </p14:nvContentPartPr>
              <p14:xfrm>
                <a:off x="10032915" y="5582865"/>
                <a:ext cx="261000" cy="262080"/>
              </p14:xfrm>
            </p:contentPart>
          </mc:Choice>
          <mc:Fallback xmlns="">
            <p:pic>
              <p:nvPicPr>
                <p:cNvPr id="98" name="Ink 97">
                  <a:extLst>
                    <a:ext uri="{FF2B5EF4-FFF2-40B4-BE49-F238E27FC236}">
                      <a16:creationId xmlns:a16="http://schemas.microsoft.com/office/drawing/2014/main" id="{A2138275-0A9E-4793-9C0F-4AA4CCC6FC2A}"/>
                    </a:ext>
                  </a:extLst>
                </p:cNvPr>
                <p:cNvPicPr/>
                <p:nvPr/>
              </p:nvPicPr>
              <p:blipFill>
                <a:blip r:embed="rId125"/>
                <a:stretch>
                  <a:fillRect/>
                </a:stretch>
              </p:blipFill>
              <p:spPr>
                <a:xfrm>
                  <a:off x="10015275" y="5565225"/>
                  <a:ext cx="296640" cy="297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6">
              <p14:nvContentPartPr>
                <p14:cNvPr id="99" name="Ink 98">
                  <a:extLst>
                    <a:ext uri="{FF2B5EF4-FFF2-40B4-BE49-F238E27FC236}">
                      <a16:creationId xmlns:a16="http://schemas.microsoft.com/office/drawing/2014/main" id="{70716E8C-1E77-4A97-8947-0C75A9B9F768}"/>
                    </a:ext>
                  </a:extLst>
                </p14:cNvPr>
                <p14:cNvContentPartPr/>
                <p14:nvPr/>
              </p14:nvContentPartPr>
              <p14:xfrm>
                <a:off x="10315515" y="5632905"/>
                <a:ext cx="48600" cy="135720"/>
              </p14:xfrm>
            </p:contentPart>
          </mc:Choice>
          <mc:Fallback xmlns="">
            <p:pic>
              <p:nvPicPr>
                <p:cNvPr id="99" name="Ink 98">
                  <a:extLst>
                    <a:ext uri="{FF2B5EF4-FFF2-40B4-BE49-F238E27FC236}">
                      <a16:creationId xmlns:a16="http://schemas.microsoft.com/office/drawing/2014/main" id="{70716E8C-1E77-4A97-8947-0C75A9B9F768}"/>
                    </a:ext>
                  </a:extLst>
                </p:cNvPr>
                <p:cNvPicPr/>
                <p:nvPr/>
              </p:nvPicPr>
              <p:blipFill>
                <a:blip r:embed="rId127"/>
                <a:stretch>
                  <a:fillRect/>
                </a:stretch>
              </p:blipFill>
              <p:spPr>
                <a:xfrm>
                  <a:off x="10297515" y="5614905"/>
                  <a:ext cx="84240" cy="171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8">
              <p14:nvContentPartPr>
                <p14:cNvPr id="100" name="Ink 99">
                  <a:extLst>
                    <a:ext uri="{FF2B5EF4-FFF2-40B4-BE49-F238E27FC236}">
                      <a16:creationId xmlns:a16="http://schemas.microsoft.com/office/drawing/2014/main" id="{BBDB242A-08F4-4938-8674-2124AAEA24FA}"/>
                    </a:ext>
                  </a:extLst>
                </p14:cNvPr>
                <p14:cNvContentPartPr/>
                <p14:nvPr/>
              </p14:nvContentPartPr>
              <p14:xfrm>
                <a:off x="10432515" y="5632185"/>
                <a:ext cx="72720" cy="112320"/>
              </p14:xfrm>
            </p:contentPart>
          </mc:Choice>
          <mc:Fallback xmlns="">
            <p:pic>
              <p:nvPicPr>
                <p:cNvPr id="100" name="Ink 99">
                  <a:extLst>
                    <a:ext uri="{FF2B5EF4-FFF2-40B4-BE49-F238E27FC236}">
                      <a16:creationId xmlns:a16="http://schemas.microsoft.com/office/drawing/2014/main" id="{BBDB242A-08F4-4938-8674-2124AAEA24FA}"/>
                    </a:ext>
                  </a:extLst>
                </p:cNvPr>
                <p:cNvPicPr/>
                <p:nvPr/>
              </p:nvPicPr>
              <p:blipFill>
                <a:blip r:embed="rId129"/>
                <a:stretch>
                  <a:fillRect/>
                </a:stretch>
              </p:blipFill>
              <p:spPr>
                <a:xfrm>
                  <a:off x="10414515" y="5614545"/>
                  <a:ext cx="108360" cy="147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0">
              <p14:nvContentPartPr>
                <p14:cNvPr id="101" name="Ink 100">
                  <a:extLst>
                    <a:ext uri="{FF2B5EF4-FFF2-40B4-BE49-F238E27FC236}">
                      <a16:creationId xmlns:a16="http://schemas.microsoft.com/office/drawing/2014/main" id="{58A4DCF2-8FEE-4F98-B952-C324DCB0E907}"/>
                    </a:ext>
                  </a:extLst>
                </p14:cNvPr>
                <p14:cNvContentPartPr/>
                <p14:nvPr/>
              </p14:nvContentPartPr>
              <p14:xfrm>
                <a:off x="10506315" y="5554425"/>
                <a:ext cx="92520" cy="194040"/>
              </p14:xfrm>
            </p:contentPart>
          </mc:Choice>
          <mc:Fallback xmlns="">
            <p:pic>
              <p:nvPicPr>
                <p:cNvPr id="101" name="Ink 100">
                  <a:extLst>
                    <a:ext uri="{FF2B5EF4-FFF2-40B4-BE49-F238E27FC236}">
                      <a16:creationId xmlns:a16="http://schemas.microsoft.com/office/drawing/2014/main" id="{58A4DCF2-8FEE-4F98-B952-C324DCB0E907}"/>
                    </a:ext>
                  </a:extLst>
                </p:cNvPr>
                <p:cNvPicPr/>
                <p:nvPr/>
              </p:nvPicPr>
              <p:blipFill>
                <a:blip r:embed="rId131"/>
                <a:stretch>
                  <a:fillRect/>
                </a:stretch>
              </p:blipFill>
              <p:spPr>
                <a:xfrm>
                  <a:off x="10488315" y="5536785"/>
                  <a:ext cx="128160" cy="229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2">
              <p14:nvContentPartPr>
                <p14:cNvPr id="102" name="Ink 101">
                  <a:extLst>
                    <a:ext uri="{FF2B5EF4-FFF2-40B4-BE49-F238E27FC236}">
                      <a16:creationId xmlns:a16="http://schemas.microsoft.com/office/drawing/2014/main" id="{0EFD0E47-8B24-4814-B958-EB93CB132710}"/>
                    </a:ext>
                  </a:extLst>
                </p14:cNvPr>
                <p14:cNvContentPartPr/>
                <p14:nvPr/>
              </p14:nvContentPartPr>
              <p14:xfrm>
                <a:off x="10570395" y="5555865"/>
                <a:ext cx="238320" cy="165240"/>
              </p14:xfrm>
            </p:contentPart>
          </mc:Choice>
          <mc:Fallback xmlns="">
            <p:pic>
              <p:nvPicPr>
                <p:cNvPr id="102" name="Ink 101">
                  <a:extLst>
                    <a:ext uri="{FF2B5EF4-FFF2-40B4-BE49-F238E27FC236}">
                      <a16:creationId xmlns:a16="http://schemas.microsoft.com/office/drawing/2014/main" id="{0EFD0E47-8B24-4814-B958-EB93CB132710}"/>
                    </a:ext>
                  </a:extLst>
                </p:cNvPr>
                <p:cNvPicPr/>
                <p:nvPr/>
              </p:nvPicPr>
              <p:blipFill>
                <a:blip r:embed="rId133"/>
                <a:stretch>
                  <a:fillRect/>
                </a:stretch>
              </p:blipFill>
              <p:spPr>
                <a:xfrm>
                  <a:off x="10552395" y="5538225"/>
                  <a:ext cx="273960" cy="200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4">
              <p14:nvContentPartPr>
                <p14:cNvPr id="103" name="Ink 102">
                  <a:extLst>
                    <a:ext uri="{FF2B5EF4-FFF2-40B4-BE49-F238E27FC236}">
                      <a16:creationId xmlns:a16="http://schemas.microsoft.com/office/drawing/2014/main" id="{502463DD-FC67-45B5-AC38-AB1CEA185768}"/>
                    </a:ext>
                  </a:extLst>
                </p14:cNvPr>
                <p14:cNvContentPartPr/>
                <p14:nvPr/>
              </p14:nvContentPartPr>
              <p14:xfrm>
                <a:off x="10800075" y="5553705"/>
                <a:ext cx="216360" cy="191880"/>
              </p14:xfrm>
            </p:contentPart>
          </mc:Choice>
          <mc:Fallback xmlns="">
            <p:pic>
              <p:nvPicPr>
                <p:cNvPr id="103" name="Ink 102">
                  <a:extLst>
                    <a:ext uri="{FF2B5EF4-FFF2-40B4-BE49-F238E27FC236}">
                      <a16:creationId xmlns:a16="http://schemas.microsoft.com/office/drawing/2014/main" id="{502463DD-FC67-45B5-AC38-AB1CEA185768}"/>
                    </a:ext>
                  </a:extLst>
                </p:cNvPr>
                <p:cNvPicPr/>
                <p:nvPr/>
              </p:nvPicPr>
              <p:blipFill>
                <a:blip r:embed="rId135"/>
                <a:stretch>
                  <a:fillRect/>
                </a:stretch>
              </p:blipFill>
              <p:spPr>
                <a:xfrm>
                  <a:off x="10782075" y="5535705"/>
                  <a:ext cx="252000" cy="227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6">
              <p14:nvContentPartPr>
                <p14:cNvPr id="104" name="Ink 103">
                  <a:extLst>
                    <a:ext uri="{FF2B5EF4-FFF2-40B4-BE49-F238E27FC236}">
                      <a16:creationId xmlns:a16="http://schemas.microsoft.com/office/drawing/2014/main" id="{FE742E97-4BB7-458E-9EE5-791A6C1E1BD9}"/>
                    </a:ext>
                  </a:extLst>
                </p14:cNvPr>
                <p14:cNvContentPartPr/>
                <p14:nvPr/>
              </p14:nvContentPartPr>
              <p14:xfrm>
                <a:off x="11152875" y="5525985"/>
                <a:ext cx="392760" cy="228960"/>
              </p14:xfrm>
            </p:contentPart>
          </mc:Choice>
          <mc:Fallback xmlns="">
            <p:pic>
              <p:nvPicPr>
                <p:cNvPr id="104" name="Ink 103">
                  <a:extLst>
                    <a:ext uri="{FF2B5EF4-FFF2-40B4-BE49-F238E27FC236}">
                      <a16:creationId xmlns:a16="http://schemas.microsoft.com/office/drawing/2014/main" id="{FE742E97-4BB7-458E-9EE5-791A6C1E1BD9}"/>
                    </a:ext>
                  </a:extLst>
                </p:cNvPr>
                <p:cNvPicPr/>
                <p:nvPr/>
              </p:nvPicPr>
              <p:blipFill>
                <a:blip r:embed="rId137"/>
                <a:stretch>
                  <a:fillRect/>
                </a:stretch>
              </p:blipFill>
              <p:spPr>
                <a:xfrm>
                  <a:off x="11134875" y="5507985"/>
                  <a:ext cx="428400" cy="264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8">
              <p14:nvContentPartPr>
                <p14:cNvPr id="105" name="Ink 104">
                  <a:extLst>
                    <a:ext uri="{FF2B5EF4-FFF2-40B4-BE49-F238E27FC236}">
                      <a16:creationId xmlns:a16="http://schemas.microsoft.com/office/drawing/2014/main" id="{50402E54-6787-448B-84E5-2E380FADF90F}"/>
                    </a:ext>
                  </a:extLst>
                </p14:cNvPr>
                <p14:cNvContentPartPr/>
                <p14:nvPr/>
              </p14:nvContentPartPr>
              <p14:xfrm>
                <a:off x="11474715" y="5660265"/>
                <a:ext cx="196560" cy="87840"/>
              </p14:xfrm>
            </p:contentPart>
          </mc:Choice>
          <mc:Fallback xmlns="">
            <p:pic>
              <p:nvPicPr>
                <p:cNvPr id="105" name="Ink 104">
                  <a:extLst>
                    <a:ext uri="{FF2B5EF4-FFF2-40B4-BE49-F238E27FC236}">
                      <a16:creationId xmlns:a16="http://schemas.microsoft.com/office/drawing/2014/main" id="{50402E54-6787-448B-84E5-2E380FADF90F}"/>
                    </a:ext>
                  </a:extLst>
                </p:cNvPr>
                <p:cNvPicPr/>
                <p:nvPr/>
              </p:nvPicPr>
              <p:blipFill>
                <a:blip r:embed="rId139"/>
                <a:stretch>
                  <a:fillRect/>
                </a:stretch>
              </p:blipFill>
              <p:spPr>
                <a:xfrm>
                  <a:off x="11456715" y="5642265"/>
                  <a:ext cx="232200" cy="123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0">
              <p14:nvContentPartPr>
                <p14:cNvPr id="106" name="Ink 105">
                  <a:extLst>
                    <a:ext uri="{FF2B5EF4-FFF2-40B4-BE49-F238E27FC236}">
                      <a16:creationId xmlns:a16="http://schemas.microsoft.com/office/drawing/2014/main" id="{59723523-14F1-4937-A0EA-B93BE1D2DFF2}"/>
                    </a:ext>
                  </a:extLst>
                </p14:cNvPr>
                <p14:cNvContentPartPr/>
                <p14:nvPr/>
              </p14:nvContentPartPr>
              <p14:xfrm>
                <a:off x="11589195" y="5552265"/>
                <a:ext cx="422280" cy="239400"/>
              </p14:xfrm>
            </p:contentPart>
          </mc:Choice>
          <mc:Fallback xmlns="">
            <p:pic>
              <p:nvPicPr>
                <p:cNvPr id="106" name="Ink 105">
                  <a:extLst>
                    <a:ext uri="{FF2B5EF4-FFF2-40B4-BE49-F238E27FC236}">
                      <a16:creationId xmlns:a16="http://schemas.microsoft.com/office/drawing/2014/main" id="{59723523-14F1-4937-A0EA-B93BE1D2DFF2}"/>
                    </a:ext>
                  </a:extLst>
                </p:cNvPr>
                <p:cNvPicPr/>
                <p:nvPr/>
              </p:nvPicPr>
              <p:blipFill>
                <a:blip r:embed="rId141"/>
                <a:stretch>
                  <a:fillRect/>
                </a:stretch>
              </p:blipFill>
              <p:spPr>
                <a:xfrm>
                  <a:off x="11571195" y="5534265"/>
                  <a:ext cx="457920" cy="275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2">
              <p14:nvContentPartPr>
                <p14:cNvPr id="109" name="Ink 108">
                  <a:extLst>
                    <a:ext uri="{FF2B5EF4-FFF2-40B4-BE49-F238E27FC236}">
                      <a16:creationId xmlns:a16="http://schemas.microsoft.com/office/drawing/2014/main" id="{D4ABA540-605F-47AB-8D1D-EEBF94187B5F}"/>
                    </a:ext>
                  </a:extLst>
                </p14:cNvPr>
                <p14:cNvContentPartPr/>
                <p14:nvPr/>
              </p14:nvContentPartPr>
              <p14:xfrm>
                <a:off x="9123915" y="5995425"/>
                <a:ext cx="6840" cy="38520"/>
              </p14:xfrm>
            </p:contentPart>
          </mc:Choice>
          <mc:Fallback xmlns="">
            <p:pic>
              <p:nvPicPr>
                <p:cNvPr id="109" name="Ink 108">
                  <a:extLst>
                    <a:ext uri="{FF2B5EF4-FFF2-40B4-BE49-F238E27FC236}">
                      <a16:creationId xmlns:a16="http://schemas.microsoft.com/office/drawing/2014/main" id="{D4ABA540-605F-47AB-8D1D-EEBF94187B5F}"/>
                    </a:ext>
                  </a:extLst>
                </p:cNvPr>
                <p:cNvPicPr/>
                <p:nvPr/>
              </p:nvPicPr>
              <p:blipFill>
                <a:blip r:embed="rId143"/>
                <a:stretch>
                  <a:fillRect/>
                </a:stretch>
              </p:blipFill>
              <p:spPr>
                <a:xfrm>
                  <a:off x="9105915" y="5977785"/>
                  <a:ext cx="42480" cy="74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4">
              <p14:nvContentPartPr>
                <p14:cNvPr id="110" name="Ink 109">
                  <a:extLst>
                    <a:ext uri="{FF2B5EF4-FFF2-40B4-BE49-F238E27FC236}">
                      <a16:creationId xmlns:a16="http://schemas.microsoft.com/office/drawing/2014/main" id="{0C2F393F-85D2-4665-8375-68992082CCDD}"/>
                    </a:ext>
                  </a:extLst>
                </p14:cNvPr>
                <p14:cNvContentPartPr/>
                <p14:nvPr/>
              </p14:nvContentPartPr>
              <p14:xfrm>
                <a:off x="9031035" y="5961945"/>
                <a:ext cx="432720" cy="191160"/>
              </p14:xfrm>
            </p:contentPart>
          </mc:Choice>
          <mc:Fallback xmlns="">
            <p:pic>
              <p:nvPicPr>
                <p:cNvPr id="110" name="Ink 109">
                  <a:extLst>
                    <a:ext uri="{FF2B5EF4-FFF2-40B4-BE49-F238E27FC236}">
                      <a16:creationId xmlns:a16="http://schemas.microsoft.com/office/drawing/2014/main" id="{0C2F393F-85D2-4665-8375-68992082CCDD}"/>
                    </a:ext>
                  </a:extLst>
                </p:cNvPr>
                <p:cNvPicPr/>
                <p:nvPr/>
              </p:nvPicPr>
              <p:blipFill>
                <a:blip r:embed="rId145"/>
                <a:stretch>
                  <a:fillRect/>
                </a:stretch>
              </p:blipFill>
              <p:spPr>
                <a:xfrm>
                  <a:off x="9013035" y="5943945"/>
                  <a:ext cx="468360" cy="226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6">
              <p14:nvContentPartPr>
                <p14:cNvPr id="111" name="Ink 110">
                  <a:extLst>
                    <a:ext uri="{FF2B5EF4-FFF2-40B4-BE49-F238E27FC236}">
                      <a16:creationId xmlns:a16="http://schemas.microsoft.com/office/drawing/2014/main" id="{07D98889-65F8-44DF-9BD6-5F94F8523AEF}"/>
                    </a:ext>
                  </a:extLst>
                </p14:cNvPr>
                <p14:cNvContentPartPr/>
                <p14:nvPr/>
              </p14:nvContentPartPr>
              <p14:xfrm>
                <a:off x="9537915" y="5957265"/>
                <a:ext cx="122400" cy="171360"/>
              </p14:xfrm>
            </p:contentPart>
          </mc:Choice>
          <mc:Fallback xmlns="">
            <p:pic>
              <p:nvPicPr>
                <p:cNvPr id="111" name="Ink 110">
                  <a:extLst>
                    <a:ext uri="{FF2B5EF4-FFF2-40B4-BE49-F238E27FC236}">
                      <a16:creationId xmlns:a16="http://schemas.microsoft.com/office/drawing/2014/main" id="{07D98889-65F8-44DF-9BD6-5F94F8523AEF}"/>
                    </a:ext>
                  </a:extLst>
                </p:cNvPr>
                <p:cNvPicPr/>
                <p:nvPr/>
              </p:nvPicPr>
              <p:blipFill>
                <a:blip r:embed="rId147"/>
                <a:stretch>
                  <a:fillRect/>
                </a:stretch>
              </p:blipFill>
              <p:spPr>
                <a:xfrm>
                  <a:off x="9520275" y="5939625"/>
                  <a:ext cx="158040" cy="207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8">
              <p14:nvContentPartPr>
                <p14:cNvPr id="112" name="Ink 111">
                  <a:extLst>
                    <a:ext uri="{FF2B5EF4-FFF2-40B4-BE49-F238E27FC236}">
                      <a16:creationId xmlns:a16="http://schemas.microsoft.com/office/drawing/2014/main" id="{9DC9F114-824A-40C0-BF09-BF4CDF4BFBD3}"/>
                    </a:ext>
                  </a:extLst>
                </p14:cNvPr>
                <p14:cNvContentPartPr/>
                <p14:nvPr/>
              </p14:nvContentPartPr>
              <p14:xfrm>
                <a:off x="9951555" y="6002625"/>
                <a:ext cx="329040" cy="138600"/>
              </p14:xfrm>
            </p:contentPart>
          </mc:Choice>
          <mc:Fallback xmlns="">
            <p:pic>
              <p:nvPicPr>
                <p:cNvPr id="112" name="Ink 111">
                  <a:extLst>
                    <a:ext uri="{FF2B5EF4-FFF2-40B4-BE49-F238E27FC236}">
                      <a16:creationId xmlns:a16="http://schemas.microsoft.com/office/drawing/2014/main" id="{9DC9F114-824A-40C0-BF09-BF4CDF4BFBD3}"/>
                    </a:ext>
                  </a:extLst>
                </p:cNvPr>
                <p:cNvPicPr/>
                <p:nvPr/>
              </p:nvPicPr>
              <p:blipFill>
                <a:blip r:embed="rId149"/>
                <a:stretch>
                  <a:fillRect/>
                </a:stretch>
              </p:blipFill>
              <p:spPr>
                <a:xfrm>
                  <a:off x="9933555" y="5984985"/>
                  <a:ext cx="364680" cy="174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0">
              <p14:nvContentPartPr>
                <p14:cNvPr id="113" name="Ink 112">
                  <a:extLst>
                    <a:ext uri="{FF2B5EF4-FFF2-40B4-BE49-F238E27FC236}">
                      <a16:creationId xmlns:a16="http://schemas.microsoft.com/office/drawing/2014/main" id="{7E293279-19D9-47DE-853E-38B75DAAEFDC}"/>
                    </a:ext>
                  </a:extLst>
                </p14:cNvPr>
                <p14:cNvContentPartPr/>
                <p14:nvPr/>
              </p14:nvContentPartPr>
              <p14:xfrm>
                <a:off x="10458435" y="5996145"/>
                <a:ext cx="522720" cy="136080"/>
              </p14:xfrm>
            </p:contentPart>
          </mc:Choice>
          <mc:Fallback xmlns="">
            <p:pic>
              <p:nvPicPr>
                <p:cNvPr id="113" name="Ink 112">
                  <a:extLst>
                    <a:ext uri="{FF2B5EF4-FFF2-40B4-BE49-F238E27FC236}">
                      <a16:creationId xmlns:a16="http://schemas.microsoft.com/office/drawing/2014/main" id="{7E293279-19D9-47DE-853E-38B75DAAEFDC}"/>
                    </a:ext>
                  </a:extLst>
                </p:cNvPr>
                <p:cNvPicPr/>
                <p:nvPr/>
              </p:nvPicPr>
              <p:blipFill>
                <a:blip r:embed="rId151"/>
                <a:stretch>
                  <a:fillRect/>
                </a:stretch>
              </p:blipFill>
              <p:spPr>
                <a:xfrm>
                  <a:off x="10440435" y="5978505"/>
                  <a:ext cx="558360" cy="171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2">
              <p14:nvContentPartPr>
                <p14:cNvPr id="114" name="Ink 113">
                  <a:extLst>
                    <a:ext uri="{FF2B5EF4-FFF2-40B4-BE49-F238E27FC236}">
                      <a16:creationId xmlns:a16="http://schemas.microsoft.com/office/drawing/2014/main" id="{A89F2B9B-27E9-412E-B917-16672BF3822F}"/>
                    </a:ext>
                  </a:extLst>
                </p14:cNvPr>
                <p14:cNvContentPartPr/>
                <p14:nvPr/>
              </p14:nvContentPartPr>
              <p14:xfrm>
                <a:off x="11117955" y="5916585"/>
                <a:ext cx="384120" cy="284400"/>
              </p14:xfrm>
            </p:contentPart>
          </mc:Choice>
          <mc:Fallback xmlns="">
            <p:pic>
              <p:nvPicPr>
                <p:cNvPr id="114" name="Ink 113">
                  <a:extLst>
                    <a:ext uri="{FF2B5EF4-FFF2-40B4-BE49-F238E27FC236}">
                      <a16:creationId xmlns:a16="http://schemas.microsoft.com/office/drawing/2014/main" id="{A89F2B9B-27E9-412E-B917-16672BF3822F}"/>
                    </a:ext>
                  </a:extLst>
                </p:cNvPr>
                <p:cNvPicPr/>
                <p:nvPr/>
              </p:nvPicPr>
              <p:blipFill>
                <a:blip r:embed="rId153"/>
                <a:stretch>
                  <a:fillRect/>
                </a:stretch>
              </p:blipFill>
              <p:spPr>
                <a:xfrm>
                  <a:off x="11100315" y="5898585"/>
                  <a:ext cx="419760" cy="320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4">
              <p14:nvContentPartPr>
                <p14:cNvPr id="115" name="Ink 114">
                  <a:extLst>
                    <a:ext uri="{FF2B5EF4-FFF2-40B4-BE49-F238E27FC236}">
                      <a16:creationId xmlns:a16="http://schemas.microsoft.com/office/drawing/2014/main" id="{E37FB2E4-197D-40E5-93E4-4E9182BCFEC1}"/>
                    </a:ext>
                  </a:extLst>
                </p14:cNvPr>
                <p14:cNvContentPartPr/>
                <p14:nvPr/>
              </p14:nvContentPartPr>
              <p14:xfrm>
                <a:off x="11457075" y="6002265"/>
                <a:ext cx="216360" cy="100800"/>
              </p14:xfrm>
            </p:contentPart>
          </mc:Choice>
          <mc:Fallback xmlns="">
            <p:pic>
              <p:nvPicPr>
                <p:cNvPr id="115" name="Ink 114">
                  <a:extLst>
                    <a:ext uri="{FF2B5EF4-FFF2-40B4-BE49-F238E27FC236}">
                      <a16:creationId xmlns:a16="http://schemas.microsoft.com/office/drawing/2014/main" id="{E37FB2E4-197D-40E5-93E4-4E9182BCFEC1}"/>
                    </a:ext>
                  </a:extLst>
                </p:cNvPr>
                <p:cNvPicPr/>
                <p:nvPr/>
              </p:nvPicPr>
              <p:blipFill>
                <a:blip r:embed="rId155"/>
                <a:stretch>
                  <a:fillRect/>
                </a:stretch>
              </p:blipFill>
              <p:spPr>
                <a:xfrm>
                  <a:off x="11439435" y="5984625"/>
                  <a:ext cx="252000" cy="136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6">
              <p14:nvContentPartPr>
                <p14:cNvPr id="116" name="Ink 115">
                  <a:extLst>
                    <a:ext uri="{FF2B5EF4-FFF2-40B4-BE49-F238E27FC236}">
                      <a16:creationId xmlns:a16="http://schemas.microsoft.com/office/drawing/2014/main" id="{CA7DA9A4-C8DE-4C6F-A9AC-F0EDB3978B91}"/>
                    </a:ext>
                  </a:extLst>
                </p14:cNvPr>
                <p14:cNvContentPartPr/>
                <p14:nvPr/>
              </p14:nvContentPartPr>
              <p14:xfrm>
                <a:off x="11637435" y="5864025"/>
                <a:ext cx="116640" cy="266040"/>
              </p14:xfrm>
            </p:contentPart>
          </mc:Choice>
          <mc:Fallback xmlns="">
            <p:pic>
              <p:nvPicPr>
                <p:cNvPr id="116" name="Ink 115">
                  <a:extLst>
                    <a:ext uri="{FF2B5EF4-FFF2-40B4-BE49-F238E27FC236}">
                      <a16:creationId xmlns:a16="http://schemas.microsoft.com/office/drawing/2014/main" id="{CA7DA9A4-C8DE-4C6F-A9AC-F0EDB3978B91}"/>
                    </a:ext>
                  </a:extLst>
                </p:cNvPr>
                <p:cNvPicPr/>
                <p:nvPr/>
              </p:nvPicPr>
              <p:blipFill>
                <a:blip r:embed="rId157"/>
                <a:stretch>
                  <a:fillRect/>
                </a:stretch>
              </p:blipFill>
              <p:spPr>
                <a:xfrm>
                  <a:off x="11619795" y="5846025"/>
                  <a:ext cx="152280" cy="301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8">
              <p14:nvContentPartPr>
                <p14:cNvPr id="117" name="Ink 116">
                  <a:extLst>
                    <a:ext uri="{FF2B5EF4-FFF2-40B4-BE49-F238E27FC236}">
                      <a16:creationId xmlns:a16="http://schemas.microsoft.com/office/drawing/2014/main" id="{6178A035-1D82-4CB5-92C9-E10596C02A7E}"/>
                    </a:ext>
                  </a:extLst>
                </p14:cNvPr>
                <p14:cNvContentPartPr/>
                <p14:nvPr/>
              </p14:nvContentPartPr>
              <p14:xfrm>
                <a:off x="11803395" y="5950065"/>
                <a:ext cx="219240" cy="162000"/>
              </p14:xfrm>
            </p:contentPart>
          </mc:Choice>
          <mc:Fallback xmlns="">
            <p:pic>
              <p:nvPicPr>
                <p:cNvPr id="117" name="Ink 116">
                  <a:extLst>
                    <a:ext uri="{FF2B5EF4-FFF2-40B4-BE49-F238E27FC236}">
                      <a16:creationId xmlns:a16="http://schemas.microsoft.com/office/drawing/2014/main" id="{6178A035-1D82-4CB5-92C9-E10596C02A7E}"/>
                    </a:ext>
                  </a:extLst>
                </p:cNvPr>
                <p:cNvPicPr/>
                <p:nvPr/>
              </p:nvPicPr>
              <p:blipFill>
                <a:blip r:embed="rId159"/>
                <a:stretch>
                  <a:fillRect/>
                </a:stretch>
              </p:blipFill>
              <p:spPr>
                <a:xfrm>
                  <a:off x="11785755" y="5932425"/>
                  <a:ext cx="254880" cy="197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0">
              <p14:nvContentPartPr>
                <p14:cNvPr id="119" name="Ink 118">
                  <a:extLst>
                    <a:ext uri="{FF2B5EF4-FFF2-40B4-BE49-F238E27FC236}">
                      <a16:creationId xmlns:a16="http://schemas.microsoft.com/office/drawing/2014/main" id="{F7BC75C8-A08F-4C03-A298-84995AAF6BBC}"/>
                    </a:ext>
                  </a:extLst>
                </p14:cNvPr>
                <p14:cNvContentPartPr/>
                <p14:nvPr/>
              </p14:nvContentPartPr>
              <p14:xfrm>
                <a:off x="8917995" y="6293505"/>
                <a:ext cx="70920" cy="167040"/>
              </p14:xfrm>
            </p:contentPart>
          </mc:Choice>
          <mc:Fallback xmlns="">
            <p:pic>
              <p:nvPicPr>
                <p:cNvPr id="119" name="Ink 118">
                  <a:extLst>
                    <a:ext uri="{FF2B5EF4-FFF2-40B4-BE49-F238E27FC236}">
                      <a16:creationId xmlns:a16="http://schemas.microsoft.com/office/drawing/2014/main" id="{F7BC75C8-A08F-4C03-A298-84995AAF6BBC}"/>
                    </a:ext>
                  </a:extLst>
                </p:cNvPr>
                <p:cNvPicPr/>
                <p:nvPr/>
              </p:nvPicPr>
              <p:blipFill>
                <a:blip r:embed="rId161"/>
                <a:stretch>
                  <a:fillRect/>
                </a:stretch>
              </p:blipFill>
              <p:spPr>
                <a:xfrm>
                  <a:off x="8899995" y="6275505"/>
                  <a:ext cx="106560" cy="202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2">
              <p14:nvContentPartPr>
                <p14:cNvPr id="120" name="Ink 119">
                  <a:extLst>
                    <a:ext uri="{FF2B5EF4-FFF2-40B4-BE49-F238E27FC236}">
                      <a16:creationId xmlns:a16="http://schemas.microsoft.com/office/drawing/2014/main" id="{51ACE61C-831E-4F9E-BD74-3D2646E51DBD}"/>
                    </a:ext>
                  </a:extLst>
                </p14:cNvPr>
                <p14:cNvContentPartPr/>
                <p14:nvPr/>
              </p14:nvContentPartPr>
              <p14:xfrm>
                <a:off x="9023835" y="6339945"/>
                <a:ext cx="133200" cy="123840"/>
              </p14:xfrm>
            </p:contentPart>
          </mc:Choice>
          <mc:Fallback xmlns="">
            <p:pic>
              <p:nvPicPr>
                <p:cNvPr id="120" name="Ink 119">
                  <a:extLst>
                    <a:ext uri="{FF2B5EF4-FFF2-40B4-BE49-F238E27FC236}">
                      <a16:creationId xmlns:a16="http://schemas.microsoft.com/office/drawing/2014/main" id="{51ACE61C-831E-4F9E-BD74-3D2646E51DBD}"/>
                    </a:ext>
                  </a:extLst>
                </p:cNvPr>
                <p:cNvPicPr/>
                <p:nvPr/>
              </p:nvPicPr>
              <p:blipFill>
                <a:blip r:embed="rId163"/>
                <a:stretch>
                  <a:fillRect/>
                </a:stretch>
              </p:blipFill>
              <p:spPr>
                <a:xfrm>
                  <a:off x="9005835" y="6322305"/>
                  <a:ext cx="168840" cy="159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4">
              <p14:nvContentPartPr>
                <p14:cNvPr id="121" name="Ink 120">
                  <a:extLst>
                    <a:ext uri="{FF2B5EF4-FFF2-40B4-BE49-F238E27FC236}">
                      <a16:creationId xmlns:a16="http://schemas.microsoft.com/office/drawing/2014/main" id="{35954BB8-65C5-4DBC-8404-BC491521CBD2}"/>
                    </a:ext>
                  </a:extLst>
                </p14:cNvPr>
                <p14:cNvContentPartPr/>
                <p14:nvPr/>
              </p14:nvContentPartPr>
              <p14:xfrm>
                <a:off x="9211755" y="6275865"/>
                <a:ext cx="239400" cy="213480"/>
              </p14:xfrm>
            </p:contentPart>
          </mc:Choice>
          <mc:Fallback xmlns="">
            <p:pic>
              <p:nvPicPr>
                <p:cNvPr id="121" name="Ink 120">
                  <a:extLst>
                    <a:ext uri="{FF2B5EF4-FFF2-40B4-BE49-F238E27FC236}">
                      <a16:creationId xmlns:a16="http://schemas.microsoft.com/office/drawing/2014/main" id="{35954BB8-65C5-4DBC-8404-BC491521CBD2}"/>
                    </a:ext>
                  </a:extLst>
                </p:cNvPr>
                <p:cNvPicPr/>
                <p:nvPr/>
              </p:nvPicPr>
              <p:blipFill>
                <a:blip r:embed="rId165"/>
                <a:stretch>
                  <a:fillRect/>
                </a:stretch>
              </p:blipFill>
              <p:spPr>
                <a:xfrm>
                  <a:off x="9193755" y="6258225"/>
                  <a:ext cx="275040" cy="249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6">
              <p14:nvContentPartPr>
                <p14:cNvPr id="122" name="Ink 121">
                  <a:extLst>
                    <a:ext uri="{FF2B5EF4-FFF2-40B4-BE49-F238E27FC236}">
                      <a16:creationId xmlns:a16="http://schemas.microsoft.com/office/drawing/2014/main" id="{779884EC-DDAE-4EA3-9E6C-FE8F2FDE7E3D}"/>
                    </a:ext>
                  </a:extLst>
                </p14:cNvPr>
                <p14:cNvContentPartPr/>
                <p14:nvPr/>
              </p14:nvContentPartPr>
              <p14:xfrm>
                <a:off x="9570315" y="6468105"/>
                <a:ext cx="54360" cy="62640"/>
              </p14:xfrm>
            </p:contentPart>
          </mc:Choice>
          <mc:Fallback xmlns="">
            <p:pic>
              <p:nvPicPr>
                <p:cNvPr id="122" name="Ink 121">
                  <a:extLst>
                    <a:ext uri="{FF2B5EF4-FFF2-40B4-BE49-F238E27FC236}">
                      <a16:creationId xmlns:a16="http://schemas.microsoft.com/office/drawing/2014/main" id="{779884EC-DDAE-4EA3-9E6C-FE8F2FDE7E3D}"/>
                    </a:ext>
                  </a:extLst>
                </p:cNvPr>
                <p:cNvPicPr/>
                <p:nvPr/>
              </p:nvPicPr>
              <p:blipFill>
                <a:blip r:embed="rId167"/>
                <a:stretch>
                  <a:fillRect/>
                </a:stretch>
              </p:blipFill>
              <p:spPr>
                <a:xfrm>
                  <a:off x="9552315" y="6450105"/>
                  <a:ext cx="90000" cy="98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8">
              <p14:nvContentPartPr>
                <p14:cNvPr id="123" name="Ink 122">
                  <a:extLst>
                    <a:ext uri="{FF2B5EF4-FFF2-40B4-BE49-F238E27FC236}">
                      <a16:creationId xmlns:a16="http://schemas.microsoft.com/office/drawing/2014/main" id="{817E610F-FEB3-4C23-950A-558E150F9C92}"/>
                    </a:ext>
                  </a:extLst>
                </p14:cNvPr>
                <p14:cNvContentPartPr/>
                <p14:nvPr/>
              </p14:nvContentPartPr>
              <p14:xfrm>
                <a:off x="9727275" y="6316185"/>
                <a:ext cx="25920" cy="176760"/>
              </p14:xfrm>
            </p:contentPart>
          </mc:Choice>
          <mc:Fallback xmlns="">
            <p:pic>
              <p:nvPicPr>
                <p:cNvPr id="123" name="Ink 122">
                  <a:extLst>
                    <a:ext uri="{FF2B5EF4-FFF2-40B4-BE49-F238E27FC236}">
                      <a16:creationId xmlns:a16="http://schemas.microsoft.com/office/drawing/2014/main" id="{817E610F-FEB3-4C23-950A-558E150F9C92}"/>
                    </a:ext>
                  </a:extLst>
                </p:cNvPr>
                <p:cNvPicPr/>
                <p:nvPr/>
              </p:nvPicPr>
              <p:blipFill>
                <a:blip r:embed="rId169"/>
                <a:stretch>
                  <a:fillRect/>
                </a:stretch>
              </p:blipFill>
              <p:spPr>
                <a:xfrm>
                  <a:off x="9709275" y="6298545"/>
                  <a:ext cx="61560" cy="212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0">
              <p14:nvContentPartPr>
                <p14:cNvPr id="124" name="Ink 123">
                  <a:extLst>
                    <a:ext uri="{FF2B5EF4-FFF2-40B4-BE49-F238E27FC236}">
                      <a16:creationId xmlns:a16="http://schemas.microsoft.com/office/drawing/2014/main" id="{66F6FFCC-CE8F-48C6-B024-FD683B5FC105}"/>
                    </a:ext>
                  </a:extLst>
                </p14:cNvPr>
                <p14:cNvContentPartPr/>
                <p14:nvPr/>
              </p14:nvContentPartPr>
              <p14:xfrm>
                <a:off x="9752475" y="6376665"/>
                <a:ext cx="112680" cy="114480"/>
              </p14:xfrm>
            </p:contentPart>
          </mc:Choice>
          <mc:Fallback xmlns="">
            <p:pic>
              <p:nvPicPr>
                <p:cNvPr id="124" name="Ink 123">
                  <a:extLst>
                    <a:ext uri="{FF2B5EF4-FFF2-40B4-BE49-F238E27FC236}">
                      <a16:creationId xmlns:a16="http://schemas.microsoft.com/office/drawing/2014/main" id="{66F6FFCC-CE8F-48C6-B024-FD683B5FC105}"/>
                    </a:ext>
                  </a:extLst>
                </p:cNvPr>
                <p:cNvPicPr/>
                <p:nvPr/>
              </p:nvPicPr>
              <p:blipFill>
                <a:blip r:embed="rId171"/>
                <a:stretch>
                  <a:fillRect/>
                </a:stretch>
              </p:blipFill>
              <p:spPr>
                <a:xfrm>
                  <a:off x="9734475" y="6358665"/>
                  <a:ext cx="148320" cy="150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2">
              <p14:nvContentPartPr>
                <p14:cNvPr id="125" name="Ink 124">
                  <a:extLst>
                    <a:ext uri="{FF2B5EF4-FFF2-40B4-BE49-F238E27FC236}">
                      <a16:creationId xmlns:a16="http://schemas.microsoft.com/office/drawing/2014/main" id="{44A3DE2D-F20F-4085-83F7-4D57E2C60E60}"/>
                    </a:ext>
                  </a:extLst>
                </p14:cNvPr>
                <p14:cNvContentPartPr/>
                <p14:nvPr/>
              </p14:nvContentPartPr>
              <p14:xfrm>
                <a:off x="9904755" y="6322305"/>
                <a:ext cx="117360" cy="181440"/>
              </p14:xfrm>
            </p:contentPart>
          </mc:Choice>
          <mc:Fallback xmlns="">
            <p:pic>
              <p:nvPicPr>
                <p:cNvPr id="125" name="Ink 124">
                  <a:extLst>
                    <a:ext uri="{FF2B5EF4-FFF2-40B4-BE49-F238E27FC236}">
                      <a16:creationId xmlns:a16="http://schemas.microsoft.com/office/drawing/2014/main" id="{44A3DE2D-F20F-4085-83F7-4D57E2C60E60}"/>
                    </a:ext>
                  </a:extLst>
                </p:cNvPr>
                <p:cNvPicPr/>
                <p:nvPr/>
              </p:nvPicPr>
              <p:blipFill>
                <a:blip r:embed="rId173"/>
                <a:stretch>
                  <a:fillRect/>
                </a:stretch>
              </p:blipFill>
              <p:spPr>
                <a:xfrm>
                  <a:off x="9886755" y="6304305"/>
                  <a:ext cx="153000" cy="217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4">
              <p14:nvContentPartPr>
                <p14:cNvPr id="126" name="Ink 125">
                  <a:extLst>
                    <a:ext uri="{FF2B5EF4-FFF2-40B4-BE49-F238E27FC236}">
                      <a16:creationId xmlns:a16="http://schemas.microsoft.com/office/drawing/2014/main" id="{75CBCABE-9204-4B6F-8E04-E5D001C58A8C}"/>
                    </a:ext>
                  </a:extLst>
                </p14:cNvPr>
                <p14:cNvContentPartPr/>
                <p14:nvPr/>
              </p14:nvContentPartPr>
              <p14:xfrm>
                <a:off x="10090155" y="6319065"/>
                <a:ext cx="281880" cy="205560"/>
              </p14:xfrm>
            </p:contentPart>
          </mc:Choice>
          <mc:Fallback xmlns="">
            <p:pic>
              <p:nvPicPr>
                <p:cNvPr id="126" name="Ink 125">
                  <a:extLst>
                    <a:ext uri="{FF2B5EF4-FFF2-40B4-BE49-F238E27FC236}">
                      <a16:creationId xmlns:a16="http://schemas.microsoft.com/office/drawing/2014/main" id="{75CBCABE-9204-4B6F-8E04-E5D001C58A8C}"/>
                    </a:ext>
                  </a:extLst>
                </p:cNvPr>
                <p:cNvPicPr/>
                <p:nvPr/>
              </p:nvPicPr>
              <p:blipFill>
                <a:blip r:embed="rId175"/>
                <a:stretch>
                  <a:fillRect/>
                </a:stretch>
              </p:blipFill>
              <p:spPr>
                <a:xfrm>
                  <a:off x="10072155" y="6301065"/>
                  <a:ext cx="317520" cy="241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6">
              <p14:nvContentPartPr>
                <p14:cNvPr id="128" name="Ink 127">
                  <a:extLst>
                    <a:ext uri="{FF2B5EF4-FFF2-40B4-BE49-F238E27FC236}">
                      <a16:creationId xmlns:a16="http://schemas.microsoft.com/office/drawing/2014/main" id="{94C74997-25B8-415F-B8DC-2D89D84BE382}"/>
                    </a:ext>
                  </a:extLst>
                </p14:cNvPr>
                <p14:cNvContentPartPr/>
                <p14:nvPr/>
              </p14:nvContentPartPr>
              <p14:xfrm>
                <a:off x="10400475" y="6343185"/>
                <a:ext cx="235800" cy="157680"/>
              </p14:xfrm>
            </p:contentPart>
          </mc:Choice>
          <mc:Fallback xmlns="">
            <p:pic>
              <p:nvPicPr>
                <p:cNvPr id="128" name="Ink 127">
                  <a:extLst>
                    <a:ext uri="{FF2B5EF4-FFF2-40B4-BE49-F238E27FC236}">
                      <a16:creationId xmlns:a16="http://schemas.microsoft.com/office/drawing/2014/main" id="{94C74997-25B8-415F-B8DC-2D89D84BE382}"/>
                    </a:ext>
                  </a:extLst>
                </p:cNvPr>
                <p:cNvPicPr/>
                <p:nvPr/>
              </p:nvPicPr>
              <p:blipFill>
                <a:blip r:embed="rId177"/>
                <a:stretch>
                  <a:fillRect/>
                </a:stretch>
              </p:blipFill>
              <p:spPr>
                <a:xfrm>
                  <a:off x="10382475" y="6325185"/>
                  <a:ext cx="271440" cy="193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8">
              <p14:nvContentPartPr>
                <p14:cNvPr id="129" name="Ink 128">
                  <a:extLst>
                    <a:ext uri="{FF2B5EF4-FFF2-40B4-BE49-F238E27FC236}">
                      <a16:creationId xmlns:a16="http://schemas.microsoft.com/office/drawing/2014/main" id="{D8882E6E-9A11-4B34-AEF4-364A117D9B77}"/>
                    </a:ext>
                  </a:extLst>
                </p14:cNvPr>
                <p14:cNvContentPartPr/>
                <p14:nvPr/>
              </p14:nvContentPartPr>
              <p14:xfrm>
                <a:off x="10814475" y="6321585"/>
                <a:ext cx="217080" cy="170640"/>
              </p14:xfrm>
            </p:contentPart>
          </mc:Choice>
          <mc:Fallback xmlns="">
            <p:pic>
              <p:nvPicPr>
                <p:cNvPr id="129" name="Ink 128">
                  <a:extLst>
                    <a:ext uri="{FF2B5EF4-FFF2-40B4-BE49-F238E27FC236}">
                      <a16:creationId xmlns:a16="http://schemas.microsoft.com/office/drawing/2014/main" id="{D8882E6E-9A11-4B34-AEF4-364A117D9B77}"/>
                    </a:ext>
                  </a:extLst>
                </p:cNvPr>
                <p:cNvPicPr/>
                <p:nvPr/>
              </p:nvPicPr>
              <p:blipFill>
                <a:blip r:embed="rId179"/>
                <a:stretch>
                  <a:fillRect/>
                </a:stretch>
              </p:blipFill>
              <p:spPr>
                <a:xfrm>
                  <a:off x="10796475" y="6303585"/>
                  <a:ext cx="252720" cy="206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0">
              <p14:nvContentPartPr>
                <p14:cNvPr id="130" name="Ink 129">
                  <a:extLst>
                    <a:ext uri="{FF2B5EF4-FFF2-40B4-BE49-F238E27FC236}">
                      <a16:creationId xmlns:a16="http://schemas.microsoft.com/office/drawing/2014/main" id="{8E07057D-C6BE-4FD2-9D67-56F5D6ABF1E2}"/>
                    </a:ext>
                  </a:extLst>
                </p14:cNvPr>
                <p14:cNvContentPartPr/>
                <p14:nvPr/>
              </p14:nvContentPartPr>
              <p14:xfrm>
                <a:off x="11003115" y="6319425"/>
                <a:ext cx="16200" cy="88560"/>
              </p14:xfrm>
            </p:contentPart>
          </mc:Choice>
          <mc:Fallback xmlns="">
            <p:pic>
              <p:nvPicPr>
                <p:cNvPr id="130" name="Ink 129">
                  <a:extLst>
                    <a:ext uri="{FF2B5EF4-FFF2-40B4-BE49-F238E27FC236}">
                      <a16:creationId xmlns:a16="http://schemas.microsoft.com/office/drawing/2014/main" id="{8E07057D-C6BE-4FD2-9D67-56F5D6ABF1E2}"/>
                    </a:ext>
                  </a:extLst>
                </p:cNvPr>
                <p:cNvPicPr/>
                <p:nvPr/>
              </p:nvPicPr>
              <p:blipFill>
                <a:blip r:embed="rId181"/>
                <a:stretch>
                  <a:fillRect/>
                </a:stretch>
              </p:blipFill>
              <p:spPr>
                <a:xfrm>
                  <a:off x="10985115" y="6301785"/>
                  <a:ext cx="51840" cy="124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2">
              <p14:nvContentPartPr>
                <p14:cNvPr id="131" name="Ink 130">
                  <a:extLst>
                    <a:ext uri="{FF2B5EF4-FFF2-40B4-BE49-F238E27FC236}">
                      <a16:creationId xmlns:a16="http://schemas.microsoft.com/office/drawing/2014/main" id="{42E812BE-CB2C-4B2F-9EBA-26CA41BBA721}"/>
                    </a:ext>
                  </a:extLst>
                </p14:cNvPr>
                <p14:cNvContentPartPr/>
                <p14:nvPr/>
              </p14:nvContentPartPr>
              <p14:xfrm>
                <a:off x="11139555" y="6293505"/>
                <a:ext cx="101520" cy="186120"/>
              </p14:xfrm>
            </p:contentPart>
          </mc:Choice>
          <mc:Fallback xmlns="">
            <p:pic>
              <p:nvPicPr>
                <p:cNvPr id="131" name="Ink 130">
                  <a:extLst>
                    <a:ext uri="{FF2B5EF4-FFF2-40B4-BE49-F238E27FC236}">
                      <a16:creationId xmlns:a16="http://schemas.microsoft.com/office/drawing/2014/main" id="{42E812BE-CB2C-4B2F-9EBA-26CA41BBA721}"/>
                    </a:ext>
                  </a:extLst>
                </p:cNvPr>
                <p:cNvPicPr/>
                <p:nvPr/>
              </p:nvPicPr>
              <p:blipFill>
                <a:blip r:embed="rId183"/>
                <a:stretch>
                  <a:fillRect/>
                </a:stretch>
              </p:blipFill>
              <p:spPr>
                <a:xfrm>
                  <a:off x="11121555" y="6275505"/>
                  <a:ext cx="137160" cy="221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4">
              <p14:nvContentPartPr>
                <p14:cNvPr id="132" name="Ink 131">
                  <a:extLst>
                    <a:ext uri="{FF2B5EF4-FFF2-40B4-BE49-F238E27FC236}">
                      <a16:creationId xmlns:a16="http://schemas.microsoft.com/office/drawing/2014/main" id="{631F56B1-12BF-4CAA-9D2F-633D705B216C}"/>
                    </a:ext>
                  </a:extLst>
                </p14:cNvPr>
                <p14:cNvContentPartPr/>
                <p14:nvPr/>
              </p14:nvContentPartPr>
              <p14:xfrm>
                <a:off x="11161155" y="6242745"/>
                <a:ext cx="284040" cy="273600"/>
              </p14:xfrm>
            </p:contentPart>
          </mc:Choice>
          <mc:Fallback xmlns="">
            <p:pic>
              <p:nvPicPr>
                <p:cNvPr id="132" name="Ink 131">
                  <a:extLst>
                    <a:ext uri="{FF2B5EF4-FFF2-40B4-BE49-F238E27FC236}">
                      <a16:creationId xmlns:a16="http://schemas.microsoft.com/office/drawing/2014/main" id="{631F56B1-12BF-4CAA-9D2F-633D705B216C}"/>
                    </a:ext>
                  </a:extLst>
                </p:cNvPr>
                <p:cNvPicPr/>
                <p:nvPr/>
              </p:nvPicPr>
              <p:blipFill>
                <a:blip r:embed="rId185"/>
                <a:stretch>
                  <a:fillRect/>
                </a:stretch>
              </p:blipFill>
              <p:spPr>
                <a:xfrm>
                  <a:off x="11143155" y="6225105"/>
                  <a:ext cx="319680" cy="309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6">
              <p14:nvContentPartPr>
                <p14:cNvPr id="133" name="Ink 132">
                  <a:extLst>
                    <a:ext uri="{FF2B5EF4-FFF2-40B4-BE49-F238E27FC236}">
                      <a16:creationId xmlns:a16="http://schemas.microsoft.com/office/drawing/2014/main" id="{B9EFC85B-F72C-490A-ADC1-88AC7C44BD9A}"/>
                    </a:ext>
                  </a:extLst>
                </p14:cNvPr>
                <p14:cNvContentPartPr/>
                <p14:nvPr/>
              </p14:nvContentPartPr>
              <p14:xfrm>
                <a:off x="11340435" y="6332385"/>
                <a:ext cx="641520" cy="172440"/>
              </p14:xfrm>
            </p:contentPart>
          </mc:Choice>
          <mc:Fallback xmlns="">
            <p:pic>
              <p:nvPicPr>
                <p:cNvPr id="133" name="Ink 132">
                  <a:extLst>
                    <a:ext uri="{FF2B5EF4-FFF2-40B4-BE49-F238E27FC236}">
                      <a16:creationId xmlns:a16="http://schemas.microsoft.com/office/drawing/2014/main" id="{B9EFC85B-F72C-490A-ADC1-88AC7C44BD9A}"/>
                    </a:ext>
                  </a:extLst>
                </p:cNvPr>
                <p:cNvPicPr/>
                <p:nvPr/>
              </p:nvPicPr>
              <p:blipFill>
                <a:blip r:embed="rId187"/>
                <a:stretch>
                  <a:fillRect/>
                </a:stretch>
              </p:blipFill>
              <p:spPr>
                <a:xfrm>
                  <a:off x="11322795" y="6314745"/>
                  <a:ext cx="677160" cy="208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8">
              <p14:nvContentPartPr>
                <p14:cNvPr id="134" name="Ink 133">
                  <a:extLst>
                    <a:ext uri="{FF2B5EF4-FFF2-40B4-BE49-F238E27FC236}">
                      <a16:creationId xmlns:a16="http://schemas.microsoft.com/office/drawing/2014/main" id="{0CEB1138-C269-49C7-AA6F-80470A10F736}"/>
                    </a:ext>
                  </a:extLst>
                </p14:cNvPr>
                <p14:cNvContentPartPr/>
                <p14:nvPr/>
              </p14:nvContentPartPr>
              <p14:xfrm>
                <a:off x="11936595" y="6390345"/>
                <a:ext cx="176760" cy="48240"/>
              </p14:xfrm>
            </p:contentPart>
          </mc:Choice>
          <mc:Fallback xmlns="">
            <p:pic>
              <p:nvPicPr>
                <p:cNvPr id="134" name="Ink 133">
                  <a:extLst>
                    <a:ext uri="{FF2B5EF4-FFF2-40B4-BE49-F238E27FC236}">
                      <a16:creationId xmlns:a16="http://schemas.microsoft.com/office/drawing/2014/main" id="{0CEB1138-C269-49C7-AA6F-80470A10F736}"/>
                    </a:ext>
                  </a:extLst>
                </p:cNvPr>
                <p:cNvPicPr/>
                <p:nvPr/>
              </p:nvPicPr>
              <p:blipFill>
                <a:blip r:embed="rId189"/>
                <a:stretch>
                  <a:fillRect/>
                </a:stretch>
              </p:blipFill>
              <p:spPr>
                <a:xfrm>
                  <a:off x="11918955" y="6372345"/>
                  <a:ext cx="212400" cy="8388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190">
            <p14:nvContentPartPr>
              <p14:cNvPr id="2" name="Ink 1">
                <a:extLst>
                  <a:ext uri="{FF2B5EF4-FFF2-40B4-BE49-F238E27FC236}">
                    <a16:creationId xmlns:a16="http://schemas.microsoft.com/office/drawing/2014/main" id="{200A70CD-C0CD-4BE7-B27F-147D455AF588}"/>
                  </a:ext>
                </a:extLst>
              </p14:cNvPr>
              <p14:cNvContentPartPr/>
              <p14:nvPr/>
            </p14:nvContentPartPr>
            <p14:xfrm>
              <a:off x="2974320" y="2041200"/>
              <a:ext cx="4855680" cy="2740680"/>
            </p14:xfrm>
          </p:contentPart>
        </mc:Choice>
        <mc:Fallback>
          <p:pic>
            <p:nvPicPr>
              <p:cNvPr id="2" name="Ink 1">
                <a:extLst>
                  <a:ext uri="{FF2B5EF4-FFF2-40B4-BE49-F238E27FC236}">
                    <a16:creationId xmlns:a16="http://schemas.microsoft.com/office/drawing/2014/main" id="{200A70CD-C0CD-4BE7-B27F-147D455AF588}"/>
                  </a:ext>
                </a:extLst>
              </p:cNvPr>
              <p:cNvPicPr/>
              <p:nvPr/>
            </p:nvPicPr>
            <p:blipFill>
              <a:blip r:embed="rId191"/>
              <a:stretch>
                <a:fillRect/>
              </a:stretch>
            </p:blipFill>
            <p:spPr>
              <a:xfrm>
                <a:off x="2964960" y="2031840"/>
                <a:ext cx="4874400" cy="27594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495774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04D3CEB-822D-4E1D-AAD3-FB9CEC833D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04D3CEB-822D-4E1D-AAD3-FB9CEC833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3EE02B8-00DA-4524-8DFE-30E4FDD594D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3362" y="180974"/>
            <a:ext cx="8118798" cy="6029325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48EF9C8A-F3D9-4FF1-AD92-48E576A8FD79}"/>
              </a:ext>
            </a:extLst>
          </p:cNvPr>
          <p:cNvGrpSpPr/>
          <p:nvPr/>
        </p:nvGrpSpPr>
        <p:grpSpPr>
          <a:xfrm>
            <a:off x="1379955" y="2390385"/>
            <a:ext cx="9504720" cy="576000"/>
            <a:chOff x="1379955" y="2390385"/>
            <a:chExt cx="9504720" cy="5760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">
              <p14:nvContentPartPr>
                <p14:cNvPr id="8" name="Ink 7">
                  <a:extLst>
                    <a:ext uri="{FF2B5EF4-FFF2-40B4-BE49-F238E27FC236}">
                      <a16:creationId xmlns:a16="http://schemas.microsoft.com/office/drawing/2014/main" id="{BF2649F0-5C4B-432A-9BA9-1B3B530A94E6}"/>
                    </a:ext>
                  </a:extLst>
                </p14:cNvPr>
                <p14:cNvContentPartPr/>
                <p14:nvPr/>
              </p14:nvContentPartPr>
              <p14:xfrm>
                <a:off x="1379955" y="2757585"/>
                <a:ext cx="6599520" cy="208800"/>
              </p14:xfrm>
            </p:contentPart>
          </mc:Choice>
          <mc:Fallback xmlns="">
            <p:pic>
              <p:nvPicPr>
                <p:cNvPr id="8" name="Ink 7">
                  <a:extLst>
                    <a:ext uri="{FF2B5EF4-FFF2-40B4-BE49-F238E27FC236}">
                      <a16:creationId xmlns:a16="http://schemas.microsoft.com/office/drawing/2014/main" id="{BF2649F0-5C4B-432A-9BA9-1B3B530A94E6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1362315" y="2739585"/>
                  <a:ext cx="6635160" cy="244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">
              <p14:nvContentPartPr>
                <p14:cNvPr id="9" name="Ink 8">
                  <a:extLst>
                    <a:ext uri="{FF2B5EF4-FFF2-40B4-BE49-F238E27FC236}">
                      <a16:creationId xmlns:a16="http://schemas.microsoft.com/office/drawing/2014/main" id="{9481C291-EA76-4A68-BB77-0F8DD1004A34}"/>
                    </a:ext>
                  </a:extLst>
                </p14:cNvPr>
                <p14:cNvContentPartPr/>
                <p14:nvPr/>
              </p14:nvContentPartPr>
              <p14:xfrm>
                <a:off x="8146155" y="2545545"/>
                <a:ext cx="40320" cy="259200"/>
              </p14:xfrm>
            </p:contentPart>
          </mc:Choice>
          <mc:Fallback xmlns="">
            <p:pic>
              <p:nvPicPr>
                <p:cNvPr id="9" name="Ink 8">
                  <a:extLst>
                    <a:ext uri="{FF2B5EF4-FFF2-40B4-BE49-F238E27FC236}">
                      <a16:creationId xmlns:a16="http://schemas.microsoft.com/office/drawing/2014/main" id="{9481C291-EA76-4A68-BB77-0F8DD1004A34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8128515" y="2527545"/>
                  <a:ext cx="75960" cy="294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">
              <p14:nvContentPartPr>
                <p14:cNvPr id="10" name="Ink 9">
                  <a:extLst>
                    <a:ext uri="{FF2B5EF4-FFF2-40B4-BE49-F238E27FC236}">
                      <a16:creationId xmlns:a16="http://schemas.microsoft.com/office/drawing/2014/main" id="{159820CA-95E5-4211-8316-C8A3E4BC2709}"/>
                    </a:ext>
                  </a:extLst>
                </p14:cNvPr>
                <p14:cNvContentPartPr/>
                <p14:nvPr/>
              </p14:nvContentPartPr>
              <p14:xfrm>
                <a:off x="8256675" y="2617905"/>
                <a:ext cx="175320" cy="145440"/>
              </p14:xfrm>
            </p:contentPart>
          </mc:Choice>
          <mc:Fallback xmlns="">
            <p:pic>
              <p:nvPicPr>
                <p:cNvPr id="10" name="Ink 9">
                  <a:extLst>
                    <a:ext uri="{FF2B5EF4-FFF2-40B4-BE49-F238E27FC236}">
                      <a16:creationId xmlns:a16="http://schemas.microsoft.com/office/drawing/2014/main" id="{159820CA-95E5-4211-8316-C8A3E4BC2709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8239035" y="2599905"/>
                  <a:ext cx="210960" cy="181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">
              <p14:nvContentPartPr>
                <p14:cNvPr id="11" name="Ink 10">
                  <a:extLst>
                    <a:ext uri="{FF2B5EF4-FFF2-40B4-BE49-F238E27FC236}">
                      <a16:creationId xmlns:a16="http://schemas.microsoft.com/office/drawing/2014/main" id="{F4926213-5E26-44BB-8CB6-91CDE38747EE}"/>
                    </a:ext>
                  </a:extLst>
                </p14:cNvPr>
                <p14:cNvContentPartPr/>
                <p14:nvPr/>
              </p14:nvContentPartPr>
              <p14:xfrm>
                <a:off x="8444955" y="2601705"/>
                <a:ext cx="158040" cy="275040"/>
              </p14:xfrm>
            </p:contentPart>
          </mc:Choice>
          <mc:Fallback xmlns="">
            <p:pic>
              <p:nvPicPr>
                <p:cNvPr id="11" name="Ink 10">
                  <a:extLst>
                    <a:ext uri="{FF2B5EF4-FFF2-40B4-BE49-F238E27FC236}">
                      <a16:creationId xmlns:a16="http://schemas.microsoft.com/office/drawing/2014/main" id="{F4926213-5E26-44BB-8CB6-91CDE38747EE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8426955" y="2583705"/>
                  <a:ext cx="193680" cy="310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4DB7B3C6-6E9E-4E3F-A501-4BC607BA3AF8}"/>
                    </a:ext>
                  </a:extLst>
                </p14:cNvPr>
                <p14:cNvContentPartPr/>
                <p14:nvPr/>
              </p14:nvContentPartPr>
              <p14:xfrm>
                <a:off x="8588955" y="2728425"/>
                <a:ext cx="150480" cy="158400"/>
              </p14:xfrm>
            </p:contentPart>
          </mc:Choice>
          <mc:Fallback xmlns=""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4DB7B3C6-6E9E-4E3F-A501-4BC607BA3AF8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8570955" y="2710785"/>
                  <a:ext cx="186120" cy="194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">
              <p14:nvContentPartPr>
                <p14:cNvPr id="13" name="Ink 12">
                  <a:extLst>
                    <a:ext uri="{FF2B5EF4-FFF2-40B4-BE49-F238E27FC236}">
                      <a16:creationId xmlns:a16="http://schemas.microsoft.com/office/drawing/2014/main" id="{251494EF-08DE-490D-A5A5-E62F80576ADD}"/>
                    </a:ext>
                  </a:extLst>
                </p14:cNvPr>
                <p14:cNvContentPartPr/>
                <p14:nvPr/>
              </p14:nvContentPartPr>
              <p14:xfrm>
                <a:off x="8909355" y="2598825"/>
                <a:ext cx="59400" cy="39240"/>
              </p14:xfrm>
            </p:contentPart>
          </mc:Choice>
          <mc:Fallback xmlns="">
            <p:pic>
              <p:nvPicPr>
                <p:cNvPr id="13" name="Ink 12">
                  <a:extLst>
                    <a:ext uri="{FF2B5EF4-FFF2-40B4-BE49-F238E27FC236}">
                      <a16:creationId xmlns:a16="http://schemas.microsoft.com/office/drawing/2014/main" id="{251494EF-08DE-490D-A5A5-E62F80576ADD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8891355" y="2581185"/>
                  <a:ext cx="95040" cy="74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">
              <p14:nvContentPartPr>
                <p14:cNvPr id="14" name="Ink 13">
                  <a:extLst>
                    <a:ext uri="{FF2B5EF4-FFF2-40B4-BE49-F238E27FC236}">
                      <a16:creationId xmlns:a16="http://schemas.microsoft.com/office/drawing/2014/main" id="{2A79E493-4203-4CCE-A1F1-BED1C9333059}"/>
                    </a:ext>
                  </a:extLst>
                </p14:cNvPr>
                <p14:cNvContentPartPr/>
                <p14:nvPr/>
              </p14:nvContentPartPr>
              <p14:xfrm>
                <a:off x="9148755" y="2467425"/>
                <a:ext cx="196200" cy="228600"/>
              </p14:xfrm>
            </p:contentPart>
          </mc:Choice>
          <mc:Fallback xmlns="">
            <p:pic>
              <p:nvPicPr>
                <p:cNvPr id="14" name="Ink 13">
                  <a:extLst>
                    <a:ext uri="{FF2B5EF4-FFF2-40B4-BE49-F238E27FC236}">
                      <a16:creationId xmlns:a16="http://schemas.microsoft.com/office/drawing/2014/main" id="{2A79E493-4203-4CCE-A1F1-BED1C9333059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9131115" y="2449425"/>
                  <a:ext cx="231840" cy="264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">
              <p14:nvContentPartPr>
                <p14:cNvPr id="15" name="Ink 14">
                  <a:extLst>
                    <a:ext uri="{FF2B5EF4-FFF2-40B4-BE49-F238E27FC236}">
                      <a16:creationId xmlns:a16="http://schemas.microsoft.com/office/drawing/2014/main" id="{B81DF305-5151-43CB-BDC8-80CD383C8A5F}"/>
                    </a:ext>
                  </a:extLst>
                </p14:cNvPr>
                <p14:cNvContentPartPr/>
                <p14:nvPr/>
              </p14:nvContentPartPr>
              <p14:xfrm>
                <a:off x="9167115" y="2531865"/>
                <a:ext cx="397080" cy="138960"/>
              </p14:xfrm>
            </p:contentPart>
          </mc:Choice>
          <mc:Fallback xmlns="">
            <p:pic>
              <p:nvPicPr>
                <p:cNvPr id="15" name="Ink 14">
                  <a:extLst>
                    <a:ext uri="{FF2B5EF4-FFF2-40B4-BE49-F238E27FC236}">
                      <a16:creationId xmlns:a16="http://schemas.microsoft.com/office/drawing/2014/main" id="{B81DF305-5151-43CB-BDC8-80CD383C8A5F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9149475" y="2514225"/>
                  <a:ext cx="432720" cy="174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">
              <p14:nvContentPartPr>
                <p14:cNvPr id="16" name="Ink 15">
                  <a:extLst>
                    <a:ext uri="{FF2B5EF4-FFF2-40B4-BE49-F238E27FC236}">
                      <a16:creationId xmlns:a16="http://schemas.microsoft.com/office/drawing/2014/main" id="{2ADB1E24-8E58-4623-BA13-9CE84CC4F3D0}"/>
                    </a:ext>
                  </a:extLst>
                </p14:cNvPr>
                <p14:cNvContentPartPr/>
                <p14:nvPr/>
              </p14:nvContentPartPr>
              <p14:xfrm>
                <a:off x="9673995" y="2497665"/>
                <a:ext cx="214920" cy="307080"/>
              </p14:xfrm>
            </p:contentPart>
          </mc:Choice>
          <mc:Fallback xmlns="">
            <p:pic>
              <p:nvPicPr>
                <p:cNvPr id="16" name="Ink 15">
                  <a:extLst>
                    <a:ext uri="{FF2B5EF4-FFF2-40B4-BE49-F238E27FC236}">
                      <a16:creationId xmlns:a16="http://schemas.microsoft.com/office/drawing/2014/main" id="{2ADB1E24-8E58-4623-BA13-9CE84CC4F3D0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9656355" y="2480025"/>
                  <a:ext cx="250560" cy="342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4">
              <p14:nvContentPartPr>
                <p14:cNvPr id="17" name="Ink 16">
                  <a:extLst>
                    <a:ext uri="{FF2B5EF4-FFF2-40B4-BE49-F238E27FC236}">
                      <a16:creationId xmlns:a16="http://schemas.microsoft.com/office/drawing/2014/main" id="{20C40BB2-97E7-4938-91C1-52778ED8A53E}"/>
                    </a:ext>
                  </a:extLst>
                </p14:cNvPr>
                <p14:cNvContentPartPr/>
                <p14:nvPr/>
              </p14:nvContentPartPr>
              <p14:xfrm>
                <a:off x="9992955" y="2390385"/>
                <a:ext cx="360360" cy="257040"/>
              </p14:xfrm>
            </p:contentPart>
          </mc:Choice>
          <mc:Fallback xmlns="">
            <p:pic>
              <p:nvPicPr>
                <p:cNvPr id="17" name="Ink 16">
                  <a:extLst>
                    <a:ext uri="{FF2B5EF4-FFF2-40B4-BE49-F238E27FC236}">
                      <a16:creationId xmlns:a16="http://schemas.microsoft.com/office/drawing/2014/main" id="{20C40BB2-97E7-4938-91C1-52778ED8A53E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9974955" y="2372385"/>
                  <a:ext cx="396000" cy="292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6">
              <p14:nvContentPartPr>
                <p14:cNvPr id="18" name="Ink 17">
                  <a:extLst>
                    <a:ext uri="{FF2B5EF4-FFF2-40B4-BE49-F238E27FC236}">
                      <a16:creationId xmlns:a16="http://schemas.microsoft.com/office/drawing/2014/main" id="{6834AF60-C77E-4706-BBC6-65E29727B494}"/>
                    </a:ext>
                  </a:extLst>
                </p14:cNvPr>
                <p14:cNvContentPartPr/>
                <p14:nvPr/>
              </p14:nvContentPartPr>
              <p14:xfrm>
                <a:off x="10301115" y="2433585"/>
                <a:ext cx="189720" cy="207000"/>
              </p14:xfrm>
            </p:contentPart>
          </mc:Choice>
          <mc:Fallback xmlns="">
            <p:pic>
              <p:nvPicPr>
                <p:cNvPr id="18" name="Ink 17">
                  <a:extLst>
                    <a:ext uri="{FF2B5EF4-FFF2-40B4-BE49-F238E27FC236}">
                      <a16:creationId xmlns:a16="http://schemas.microsoft.com/office/drawing/2014/main" id="{6834AF60-C77E-4706-BBC6-65E29727B494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10283115" y="2415945"/>
                  <a:ext cx="225360" cy="242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8">
              <p14:nvContentPartPr>
                <p14:cNvPr id="19" name="Ink 18">
                  <a:extLst>
                    <a:ext uri="{FF2B5EF4-FFF2-40B4-BE49-F238E27FC236}">
                      <a16:creationId xmlns:a16="http://schemas.microsoft.com/office/drawing/2014/main" id="{8C31C2F6-F9B3-40A9-9619-8C156114EE7E}"/>
                    </a:ext>
                  </a:extLst>
                </p14:cNvPr>
                <p14:cNvContentPartPr/>
                <p14:nvPr/>
              </p14:nvContentPartPr>
              <p14:xfrm>
                <a:off x="10639515" y="2423505"/>
                <a:ext cx="245160" cy="208800"/>
              </p14:xfrm>
            </p:contentPart>
          </mc:Choice>
          <mc:Fallback xmlns="">
            <p:pic>
              <p:nvPicPr>
                <p:cNvPr id="19" name="Ink 18">
                  <a:extLst>
                    <a:ext uri="{FF2B5EF4-FFF2-40B4-BE49-F238E27FC236}">
                      <a16:creationId xmlns:a16="http://schemas.microsoft.com/office/drawing/2014/main" id="{8C31C2F6-F9B3-40A9-9619-8C156114EE7E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10621515" y="2405865"/>
                  <a:ext cx="280800" cy="24444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30">
            <p14:nvContentPartPr>
              <p14:cNvPr id="21" name="Ink 20">
                <a:extLst>
                  <a:ext uri="{FF2B5EF4-FFF2-40B4-BE49-F238E27FC236}">
                    <a16:creationId xmlns:a16="http://schemas.microsoft.com/office/drawing/2014/main" id="{D6AB703E-2A85-4FE4-824E-11B9868E0D3B}"/>
                  </a:ext>
                </a:extLst>
              </p14:cNvPr>
              <p14:cNvContentPartPr/>
              <p14:nvPr/>
            </p14:nvContentPartPr>
            <p14:xfrm>
              <a:off x="1387155" y="3161145"/>
              <a:ext cx="6438960" cy="81000"/>
            </p14:xfrm>
          </p:contentPart>
        </mc:Choice>
        <mc:Fallback xmlns="">
          <p:pic>
            <p:nvPicPr>
              <p:cNvPr id="21" name="Ink 20">
                <a:extLst>
                  <a:ext uri="{FF2B5EF4-FFF2-40B4-BE49-F238E27FC236}">
                    <a16:creationId xmlns:a16="http://schemas.microsoft.com/office/drawing/2014/main" id="{D6AB703E-2A85-4FE4-824E-11B9868E0D3B}"/>
                  </a:ext>
                </a:extLst>
              </p:cNvPr>
              <p:cNvPicPr/>
              <p:nvPr/>
            </p:nvPicPr>
            <p:blipFill>
              <a:blip r:embed="rId31"/>
              <a:stretch>
                <a:fillRect/>
              </a:stretch>
            </p:blipFill>
            <p:spPr>
              <a:xfrm>
                <a:off x="1369155" y="3143145"/>
                <a:ext cx="6474600" cy="116640"/>
              </a:xfrm>
              <a:prstGeom prst="rect">
                <a:avLst/>
              </a:prstGeom>
            </p:spPr>
          </p:pic>
        </mc:Fallback>
      </mc:AlternateContent>
      <p:grpSp>
        <p:nvGrpSpPr>
          <p:cNvPr id="39" name="Group 38">
            <a:extLst>
              <a:ext uri="{FF2B5EF4-FFF2-40B4-BE49-F238E27FC236}">
                <a16:creationId xmlns:a16="http://schemas.microsoft.com/office/drawing/2014/main" id="{D85D4FE7-4910-488E-8AC6-B1012D0ED786}"/>
              </a:ext>
            </a:extLst>
          </p:cNvPr>
          <p:cNvGrpSpPr/>
          <p:nvPr/>
        </p:nvGrpSpPr>
        <p:grpSpPr>
          <a:xfrm>
            <a:off x="8310675" y="3038385"/>
            <a:ext cx="672480" cy="362520"/>
            <a:chOff x="8310675" y="3038385"/>
            <a:chExt cx="672480" cy="3625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32">
              <p14:nvContentPartPr>
                <p14:cNvPr id="26" name="Ink 25">
                  <a:extLst>
                    <a:ext uri="{FF2B5EF4-FFF2-40B4-BE49-F238E27FC236}">
                      <a16:creationId xmlns:a16="http://schemas.microsoft.com/office/drawing/2014/main" id="{97F53801-4C30-43CB-9331-8FCA640B39BB}"/>
                    </a:ext>
                  </a:extLst>
                </p14:cNvPr>
                <p14:cNvContentPartPr/>
                <p14:nvPr/>
              </p14:nvContentPartPr>
              <p14:xfrm>
                <a:off x="8310675" y="3038385"/>
                <a:ext cx="50400" cy="222480"/>
              </p14:xfrm>
            </p:contentPart>
          </mc:Choice>
          <mc:Fallback xmlns="">
            <p:pic>
              <p:nvPicPr>
                <p:cNvPr id="26" name="Ink 25">
                  <a:extLst>
                    <a:ext uri="{FF2B5EF4-FFF2-40B4-BE49-F238E27FC236}">
                      <a16:creationId xmlns:a16="http://schemas.microsoft.com/office/drawing/2014/main" id="{97F53801-4C30-43CB-9331-8FCA640B39BB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8293035" y="3020385"/>
                  <a:ext cx="86040" cy="258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4">
              <p14:nvContentPartPr>
                <p14:cNvPr id="27" name="Ink 26">
                  <a:extLst>
                    <a:ext uri="{FF2B5EF4-FFF2-40B4-BE49-F238E27FC236}">
                      <a16:creationId xmlns:a16="http://schemas.microsoft.com/office/drawing/2014/main" id="{90EEEFF3-C58C-4F5D-9080-975EBCA037F4}"/>
                    </a:ext>
                  </a:extLst>
                </p14:cNvPr>
                <p14:cNvContentPartPr/>
                <p14:nvPr/>
              </p14:nvContentPartPr>
              <p14:xfrm>
                <a:off x="8427675" y="3097425"/>
                <a:ext cx="115560" cy="161640"/>
              </p14:xfrm>
            </p:contentPart>
          </mc:Choice>
          <mc:Fallback xmlns="">
            <p:pic>
              <p:nvPicPr>
                <p:cNvPr id="27" name="Ink 26">
                  <a:extLst>
                    <a:ext uri="{FF2B5EF4-FFF2-40B4-BE49-F238E27FC236}">
                      <a16:creationId xmlns:a16="http://schemas.microsoft.com/office/drawing/2014/main" id="{90EEEFF3-C58C-4F5D-9080-975EBCA037F4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8409675" y="3079425"/>
                  <a:ext cx="151200" cy="197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6">
              <p14:nvContentPartPr>
                <p14:cNvPr id="28" name="Ink 27">
                  <a:extLst>
                    <a:ext uri="{FF2B5EF4-FFF2-40B4-BE49-F238E27FC236}">
                      <a16:creationId xmlns:a16="http://schemas.microsoft.com/office/drawing/2014/main" id="{2822895B-08DC-4246-B2C0-AFCE265E5233}"/>
                    </a:ext>
                  </a:extLst>
                </p14:cNvPr>
                <p14:cNvContentPartPr/>
                <p14:nvPr/>
              </p14:nvContentPartPr>
              <p14:xfrm>
                <a:off x="8518395" y="3220545"/>
                <a:ext cx="321120" cy="180360"/>
              </p14:xfrm>
            </p:contentPart>
          </mc:Choice>
          <mc:Fallback xmlns="">
            <p:pic>
              <p:nvPicPr>
                <p:cNvPr id="28" name="Ink 27">
                  <a:extLst>
                    <a:ext uri="{FF2B5EF4-FFF2-40B4-BE49-F238E27FC236}">
                      <a16:creationId xmlns:a16="http://schemas.microsoft.com/office/drawing/2014/main" id="{2822895B-08DC-4246-B2C0-AFCE265E5233}"/>
                    </a:ext>
                  </a:extLst>
                </p:cNvPr>
                <p:cNvPicPr/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8500395" y="3202545"/>
                  <a:ext cx="35676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8">
              <p14:nvContentPartPr>
                <p14:cNvPr id="29" name="Ink 28">
                  <a:extLst>
                    <a:ext uri="{FF2B5EF4-FFF2-40B4-BE49-F238E27FC236}">
                      <a16:creationId xmlns:a16="http://schemas.microsoft.com/office/drawing/2014/main" id="{B523F90C-69D3-4EAA-9BB7-0F9FC9AECE9A}"/>
                    </a:ext>
                  </a:extLst>
                </p14:cNvPr>
                <p14:cNvContentPartPr/>
                <p14:nvPr/>
              </p14:nvContentPartPr>
              <p14:xfrm>
                <a:off x="8897835" y="3250785"/>
                <a:ext cx="85320" cy="26280"/>
              </p14:xfrm>
            </p:contentPart>
          </mc:Choice>
          <mc:Fallback xmlns="">
            <p:pic>
              <p:nvPicPr>
                <p:cNvPr id="29" name="Ink 28">
                  <a:extLst>
                    <a:ext uri="{FF2B5EF4-FFF2-40B4-BE49-F238E27FC236}">
                      <a16:creationId xmlns:a16="http://schemas.microsoft.com/office/drawing/2014/main" id="{B523F90C-69D3-4EAA-9BB7-0F9FC9AECE9A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8879835" y="3233145"/>
                  <a:ext cx="120960" cy="619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763457CC-1CE9-4D41-87CA-E20C394522CF}"/>
              </a:ext>
            </a:extLst>
          </p:cNvPr>
          <p:cNvGrpSpPr/>
          <p:nvPr/>
        </p:nvGrpSpPr>
        <p:grpSpPr>
          <a:xfrm>
            <a:off x="9245595" y="2945865"/>
            <a:ext cx="1706760" cy="417600"/>
            <a:chOff x="9245595" y="2945865"/>
            <a:chExt cx="1706760" cy="4176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40">
              <p14:nvContentPartPr>
                <p14:cNvPr id="30" name="Ink 29">
                  <a:extLst>
                    <a:ext uri="{FF2B5EF4-FFF2-40B4-BE49-F238E27FC236}">
                      <a16:creationId xmlns:a16="http://schemas.microsoft.com/office/drawing/2014/main" id="{751C8169-1509-45A2-99F5-DE24AAA0DF5D}"/>
                    </a:ext>
                  </a:extLst>
                </p14:cNvPr>
                <p14:cNvContentPartPr/>
                <p14:nvPr/>
              </p14:nvContentPartPr>
              <p14:xfrm>
                <a:off x="9245595" y="3067905"/>
                <a:ext cx="183240" cy="209880"/>
              </p14:xfrm>
            </p:contentPart>
          </mc:Choice>
          <mc:Fallback xmlns="">
            <p:pic>
              <p:nvPicPr>
                <p:cNvPr id="30" name="Ink 29">
                  <a:extLst>
                    <a:ext uri="{FF2B5EF4-FFF2-40B4-BE49-F238E27FC236}">
                      <a16:creationId xmlns:a16="http://schemas.microsoft.com/office/drawing/2014/main" id="{751C8169-1509-45A2-99F5-DE24AAA0DF5D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9227595" y="3049905"/>
                  <a:ext cx="218880" cy="245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2">
              <p14:nvContentPartPr>
                <p14:cNvPr id="31" name="Ink 30">
                  <a:extLst>
                    <a:ext uri="{FF2B5EF4-FFF2-40B4-BE49-F238E27FC236}">
                      <a16:creationId xmlns:a16="http://schemas.microsoft.com/office/drawing/2014/main" id="{68103324-B02B-41A4-B382-351D102C5DBA}"/>
                    </a:ext>
                  </a:extLst>
                </p14:cNvPr>
                <p14:cNvContentPartPr/>
                <p14:nvPr/>
              </p14:nvContentPartPr>
              <p14:xfrm>
                <a:off x="9285195" y="3161145"/>
                <a:ext cx="357840" cy="109800"/>
              </p14:xfrm>
            </p:contentPart>
          </mc:Choice>
          <mc:Fallback xmlns="">
            <p:pic>
              <p:nvPicPr>
                <p:cNvPr id="31" name="Ink 30">
                  <a:extLst>
                    <a:ext uri="{FF2B5EF4-FFF2-40B4-BE49-F238E27FC236}">
                      <a16:creationId xmlns:a16="http://schemas.microsoft.com/office/drawing/2014/main" id="{68103324-B02B-41A4-B382-351D102C5DBA}"/>
                    </a:ext>
                  </a:extLst>
                </p:cNvPr>
                <p:cNvPicPr/>
                <p:nvPr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9267555" y="3143505"/>
                  <a:ext cx="393480" cy="145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4">
              <p14:nvContentPartPr>
                <p14:cNvPr id="32" name="Ink 31">
                  <a:extLst>
                    <a:ext uri="{FF2B5EF4-FFF2-40B4-BE49-F238E27FC236}">
                      <a16:creationId xmlns:a16="http://schemas.microsoft.com/office/drawing/2014/main" id="{8C3C0AF0-C538-457E-B242-C33B1962A05D}"/>
                    </a:ext>
                  </a:extLst>
                </p14:cNvPr>
                <p14:cNvContentPartPr/>
                <p14:nvPr/>
              </p14:nvContentPartPr>
              <p14:xfrm>
                <a:off x="9698835" y="3126225"/>
                <a:ext cx="135720" cy="237240"/>
              </p14:xfrm>
            </p:contentPart>
          </mc:Choice>
          <mc:Fallback xmlns="">
            <p:pic>
              <p:nvPicPr>
                <p:cNvPr id="32" name="Ink 31">
                  <a:extLst>
                    <a:ext uri="{FF2B5EF4-FFF2-40B4-BE49-F238E27FC236}">
                      <a16:creationId xmlns:a16="http://schemas.microsoft.com/office/drawing/2014/main" id="{8C3C0AF0-C538-457E-B242-C33B1962A05D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9681195" y="3108585"/>
                  <a:ext cx="171360" cy="272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6">
              <p14:nvContentPartPr>
                <p14:cNvPr id="33" name="Ink 32">
                  <a:extLst>
                    <a:ext uri="{FF2B5EF4-FFF2-40B4-BE49-F238E27FC236}">
                      <a16:creationId xmlns:a16="http://schemas.microsoft.com/office/drawing/2014/main" id="{6C6D43C9-CD40-4062-9038-AB48F885F2EF}"/>
                    </a:ext>
                  </a:extLst>
                </p14:cNvPr>
                <p14:cNvContentPartPr/>
                <p14:nvPr/>
              </p14:nvContentPartPr>
              <p14:xfrm>
                <a:off x="9872715" y="3210825"/>
                <a:ext cx="46440" cy="2880"/>
              </p14:xfrm>
            </p:contentPart>
          </mc:Choice>
          <mc:Fallback xmlns="">
            <p:pic>
              <p:nvPicPr>
                <p:cNvPr id="33" name="Ink 32">
                  <a:extLst>
                    <a:ext uri="{FF2B5EF4-FFF2-40B4-BE49-F238E27FC236}">
                      <a16:creationId xmlns:a16="http://schemas.microsoft.com/office/drawing/2014/main" id="{6C6D43C9-CD40-4062-9038-AB48F885F2EF}"/>
                    </a:ext>
                  </a:extLst>
                </p:cNvPr>
                <p:cNvPicPr/>
                <p:nvPr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9854715" y="3192825"/>
                  <a:ext cx="82080" cy="38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8">
              <p14:nvContentPartPr>
                <p14:cNvPr id="34" name="Ink 33">
                  <a:extLst>
                    <a:ext uri="{FF2B5EF4-FFF2-40B4-BE49-F238E27FC236}">
                      <a16:creationId xmlns:a16="http://schemas.microsoft.com/office/drawing/2014/main" id="{E901DA0B-B5BB-4FCE-9807-E093CA08DE8F}"/>
                    </a:ext>
                  </a:extLst>
                </p14:cNvPr>
                <p14:cNvContentPartPr/>
                <p14:nvPr/>
              </p14:nvContentPartPr>
              <p14:xfrm>
                <a:off x="10033275" y="2979345"/>
                <a:ext cx="416880" cy="254520"/>
              </p14:xfrm>
            </p:contentPart>
          </mc:Choice>
          <mc:Fallback xmlns="">
            <p:pic>
              <p:nvPicPr>
                <p:cNvPr id="34" name="Ink 33">
                  <a:extLst>
                    <a:ext uri="{FF2B5EF4-FFF2-40B4-BE49-F238E27FC236}">
                      <a16:creationId xmlns:a16="http://schemas.microsoft.com/office/drawing/2014/main" id="{E901DA0B-B5BB-4FCE-9807-E093CA08DE8F}"/>
                    </a:ext>
                  </a:extLst>
                </p:cNvPr>
                <p:cNvPicPr/>
                <p:nvPr/>
              </p:nvPicPr>
              <p:blipFill>
                <a:blip r:embed="rId49"/>
                <a:stretch>
                  <a:fillRect/>
                </a:stretch>
              </p:blipFill>
              <p:spPr>
                <a:xfrm>
                  <a:off x="10015275" y="2961705"/>
                  <a:ext cx="452520" cy="290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0">
              <p14:nvContentPartPr>
                <p14:cNvPr id="35" name="Ink 34">
                  <a:extLst>
                    <a:ext uri="{FF2B5EF4-FFF2-40B4-BE49-F238E27FC236}">
                      <a16:creationId xmlns:a16="http://schemas.microsoft.com/office/drawing/2014/main" id="{B06EEFFD-8863-4DAB-A319-FAC3A087DFE4}"/>
                    </a:ext>
                  </a:extLst>
                </p14:cNvPr>
                <p14:cNvContentPartPr/>
                <p14:nvPr/>
              </p14:nvContentPartPr>
              <p14:xfrm>
                <a:off x="10359795" y="3112545"/>
                <a:ext cx="233280" cy="105120"/>
              </p14:xfrm>
            </p:contentPart>
          </mc:Choice>
          <mc:Fallback xmlns="">
            <p:pic>
              <p:nvPicPr>
                <p:cNvPr id="35" name="Ink 34">
                  <a:extLst>
                    <a:ext uri="{FF2B5EF4-FFF2-40B4-BE49-F238E27FC236}">
                      <a16:creationId xmlns:a16="http://schemas.microsoft.com/office/drawing/2014/main" id="{B06EEFFD-8863-4DAB-A319-FAC3A087DFE4}"/>
                    </a:ext>
                  </a:extLst>
                </p:cNvPr>
                <p:cNvPicPr/>
                <p:nvPr/>
              </p:nvPicPr>
              <p:blipFill>
                <a:blip r:embed="rId51"/>
                <a:stretch>
                  <a:fillRect/>
                </a:stretch>
              </p:blipFill>
              <p:spPr>
                <a:xfrm>
                  <a:off x="10341795" y="3094545"/>
                  <a:ext cx="268920" cy="140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2">
              <p14:nvContentPartPr>
                <p14:cNvPr id="36" name="Ink 35">
                  <a:extLst>
                    <a:ext uri="{FF2B5EF4-FFF2-40B4-BE49-F238E27FC236}">
                      <a16:creationId xmlns:a16="http://schemas.microsoft.com/office/drawing/2014/main" id="{B471D947-D15E-4493-94FA-E86B02877FE7}"/>
                    </a:ext>
                  </a:extLst>
                </p14:cNvPr>
                <p14:cNvContentPartPr/>
                <p14:nvPr/>
              </p14:nvContentPartPr>
              <p14:xfrm>
                <a:off x="10555635" y="3009225"/>
                <a:ext cx="64440" cy="87120"/>
              </p14:xfrm>
            </p:contentPart>
          </mc:Choice>
          <mc:Fallback xmlns="">
            <p:pic>
              <p:nvPicPr>
                <p:cNvPr id="36" name="Ink 35">
                  <a:extLst>
                    <a:ext uri="{FF2B5EF4-FFF2-40B4-BE49-F238E27FC236}">
                      <a16:creationId xmlns:a16="http://schemas.microsoft.com/office/drawing/2014/main" id="{B471D947-D15E-4493-94FA-E86B02877FE7}"/>
                    </a:ext>
                  </a:extLst>
                </p:cNvPr>
                <p:cNvPicPr/>
                <p:nvPr/>
              </p:nvPicPr>
              <p:blipFill>
                <a:blip r:embed="rId53"/>
                <a:stretch>
                  <a:fillRect/>
                </a:stretch>
              </p:blipFill>
              <p:spPr>
                <a:xfrm>
                  <a:off x="10537995" y="2991585"/>
                  <a:ext cx="100080" cy="122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4">
              <p14:nvContentPartPr>
                <p14:cNvPr id="37" name="Ink 36">
                  <a:extLst>
                    <a:ext uri="{FF2B5EF4-FFF2-40B4-BE49-F238E27FC236}">
                      <a16:creationId xmlns:a16="http://schemas.microsoft.com/office/drawing/2014/main" id="{0C413519-1511-4EFF-BF98-F2A3A68BA25F}"/>
                    </a:ext>
                  </a:extLst>
                </p14:cNvPr>
                <p14:cNvContentPartPr/>
                <p14:nvPr/>
              </p14:nvContentPartPr>
              <p14:xfrm>
                <a:off x="10648155" y="2945865"/>
                <a:ext cx="304200" cy="400320"/>
              </p14:xfrm>
            </p:contentPart>
          </mc:Choice>
          <mc:Fallback xmlns="">
            <p:pic>
              <p:nvPicPr>
                <p:cNvPr id="37" name="Ink 36">
                  <a:extLst>
                    <a:ext uri="{FF2B5EF4-FFF2-40B4-BE49-F238E27FC236}">
                      <a16:creationId xmlns:a16="http://schemas.microsoft.com/office/drawing/2014/main" id="{0C413519-1511-4EFF-BF98-F2A3A68BA25F}"/>
                    </a:ext>
                  </a:extLst>
                </p:cNvPr>
                <p:cNvPicPr/>
                <p:nvPr/>
              </p:nvPicPr>
              <p:blipFill>
                <a:blip r:embed="rId55"/>
                <a:stretch>
                  <a:fillRect/>
                </a:stretch>
              </p:blipFill>
              <p:spPr>
                <a:xfrm>
                  <a:off x="10630155" y="2927865"/>
                  <a:ext cx="339840" cy="43596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56">
            <p14:nvContentPartPr>
              <p14:cNvPr id="84" name="Ink 83">
                <a:extLst>
                  <a:ext uri="{FF2B5EF4-FFF2-40B4-BE49-F238E27FC236}">
                    <a16:creationId xmlns:a16="http://schemas.microsoft.com/office/drawing/2014/main" id="{D4850DAD-A25C-4E2B-8B3D-BAF71C0C89D0}"/>
                  </a:ext>
                </a:extLst>
              </p14:cNvPr>
              <p14:cNvContentPartPr/>
              <p14:nvPr/>
            </p14:nvContentPartPr>
            <p14:xfrm>
              <a:off x="1529715" y="4134585"/>
              <a:ext cx="360" cy="360"/>
            </p14:xfrm>
          </p:contentPart>
        </mc:Choice>
        <mc:Fallback xmlns="">
          <p:pic>
            <p:nvPicPr>
              <p:cNvPr id="84" name="Ink 83">
                <a:extLst>
                  <a:ext uri="{FF2B5EF4-FFF2-40B4-BE49-F238E27FC236}">
                    <a16:creationId xmlns:a16="http://schemas.microsoft.com/office/drawing/2014/main" id="{D4850DAD-A25C-4E2B-8B3D-BAF71C0C89D0}"/>
                  </a:ext>
                </a:extLst>
              </p:cNvPr>
              <p:cNvPicPr/>
              <p:nvPr/>
            </p:nvPicPr>
            <p:blipFill>
              <a:blip r:embed="rId57"/>
              <a:stretch>
                <a:fillRect/>
              </a:stretch>
            </p:blipFill>
            <p:spPr>
              <a:xfrm>
                <a:off x="1511715" y="4116945"/>
                <a:ext cx="36000" cy="36000"/>
              </a:xfrm>
              <a:prstGeom prst="rect">
                <a:avLst/>
              </a:prstGeom>
            </p:spPr>
          </p:pic>
        </mc:Fallback>
      </mc:AlternateContent>
      <p:grpSp>
        <p:nvGrpSpPr>
          <p:cNvPr id="100" name="Group 99">
            <a:extLst>
              <a:ext uri="{FF2B5EF4-FFF2-40B4-BE49-F238E27FC236}">
                <a16:creationId xmlns:a16="http://schemas.microsoft.com/office/drawing/2014/main" id="{A4093349-9DA8-46FB-90F4-D4D9761937A5}"/>
              </a:ext>
            </a:extLst>
          </p:cNvPr>
          <p:cNvGrpSpPr/>
          <p:nvPr/>
        </p:nvGrpSpPr>
        <p:grpSpPr>
          <a:xfrm>
            <a:off x="92235" y="4083825"/>
            <a:ext cx="1941480" cy="770400"/>
            <a:chOff x="92235" y="4083825"/>
            <a:chExt cx="1941480" cy="7704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58">
              <p14:nvContentPartPr>
                <p14:cNvPr id="85" name="Ink 84">
                  <a:extLst>
                    <a:ext uri="{FF2B5EF4-FFF2-40B4-BE49-F238E27FC236}">
                      <a16:creationId xmlns:a16="http://schemas.microsoft.com/office/drawing/2014/main" id="{B4F11A24-A1C2-400B-A965-8A8226256634}"/>
                    </a:ext>
                  </a:extLst>
                </p14:cNvPr>
                <p14:cNvContentPartPr/>
                <p14:nvPr/>
              </p14:nvContentPartPr>
              <p14:xfrm>
                <a:off x="1308675" y="4083825"/>
                <a:ext cx="725040" cy="770400"/>
              </p14:xfrm>
            </p:contentPart>
          </mc:Choice>
          <mc:Fallback xmlns="">
            <p:pic>
              <p:nvPicPr>
                <p:cNvPr id="85" name="Ink 84">
                  <a:extLst>
                    <a:ext uri="{FF2B5EF4-FFF2-40B4-BE49-F238E27FC236}">
                      <a16:creationId xmlns:a16="http://schemas.microsoft.com/office/drawing/2014/main" id="{B4F11A24-A1C2-400B-A965-8A8226256634}"/>
                    </a:ext>
                  </a:extLst>
                </p:cNvPr>
                <p:cNvPicPr/>
                <p:nvPr/>
              </p:nvPicPr>
              <p:blipFill>
                <a:blip r:embed="rId59"/>
                <a:stretch>
                  <a:fillRect/>
                </a:stretch>
              </p:blipFill>
              <p:spPr>
                <a:xfrm>
                  <a:off x="1290675" y="4066185"/>
                  <a:ext cx="760680" cy="806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0">
              <p14:nvContentPartPr>
                <p14:cNvPr id="86" name="Ink 85">
                  <a:extLst>
                    <a:ext uri="{FF2B5EF4-FFF2-40B4-BE49-F238E27FC236}">
                      <a16:creationId xmlns:a16="http://schemas.microsoft.com/office/drawing/2014/main" id="{E74FD4D0-41AD-4F10-9D16-9B8AA35E04C2}"/>
                    </a:ext>
                  </a:extLst>
                </p14:cNvPr>
                <p14:cNvContentPartPr/>
                <p14:nvPr/>
              </p14:nvContentPartPr>
              <p14:xfrm>
                <a:off x="1099155" y="4417185"/>
                <a:ext cx="225360" cy="23400"/>
              </p14:xfrm>
            </p:contentPart>
          </mc:Choice>
          <mc:Fallback xmlns="">
            <p:pic>
              <p:nvPicPr>
                <p:cNvPr id="86" name="Ink 85">
                  <a:extLst>
                    <a:ext uri="{FF2B5EF4-FFF2-40B4-BE49-F238E27FC236}">
                      <a16:creationId xmlns:a16="http://schemas.microsoft.com/office/drawing/2014/main" id="{E74FD4D0-41AD-4F10-9D16-9B8AA35E04C2}"/>
                    </a:ext>
                  </a:extLst>
                </p:cNvPr>
                <p:cNvPicPr/>
                <p:nvPr/>
              </p:nvPicPr>
              <p:blipFill>
                <a:blip r:embed="rId61"/>
                <a:stretch>
                  <a:fillRect/>
                </a:stretch>
              </p:blipFill>
              <p:spPr>
                <a:xfrm>
                  <a:off x="1081515" y="4399185"/>
                  <a:ext cx="261000" cy="59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2">
              <p14:nvContentPartPr>
                <p14:cNvPr id="87" name="Ink 86">
                  <a:extLst>
                    <a:ext uri="{FF2B5EF4-FFF2-40B4-BE49-F238E27FC236}">
                      <a16:creationId xmlns:a16="http://schemas.microsoft.com/office/drawing/2014/main" id="{206542F5-B19A-4FEE-AB40-539A9EEDE39F}"/>
                    </a:ext>
                  </a:extLst>
                </p14:cNvPr>
                <p14:cNvContentPartPr/>
                <p14:nvPr/>
              </p14:nvContentPartPr>
              <p14:xfrm>
                <a:off x="1060635" y="4339425"/>
                <a:ext cx="60480" cy="172800"/>
              </p14:xfrm>
            </p:contentPart>
          </mc:Choice>
          <mc:Fallback xmlns="">
            <p:pic>
              <p:nvPicPr>
                <p:cNvPr id="87" name="Ink 86">
                  <a:extLst>
                    <a:ext uri="{FF2B5EF4-FFF2-40B4-BE49-F238E27FC236}">
                      <a16:creationId xmlns:a16="http://schemas.microsoft.com/office/drawing/2014/main" id="{206542F5-B19A-4FEE-AB40-539A9EEDE39F}"/>
                    </a:ext>
                  </a:extLst>
                </p:cNvPr>
                <p:cNvPicPr/>
                <p:nvPr/>
              </p:nvPicPr>
              <p:blipFill>
                <a:blip r:embed="rId63"/>
                <a:stretch>
                  <a:fillRect/>
                </a:stretch>
              </p:blipFill>
              <p:spPr>
                <a:xfrm>
                  <a:off x="1042635" y="4321425"/>
                  <a:ext cx="96120" cy="208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4">
              <p14:nvContentPartPr>
                <p14:cNvPr id="90" name="Ink 89">
                  <a:extLst>
                    <a:ext uri="{FF2B5EF4-FFF2-40B4-BE49-F238E27FC236}">
                      <a16:creationId xmlns:a16="http://schemas.microsoft.com/office/drawing/2014/main" id="{92ED5A61-8CF5-4C91-927C-F99CAF998EC3}"/>
                    </a:ext>
                  </a:extLst>
                </p14:cNvPr>
                <p14:cNvContentPartPr/>
                <p14:nvPr/>
              </p14:nvContentPartPr>
              <p14:xfrm>
                <a:off x="270435" y="4409265"/>
                <a:ext cx="152280" cy="8280"/>
              </p14:xfrm>
            </p:contentPart>
          </mc:Choice>
          <mc:Fallback xmlns="">
            <p:pic>
              <p:nvPicPr>
                <p:cNvPr id="90" name="Ink 89">
                  <a:extLst>
                    <a:ext uri="{FF2B5EF4-FFF2-40B4-BE49-F238E27FC236}">
                      <a16:creationId xmlns:a16="http://schemas.microsoft.com/office/drawing/2014/main" id="{92ED5A61-8CF5-4C91-927C-F99CAF998EC3}"/>
                    </a:ext>
                  </a:extLst>
                </p:cNvPr>
                <p:cNvPicPr/>
                <p:nvPr/>
              </p:nvPicPr>
              <p:blipFill>
                <a:blip r:embed="rId65"/>
                <a:stretch>
                  <a:fillRect/>
                </a:stretch>
              </p:blipFill>
              <p:spPr>
                <a:xfrm>
                  <a:off x="252435" y="4391625"/>
                  <a:ext cx="187920" cy="43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6">
              <p14:nvContentPartPr>
                <p14:cNvPr id="91" name="Ink 90">
                  <a:extLst>
                    <a:ext uri="{FF2B5EF4-FFF2-40B4-BE49-F238E27FC236}">
                      <a16:creationId xmlns:a16="http://schemas.microsoft.com/office/drawing/2014/main" id="{7BC77778-9E94-4D8F-8B23-095E60B2E5BA}"/>
                    </a:ext>
                  </a:extLst>
                </p14:cNvPr>
                <p14:cNvContentPartPr/>
                <p14:nvPr/>
              </p14:nvContentPartPr>
              <p14:xfrm>
                <a:off x="445395" y="4328985"/>
                <a:ext cx="9720" cy="154440"/>
              </p14:xfrm>
            </p:contentPart>
          </mc:Choice>
          <mc:Fallback xmlns="">
            <p:pic>
              <p:nvPicPr>
                <p:cNvPr id="91" name="Ink 90">
                  <a:extLst>
                    <a:ext uri="{FF2B5EF4-FFF2-40B4-BE49-F238E27FC236}">
                      <a16:creationId xmlns:a16="http://schemas.microsoft.com/office/drawing/2014/main" id="{7BC77778-9E94-4D8F-8B23-095E60B2E5BA}"/>
                    </a:ext>
                  </a:extLst>
                </p:cNvPr>
                <p:cNvPicPr/>
                <p:nvPr/>
              </p:nvPicPr>
              <p:blipFill>
                <a:blip r:embed="rId67"/>
                <a:stretch>
                  <a:fillRect/>
                </a:stretch>
              </p:blipFill>
              <p:spPr>
                <a:xfrm>
                  <a:off x="427395" y="4311345"/>
                  <a:ext cx="45360" cy="190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8">
              <p14:nvContentPartPr>
                <p14:cNvPr id="92" name="Ink 91">
                  <a:extLst>
                    <a:ext uri="{FF2B5EF4-FFF2-40B4-BE49-F238E27FC236}">
                      <a16:creationId xmlns:a16="http://schemas.microsoft.com/office/drawing/2014/main" id="{37D240D8-CB9F-4BA5-A6E5-A5914591F4A2}"/>
                    </a:ext>
                  </a:extLst>
                </p14:cNvPr>
                <p14:cNvContentPartPr/>
                <p14:nvPr/>
              </p14:nvContentPartPr>
              <p14:xfrm>
                <a:off x="554835" y="4367145"/>
                <a:ext cx="114120" cy="88200"/>
              </p14:xfrm>
            </p:contentPart>
          </mc:Choice>
          <mc:Fallback xmlns="">
            <p:pic>
              <p:nvPicPr>
                <p:cNvPr id="92" name="Ink 91">
                  <a:extLst>
                    <a:ext uri="{FF2B5EF4-FFF2-40B4-BE49-F238E27FC236}">
                      <a16:creationId xmlns:a16="http://schemas.microsoft.com/office/drawing/2014/main" id="{37D240D8-CB9F-4BA5-A6E5-A5914591F4A2}"/>
                    </a:ext>
                  </a:extLst>
                </p:cNvPr>
                <p:cNvPicPr/>
                <p:nvPr/>
              </p:nvPicPr>
              <p:blipFill>
                <a:blip r:embed="rId69"/>
                <a:stretch>
                  <a:fillRect/>
                </a:stretch>
              </p:blipFill>
              <p:spPr>
                <a:xfrm>
                  <a:off x="536835" y="4349145"/>
                  <a:ext cx="149760" cy="123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0">
              <p14:nvContentPartPr>
                <p14:cNvPr id="93" name="Ink 92">
                  <a:extLst>
                    <a:ext uri="{FF2B5EF4-FFF2-40B4-BE49-F238E27FC236}">
                      <a16:creationId xmlns:a16="http://schemas.microsoft.com/office/drawing/2014/main" id="{243CAAD7-A176-4910-8DD3-AA189AB37D66}"/>
                    </a:ext>
                  </a:extLst>
                </p14:cNvPr>
                <p14:cNvContentPartPr/>
                <p14:nvPr/>
              </p14:nvContentPartPr>
              <p14:xfrm>
                <a:off x="554115" y="4341225"/>
                <a:ext cx="166320" cy="253080"/>
              </p14:xfrm>
            </p:contentPart>
          </mc:Choice>
          <mc:Fallback xmlns="">
            <p:pic>
              <p:nvPicPr>
                <p:cNvPr id="93" name="Ink 92">
                  <a:extLst>
                    <a:ext uri="{FF2B5EF4-FFF2-40B4-BE49-F238E27FC236}">
                      <a16:creationId xmlns:a16="http://schemas.microsoft.com/office/drawing/2014/main" id="{243CAAD7-A176-4910-8DD3-AA189AB37D66}"/>
                    </a:ext>
                  </a:extLst>
                </p:cNvPr>
                <p:cNvPicPr/>
                <p:nvPr/>
              </p:nvPicPr>
              <p:blipFill>
                <a:blip r:embed="rId71"/>
                <a:stretch>
                  <a:fillRect/>
                </a:stretch>
              </p:blipFill>
              <p:spPr>
                <a:xfrm>
                  <a:off x="536115" y="4323585"/>
                  <a:ext cx="201960" cy="288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2">
              <p14:nvContentPartPr>
                <p14:cNvPr id="94" name="Ink 93">
                  <a:extLst>
                    <a:ext uri="{FF2B5EF4-FFF2-40B4-BE49-F238E27FC236}">
                      <a16:creationId xmlns:a16="http://schemas.microsoft.com/office/drawing/2014/main" id="{7D851C6C-5C8D-4693-A8CF-E4063AB4AD5D}"/>
                    </a:ext>
                  </a:extLst>
                </p14:cNvPr>
                <p14:cNvContentPartPr/>
                <p14:nvPr/>
              </p14:nvContentPartPr>
              <p14:xfrm>
                <a:off x="651315" y="4530225"/>
                <a:ext cx="91080" cy="116280"/>
              </p14:xfrm>
            </p:contentPart>
          </mc:Choice>
          <mc:Fallback xmlns="">
            <p:pic>
              <p:nvPicPr>
                <p:cNvPr id="94" name="Ink 93">
                  <a:extLst>
                    <a:ext uri="{FF2B5EF4-FFF2-40B4-BE49-F238E27FC236}">
                      <a16:creationId xmlns:a16="http://schemas.microsoft.com/office/drawing/2014/main" id="{7D851C6C-5C8D-4693-A8CF-E4063AB4AD5D}"/>
                    </a:ext>
                  </a:extLst>
                </p:cNvPr>
                <p:cNvPicPr/>
                <p:nvPr/>
              </p:nvPicPr>
              <p:blipFill>
                <a:blip r:embed="rId73"/>
                <a:stretch>
                  <a:fillRect/>
                </a:stretch>
              </p:blipFill>
              <p:spPr>
                <a:xfrm>
                  <a:off x="633675" y="4512585"/>
                  <a:ext cx="126720" cy="151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4">
              <p14:nvContentPartPr>
                <p14:cNvPr id="97" name="Ink 96">
                  <a:extLst>
                    <a:ext uri="{FF2B5EF4-FFF2-40B4-BE49-F238E27FC236}">
                      <a16:creationId xmlns:a16="http://schemas.microsoft.com/office/drawing/2014/main" id="{6A989E94-449E-4D37-A15F-97C26C24D1DF}"/>
                    </a:ext>
                  </a:extLst>
                </p14:cNvPr>
                <p14:cNvContentPartPr/>
                <p14:nvPr/>
              </p14:nvContentPartPr>
              <p14:xfrm>
                <a:off x="151635" y="4353105"/>
                <a:ext cx="73080" cy="199440"/>
              </p14:xfrm>
            </p:contentPart>
          </mc:Choice>
          <mc:Fallback xmlns="">
            <p:pic>
              <p:nvPicPr>
                <p:cNvPr id="97" name="Ink 96">
                  <a:extLst>
                    <a:ext uri="{FF2B5EF4-FFF2-40B4-BE49-F238E27FC236}">
                      <a16:creationId xmlns:a16="http://schemas.microsoft.com/office/drawing/2014/main" id="{6A989E94-449E-4D37-A15F-97C26C24D1DF}"/>
                    </a:ext>
                  </a:extLst>
                </p:cNvPr>
                <p:cNvPicPr/>
                <p:nvPr/>
              </p:nvPicPr>
              <p:blipFill>
                <a:blip r:embed="rId75"/>
                <a:stretch>
                  <a:fillRect/>
                </a:stretch>
              </p:blipFill>
              <p:spPr>
                <a:xfrm>
                  <a:off x="133995" y="4335105"/>
                  <a:ext cx="108720" cy="235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6">
              <p14:nvContentPartPr>
                <p14:cNvPr id="98" name="Ink 97">
                  <a:extLst>
                    <a:ext uri="{FF2B5EF4-FFF2-40B4-BE49-F238E27FC236}">
                      <a16:creationId xmlns:a16="http://schemas.microsoft.com/office/drawing/2014/main" id="{31039214-344F-4E95-ADF9-77FF1C5989A4}"/>
                    </a:ext>
                  </a:extLst>
                </p14:cNvPr>
                <p14:cNvContentPartPr/>
                <p14:nvPr/>
              </p14:nvContentPartPr>
              <p14:xfrm>
                <a:off x="92235" y="4206945"/>
                <a:ext cx="182160" cy="463320"/>
              </p14:xfrm>
            </p:contentPart>
          </mc:Choice>
          <mc:Fallback xmlns="">
            <p:pic>
              <p:nvPicPr>
                <p:cNvPr id="98" name="Ink 97">
                  <a:extLst>
                    <a:ext uri="{FF2B5EF4-FFF2-40B4-BE49-F238E27FC236}">
                      <a16:creationId xmlns:a16="http://schemas.microsoft.com/office/drawing/2014/main" id="{31039214-344F-4E95-ADF9-77FF1C5989A4}"/>
                    </a:ext>
                  </a:extLst>
                </p:cNvPr>
                <p:cNvPicPr/>
                <p:nvPr/>
              </p:nvPicPr>
              <p:blipFill>
                <a:blip r:embed="rId77"/>
                <a:stretch>
                  <a:fillRect/>
                </a:stretch>
              </p:blipFill>
              <p:spPr>
                <a:xfrm>
                  <a:off x="74595" y="4188945"/>
                  <a:ext cx="217800" cy="498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8">
              <p14:nvContentPartPr>
                <p14:cNvPr id="99" name="Ink 98">
                  <a:extLst>
                    <a:ext uri="{FF2B5EF4-FFF2-40B4-BE49-F238E27FC236}">
                      <a16:creationId xmlns:a16="http://schemas.microsoft.com/office/drawing/2014/main" id="{E92B9CB6-7438-4E09-ADD0-FB28DDE196AD}"/>
                    </a:ext>
                  </a:extLst>
                </p14:cNvPr>
                <p14:cNvContentPartPr/>
                <p14:nvPr/>
              </p14:nvContentPartPr>
              <p14:xfrm>
                <a:off x="801795" y="4246185"/>
                <a:ext cx="107280" cy="429840"/>
              </p14:xfrm>
            </p:contentPart>
          </mc:Choice>
          <mc:Fallback xmlns="">
            <p:pic>
              <p:nvPicPr>
                <p:cNvPr id="99" name="Ink 98">
                  <a:extLst>
                    <a:ext uri="{FF2B5EF4-FFF2-40B4-BE49-F238E27FC236}">
                      <a16:creationId xmlns:a16="http://schemas.microsoft.com/office/drawing/2014/main" id="{E92B9CB6-7438-4E09-ADD0-FB28DDE196AD}"/>
                    </a:ext>
                  </a:extLst>
                </p:cNvPr>
                <p:cNvPicPr/>
                <p:nvPr/>
              </p:nvPicPr>
              <p:blipFill>
                <a:blip r:embed="rId79"/>
                <a:stretch>
                  <a:fillRect/>
                </a:stretch>
              </p:blipFill>
              <p:spPr>
                <a:xfrm>
                  <a:off x="783795" y="4228185"/>
                  <a:ext cx="142920" cy="4654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BF9752DA-08D6-4CBE-82CF-313ADF6C3AC0}"/>
              </a:ext>
            </a:extLst>
          </p:cNvPr>
          <p:cNvGrpSpPr/>
          <p:nvPr/>
        </p:nvGrpSpPr>
        <p:grpSpPr>
          <a:xfrm>
            <a:off x="7765995" y="4665945"/>
            <a:ext cx="3965760" cy="265680"/>
            <a:chOff x="7765995" y="4665945"/>
            <a:chExt cx="3965760" cy="2656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80">
              <p14:nvContentPartPr>
                <p14:cNvPr id="101" name="Ink 100">
                  <a:extLst>
                    <a:ext uri="{FF2B5EF4-FFF2-40B4-BE49-F238E27FC236}">
                      <a16:creationId xmlns:a16="http://schemas.microsoft.com/office/drawing/2014/main" id="{7A37913E-5FAD-429E-AAAF-5AAE36D46506}"/>
                    </a:ext>
                  </a:extLst>
                </p14:cNvPr>
                <p14:cNvContentPartPr/>
                <p14:nvPr/>
              </p14:nvContentPartPr>
              <p14:xfrm>
                <a:off x="7765995" y="4777905"/>
                <a:ext cx="300600" cy="24840"/>
              </p14:xfrm>
            </p:contentPart>
          </mc:Choice>
          <mc:Fallback xmlns="">
            <p:pic>
              <p:nvPicPr>
                <p:cNvPr id="101" name="Ink 100">
                  <a:extLst>
                    <a:ext uri="{FF2B5EF4-FFF2-40B4-BE49-F238E27FC236}">
                      <a16:creationId xmlns:a16="http://schemas.microsoft.com/office/drawing/2014/main" id="{7A37913E-5FAD-429E-AAAF-5AAE36D46506}"/>
                    </a:ext>
                  </a:extLst>
                </p:cNvPr>
                <p:cNvPicPr/>
                <p:nvPr/>
              </p:nvPicPr>
              <p:blipFill>
                <a:blip r:embed="rId81"/>
                <a:stretch>
                  <a:fillRect/>
                </a:stretch>
              </p:blipFill>
              <p:spPr>
                <a:xfrm>
                  <a:off x="7747995" y="4760265"/>
                  <a:ext cx="336240" cy="60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2">
              <p14:nvContentPartPr>
                <p14:cNvPr id="102" name="Ink 101">
                  <a:extLst>
                    <a:ext uri="{FF2B5EF4-FFF2-40B4-BE49-F238E27FC236}">
                      <a16:creationId xmlns:a16="http://schemas.microsoft.com/office/drawing/2014/main" id="{55E52DDD-397C-4F62-818A-672159122069}"/>
                    </a:ext>
                  </a:extLst>
                </p14:cNvPr>
                <p14:cNvContentPartPr/>
                <p14:nvPr/>
              </p14:nvContentPartPr>
              <p14:xfrm>
                <a:off x="8146155" y="4702665"/>
                <a:ext cx="291600" cy="172080"/>
              </p14:xfrm>
            </p:contentPart>
          </mc:Choice>
          <mc:Fallback xmlns="">
            <p:pic>
              <p:nvPicPr>
                <p:cNvPr id="102" name="Ink 101">
                  <a:extLst>
                    <a:ext uri="{FF2B5EF4-FFF2-40B4-BE49-F238E27FC236}">
                      <a16:creationId xmlns:a16="http://schemas.microsoft.com/office/drawing/2014/main" id="{55E52DDD-397C-4F62-818A-672159122069}"/>
                    </a:ext>
                  </a:extLst>
                </p:cNvPr>
                <p:cNvPicPr/>
                <p:nvPr/>
              </p:nvPicPr>
              <p:blipFill>
                <a:blip r:embed="rId83"/>
                <a:stretch>
                  <a:fillRect/>
                </a:stretch>
              </p:blipFill>
              <p:spPr>
                <a:xfrm>
                  <a:off x="8128515" y="4685025"/>
                  <a:ext cx="327240" cy="207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4">
              <p14:nvContentPartPr>
                <p14:cNvPr id="103" name="Ink 102">
                  <a:extLst>
                    <a:ext uri="{FF2B5EF4-FFF2-40B4-BE49-F238E27FC236}">
                      <a16:creationId xmlns:a16="http://schemas.microsoft.com/office/drawing/2014/main" id="{C20DBD3F-ADD6-4D5B-B520-7A2B205CFF32}"/>
                    </a:ext>
                  </a:extLst>
                </p14:cNvPr>
                <p14:cNvContentPartPr/>
                <p14:nvPr/>
              </p14:nvContentPartPr>
              <p14:xfrm>
                <a:off x="8452875" y="4726065"/>
                <a:ext cx="214560" cy="149040"/>
              </p14:xfrm>
            </p:contentPart>
          </mc:Choice>
          <mc:Fallback xmlns="">
            <p:pic>
              <p:nvPicPr>
                <p:cNvPr id="103" name="Ink 102">
                  <a:extLst>
                    <a:ext uri="{FF2B5EF4-FFF2-40B4-BE49-F238E27FC236}">
                      <a16:creationId xmlns:a16="http://schemas.microsoft.com/office/drawing/2014/main" id="{C20DBD3F-ADD6-4D5B-B520-7A2B205CFF32}"/>
                    </a:ext>
                  </a:extLst>
                </p:cNvPr>
                <p:cNvPicPr/>
                <p:nvPr/>
              </p:nvPicPr>
              <p:blipFill>
                <a:blip r:embed="rId85"/>
                <a:stretch>
                  <a:fillRect/>
                </a:stretch>
              </p:blipFill>
              <p:spPr>
                <a:xfrm>
                  <a:off x="8434875" y="4708425"/>
                  <a:ext cx="250200" cy="184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6">
              <p14:nvContentPartPr>
                <p14:cNvPr id="104" name="Ink 103">
                  <a:extLst>
                    <a:ext uri="{FF2B5EF4-FFF2-40B4-BE49-F238E27FC236}">
                      <a16:creationId xmlns:a16="http://schemas.microsoft.com/office/drawing/2014/main" id="{AEEADA44-7642-4159-B42D-9329C7CDCC9B}"/>
                    </a:ext>
                  </a:extLst>
                </p14:cNvPr>
                <p14:cNvContentPartPr/>
                <p14:nvPr/>
              </p14:nvContentPartPr>
              <p14:xfrm>
                <a:off x="8815035" y="4746585"/>
                <a:ext cx="187920" cy="143280"/>
              </p14:xfrm>
            </p:contentPart>
          </mc:Choice>
          <mc:Fallback xmlns="">
            <p:pic>
              <p:nvPicPr>
                <p:cNvPr id="104" name="Ink 103">
                  <a:extLst>
                    <a:ext uri="{FF2B5EF4-FFF2-40B4-BE49-F238E27FC236}">
                      <a16:creationId xmlns:a16="http://schemas.microsoft.com/office/drawing/2014/main" id="{AEEADA44-7642-4159-B42D-9329C7CDCC9B}"/>
                    </a:ext>
                  </a:extLst>
                </p:cNvPr>
                <p:cNvPicPr/>
                <p:nvPr/>
              </p:nvPicPr>
              <p:blipFill>
                <a:blip r:embed="rId87"/>
                <a:stretch>
                  <a:fillRect/>
                </a:stretch>
              </p:blipFill>
              <p:spPr>
                <a:xfrm>
                  <a:off x="8797035" y="4728945"/>
                  <a:ext cx="223560" cy="178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8">
              <p14:nvContentPartPr>
                <p14:cNvPr id="105" name="Ink 104">
                  <a:extLst>
                    <a:ext uri="{FF2B5EF4-FFF2-40B4-BE49-F238E27FC236}">
                      <a16:creationId xmlns:a16="http://schemas.microsoft.com/office/drawing/2014/main" id="{5B32EBD0-7F15-437D-B8ED-E23134D593EB}"/>
                    </a:ext>
                  </a:extLst>
                </p14:cNvPr>
                <p14:cNvContentPartPr/>
                <p14:nvPr/>
              </p14:nvContentPartPr>
              <p14:xfrm>
                <a:off x="9020235" y="4665945"/>
                <a:ext cx="48960" cy="226440"/>
              </p14:xfrm>
            </p:contentPart>
          </mc:Choice>
          <mc:Fallback xmlns="">
            <p:pic>
              <p:nvPicPr>
                <p:cNvPr id="105" name="Ink 104">
                  <a:extLst>
                    <a:ext uri="{FF2B5EF4-FFF2-40B4-BE49-F238E27FC236}">
                      <a16:creationId xmlns:a16="http://schemas.microsoft.com/office/drawing/2014/main" id="{5B32EBD0-7F15-437D-B8ED-E23134D593EB}"/>
                    </a:ext>
                  </a:extLst>
                </p:cNvPr>
                <p:cNvPicPr/>
                <p:nvPr/>
              </p:nvPicPr>
              <p:blipFill>
                <a:blip r:embed="rId89"/>
                <a:stretch>
                  <a:fillRect/>
                </a:stretch>
              </p:blipFill>
              <p:spPr>
                <a:xfrm>
                  <a:off x="9002235" y="4648305"/>
                  <a:ext cx="84600" cy="262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0">
              <p14:nvContentPartPr>
                <p14:cNvPr id="106" name="Ink 105">
                  <a:extLst>
                    <a:ext uri="{FF2B5EF4-FFF2-40B4-BE49-F238E27FC236}">
                      <a16:creationId xmlns:a16="http://schemas.microsoft.com/office/drawing/2014/main" id="{C0840243-3C61-4064-AC0C-B08E7B287510}"/>
                    </a:ext>
                  </a:extLst>
                </p14:cNvPr>
                <p14:cNvContentPartPr/>
                <p14:nvPr/>
              </p14:nvContentPartPr>
              <p14:xfrm>
                <a:off x="9104475" y="4719225"/>
                <a:ext cx="234360" cy="156240"/>
              </p14:xfrm>
            </p:contentPart>
          </mc:Choice>
          <mc:Fallback xmlns="">
            <p:pic>
              <p:nvPicPr>
                <p:cNvPr id="106" name="Ink 105">
                  <a:extLst>
                    <a:ext uri="{FF2B5EF4-FFF2-40B4-BE49-F238E27FC236}">
                      <a16:creationId xmlns:a16="http://schemas.microsoft.com/office/drawing/2014/main" id="{C0840243-3C61-4064-AC0C-B08E7B287510}"/>
                    </a:ext>
                  </a:extLst>
                </p:cNvPr>
                <p:cNvPicPr/>
                <p:nvPr/>
              </p:nvPicPr>
              <p:blipFill>
                <a:blip r:embed="rId91"/>
                <a:stretch>
                  <a:fillRect/>
                </a:stretch>
              </p:blipFill>
              <p:spPr>
                <a:xfrm>
                  <a:off x="9086475" y="4701585"/>
                  <a:ext cx="270000" cy="191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2">
              <p14:nvContentPartPr>
                <p14:cNvPr id="107" name="Ink 106">
                  <a:extLst>
                    <a:ext uri="{FF2B5EF4-FFF2-40B4-BE49-F238E27FC236}">
                      <a16:creationId xmlns:a16="http://schemas.microsoft.com/office/drawing/2014/main" id="{25A2594B-5FAB-4868-9D6B-71B666AA6F09}"/>
                    </a:ext>
                  </a:extLst>
                </p14:cNvPr>
                <p14:cNvContentPartPr/>
                <p14:nvPr/>
              </p14:nvContentPartPr>
              <p14:xfrm>
                <a:off x="9540795" y="4688625"/>
                <a:ext cx="32760" cy="219960"/>
              </p14:xfrm>
            </p:contentPart>
          </mc:Choice>
          <mc:Fallback xmlns="">
            <p:pic>
              <p:nvPicPr>
                <p:cNvPr id="107" name="Ink 106">
                  <a:extLst>
                    <a:ext uri="{FF2B5EF4-FFF2-40B4-BE49-F238E27FC236}">
                      <a16:creationId xmlns:a16="http://schemas.microsoft.com/office/drawing/2014/main" id="{25A2594B-5FAB-4868-9D6B-71B666AA6F09}"/>
                    </a:ext>
                  </a:extLst>
                </p:cNvPr>
                <p:cNvPicPr/>
                <p:nvPr/>
              </p:nvPicPr>
              <p:blipFill>
                <a:blip r:embed="rId93"/>
                <a:stretch>
                  <a:fillRect/>
                </a:stretch>
              </p:blipFill>
              <p:spPr>
                <a:xfrm>
                  <a:off x="9522795" y="4670985"/>
                  <a:ext cx="68400" cy="255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4">
              <p14:nvContentPartPr>
                <p14:cNvPr id="108" name="Ink 107">
                  <a:extLst>
                    <a:ext uri="{FF2B5EF4-FFF2-40B4-BE49-F238E27FC236}">
                      <a16:creationId xmlns:a16="http://schemas.microsoft.com/office/drawing/2014/main" id="{34B0CD09-6BFC-4FBC-8859-E1F261DE4B85}"/>
                    </a:ext>
                  </a:extLst>
                </p14:cNvPr>
                <p14:cNvContentPartPr/>
                <p14:nvPr/>
              </p14:nvContentPartPr>
              <p14:xfrm>
                <a:off x="9475635" y="4799865"/>
                <a:ext cx="300240" cy="88560"/>
              </p14:xfrm>
            </p:contentPart>
          </mc:Choice>
          <mc:Fallback xmlns="">
            <p:pic>
              <p:nvPicPr>
                <p:cNvPr id="108" name="Ink 107">
                  <a:extLst>
                    <a:ext uri="{FF2B5EF4-FFF2-40B4-BE49-F238E27FC236}">
                      <a16:creationId xmlns:a16="http://schemas.microsoft.com/office/drawing/2014/main" id="{34B0CD09-6BFC-4FBC-8859-E1F261DE4B85}"/>
                    </a:ext>
                  </a:extLst>
                </p:cNvPr>
                <p:cNvPicPr/>
                <p:nvPr/>
              </p:nvPicPr>
              <p:blipFill>
                <a:blip r:embed="rId95"/>
                <a:stretch>
                  <a:fillRect/>
                </a:stretch>
              </p:blipFill>
              <p:spPr>
                <a:xfrm>
                  <a:off x="9457635" y="4782225"/>
                  <a:ext cx="335880" cy="124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6">
              <p14:nvContentPartPr>
                <p14:cNvPr id="109" name="Ink 108">
                  <a:extLst>
                    <a:ext uri="{FF2B5EF4-FFF2-40B4-BE49-F238E27FC236}">
                      <a16:creationId xmlns:a16="http://schemas.microsoft.com/office/drawing/2014/main" id="{5750E3B9-651B-4D34-9B34-A4C5E116EEAE}"/>
                    </a:ext>
                  </a:extLst>
                </p14:cNvPr>
                <p14:cNvContentPartPr/>
                <p14:nvPr/>
              </p14:nvContentPartPr>
              <p14:xfrm>
                <a:off x="9910155" y="4720305"/>
                <a:ext cx="64800" cy="187200"/>
              </p14:xfrm>
            </p:contentPart>
          </mc:Choice>
          <mc:Fallback xmlns="">
            <p:pic>
              <p:nvPicPr>
                <p:cNvPr id="109" name="Ink 108">
                  <a:extLst>
                    <a:ext uri="{FF2B5EF4-FFF2-40B4-BE49-F238E27FC236}">
                      <a16:creationId xmlns:a16="http://schemas.microsoft.com/office/drawing/2014/main" id="{5750E3B9-651B-4D34-9B34-A4C5E116EEAE}"/>
                    </a:ext>
                  </a:extLst>
                </p:cNvPr>
                <p:cNvPicPr/>
                <p:nvPr/>
              </p:nvPicPr>
              <p:blipFill>
                <a:blip r:embed="rId97"/>
                <a:stretch>
                  <a:fillRect/>
                </a:stretch>
              </p:blipFill>
              <p:spPr>
                <a:xfrm>
                  <a:off x="9892155" y="4702305"/>
                  <a:ext cx="100440" cy="222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8">
              <p14:nvContentPartPr>
                <p14:cNvPr id="110" name="Ink 109">
                  <a:extLst>
                    <a:ext uri="{FF2B5EF4-FFF2-40B4-BE49-F238E27FC236}">
                      <a16:creationId xmlns:a16="http://schemas.microsoft.com/office/drawing/2014/main" id="{7F32C4A4-B7D4-4F23-BF82-0EC268766B54}"/>
                    </a:ext>
                  </a:extLst>
                </p14:cNvPr>
                <p14:cNvContentPartPr/>
                <p14:nvPr/>
              </p14:nvContentPartPr>
              <p14:xfrm>
                <a:off x="9895035" y="4702305"/>
                <a:ext cx="394560" cy="184680"/>
              </p14:xfrm>
            </p:contentPart>
          </mc:Choice>
          <mc:Fallback xmlns="">
            <p:pic>
              <p:nvPicPr>
                <p:cNvPr id="110" name="Ink 109">
                  <a:extLst>
                    <a:ext uri="{FF2B5EF4-FFF2-40B4-BE49-F238E27FC236}">
                      <a16:creationId xmlns:a16="http://schemas.microsoft.com/office/drawing/2014/main" id="{7F32C4A4-B7D4-4F23-BF82-0EC268766B54}"/>
                    </a:ext>
                  </a:extLst>
                </p:cNvPr>
                <p:cNvPicPr/>
                <p:nvPr/>
              </p:nvPicPr>
              <p:blipFill>
                <a:blip r:embed="rId99"/>
                <a:stretch>
                  <a:fillRect/>
                </a:stretch>
              </p:blipFill>
              <p:spPr>
                <a:xfrm>
                  <a:off x="9877035" y="4684665"/>
                  <a:ext cx="430200" cy="220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0">
              <p14:nvContentPartPr>
                <p14:cNvPr id="111" name="Ink 110">
                  <a:extLst>
                    <a:ext uri="{FF2B5EF4-FFF2-40B4-BE49-F238E27FC236}">
                      <a16:creationId xmlns:a16="http://schemas.microsoft.com/office/drawing/2014/main" id="{1484BFA1-AC93-4740-9308-2C2166573789}"/>
                    </a:ext>
                  </a:extLst>
                </p14:cNvPr>
                <p14:cNvContentPartPr/>
                <p14:nvPr/>
              </p14:nvContentPartPr>
              <p14:xfrm>
                <a:off x="10473915" y="4788705"/>
                <a:ext cx="176040" cy="113040"/>
              </p14:xfrm>
            </p:contentPart>
          </mc:Choice>
          <mc:Fallback xmlns="">
            <p:pic>
              <p:nvPicPr>
                <p:cNvPr id="111" name="Ink 110">
                  <a:extLst>
                    <a:ext uri="{FF2B5EF4-FFF2-40B4-BE49-F238E27FC236}">
                      <a16:creationId xmlns:a16="http://schemas.microsoft.com/office/drawing/2014/main" id="{1484BFA1-AC93-4740-9308-2C2166573789}"/>
                    </a:ext>
                  </a:extLst>
                </p:cNvPr>
                <p:cNvPicPr/>
                <p:nvPr/>
              </p:nvPicPr>
              <p:blipFill>
                <a:blip r:embed="rId101"/>
                <a:stretch>
                  <a:fillRect/>
                </a:stretch>
              </p:blipFill>
              <p:spPr>
                <a:xfrm>
                  <a:off x="10456275" y="4771065"/>
                  <a:ext cx="211680" cy="148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2">
              <p14:nvContentPartPr>
                <p14:cNvPr id="112" name="Ink 111">
                  <a:extLst>
                    <a:ext uri="{FF2B5EF4-FFF2-40B4-BE49-F238E27FC236}">
                      <a16:creationId xmlns:a16="http://schemas.microsoft.com/office/drawing/2014/main" id="{E8DD6A25-00E3-49CD-9383-1CCD508200CA}"/>
                    </a:ext>
                  </a:extLst>
                </p14:cNvPr>
                <p14:cNvContentPartPr/>
                <p14:nvPr/>
              </p14:nvContentPartPr>
              <p14:xfrm>
                <a:off x="10645635" y="4676025"/>
                <a:ext cx="55800" cy="217800"/>
              </p14:xfrm>
            </p:contentPart>
          </mc:Choice>
          <mc:Fallback xmlns="">
            <p:pic>
              <p:nvPicPr>
                <p:cNvPr id="112" name="Ink 111">
                  <a:extLst>
                    <a:ext uri="{FF2B5EF4-FFF2-40B4-BE49-F238E27FC236}">
                      <a16:creationId xmlns:a16="http://schemas.microsoft.com/office/drawing/2014/main" id="{E8DD6A25-00E3-49CD-9383-1CCD508200CA}"/>
                    </a:ext>
                  </a:extLst>
                </p:cNvPr>
                <p:cNvPicPr/>
                <p:nvPr/>
              </p:nvPicPr>
              <p:blipFill>
                <a:blip r:embed="rId103"/>
                <a:stretch>
                  <a:fillRect/>
                </a:stretch>
              </p:blipFill>
              <p:spPr>
                <a:xfrm>
                  <a:off x="10627995" y="4658025"/>
                  <a:ext cx="91440" cy="253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4">
              <p14:nvContentPartPr>
                <p14:cNvPr id="113" name="Ink 112">
                  <a:extLst>
                    <a:ext uri="{FF2B5EF4-FFF2-40B4-BE49-F238E27FC236}">
                      <a16:creationId xmlns:a16="http://schemas.microsoft.com/office/drawing/2014/main" id="{47C74B84-F2B2-45B3-9005-738A0F3B8A93}"/>
                    </a:ext>
                  </a:extLst>
                </p14:cNvPr>
                <p14:cNvContentPartPr/>
                <p14:nvPr/>
              </p14:nvContentPartPr>
              <p14:xfrm>
                <a:off x="10720155" y="4712745"/>
                <a:ext cx="68400" cy="182880"/>
              </p14:xfrm>
            </p:contentPart>
          </mc:Choice>
          <mc:Fallback xmlns="">
            <p:pic>
              <p:nvPicPr>
                <p:cNvPr id="113" name="Ink 112">
                  <a:extLst>
                    <a:ext uri="{FF2B5EF4-FFF2-40B4-BE49-F238E27FC236}">
                      <a16:creationId xmlns:a16="http://schemas.microsoft.com/office/drawing/2014/main" id="{47C74B84-F2B2-45B3-9005-738A0F3B8A93}"/>
                    </a:ext>
                  </a:extLst>
                </p:cNvPr>
                <p:cNvPicPr/>
                <p:nvPr/>
              </p:nvPicPr>
              <p:blipFill>
                <a:blip r:embed="rId105"/>
                <a:stretch>
                  <a:fillRect/>
                </a:stretch>
              </p:blipFill>
              <p:spPr>
                <a:xfrm>
                  <a:off x="10702155" y="4694745"/>
                  <a:ext cx="104040" cy="218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6">
              <p14:nvContentPartPr>
                <p14:cNvPr id="114" name="Ink 113">
                  <a:extLst>
                    <a:ext uri="{FF2B5EF4-FFF2-40B4-BE49-F238E27FC236}">
                      <a16:creationId xmlns:a16="http://schemas.microsoft.com/office/drawing/2014/main" id="{9112CDC7-6C2F-4F80-A200-7500C422FA38}"/>
                    </a:ext>
                  </a:extLst>
                </p14:cNvPr>
                <p14:cNvContentPartPr/>
                <p14:nvPr/>
              </p14:nvContentPartPr>
              <p14:xfrm>
                <a:off x="10871355" y="4732545"/>
                <a:ext cx="16920" cy="185760"/>
              </p14:xfrm>
            </p:contentPart>
          </mc:Choice>
          <mc:Fallback xmlns="">
            <p:pic>
              <p:nvPicPr>
                <p:cNvPr id="114" name="Ink 113">
                  <a:extLst>
                    <a:ext uri="{FF2B5EF4-FFF2-40B4-BE49-F238E27FC236}">
                      <a16:creationId xmlns:a16="http://schemas.microsoft.com/office/drawing/2014/main" id="{9112CDC7-6C2F-4F80-A200-7500C422FA38}"/>
                    </a:ext>
                  </a:extLst>
                </p:cNvPr>
                <p:cNvPicPr/>
                <p:nvPr/>
              </p:nvPicPr>
              <p:blipFill>
                <a:blip r:embed="rId107"/>
                <a:stretch>
                  <a:fillRect/>
                </a:stretch>
              </p:blipFill>
              <p:spPr>
                <a:xfrm>
                  <a:off x="10853355" y="4714545"/>
                  <a:ext cx="52560" cy="221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8">
              <p14:nvContentPartPr>
                <p14:cNvPr id="115" name="Ink 114">
                  <a:extLst>
                    <a:ext uri="{FF2B5EF4-FFF2-40B4-BE49-F238E27FC236}">
                      <a16:creationId xmlns:a16="http://schemas.microsoft.com/office/drawing/2014/main" id="{9555D1E8-6150-4003-BB49-4C97EAC801CB}"/>
                    </a:ext>
                  </a:extLst>
                </p14:cNvPr>
                <p14:cNvContentPartPr/>
                <p14:nvPr/>
              </p14:nvContentPartPr>
              <p14:xfrm>
                <a:off x="11094915" y="4717785"/>
                <a:ext cx="134280" cy="199800"/>
              </p14:xfrm>
            </p:contentPart>
          </mc:Choice>
          <mc:Fallback xmlns="">
            <p:pic>
              <p:nvPicPr>
                <p:cNvPr id="115" name="Ink 114">
                  <a:extLst>
                    <a:ext uri="{FF2B5EF4-FFF2-40B4-BE49-F238E27FC236}">
                      <a16:creationId xmlns:a16="http://schemas.microsoft.com/office/drawing/2014/main" id="{9555D1E8-6150-4003-BB49-4C97EAC801CB}"/>
                    </a:ext>
                  </a:extLst>
                </p:cNvPr>
                <p:cNvPicPr/>
                <p:nvPr/>
              </p:nvPicPr>
              <p:blipFill>
                <a:blip r:embed="rId109"/>
                <a:stretch>
                  <a:fillRect/>
                </a:stretch>
              </p:blipFill>
              <p:spPr>
                <a:xfrm>
                  <a:off x="11076915" y="4700145"/>
                  <a:ext cx="169920" cy="235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0">
              <p14:nvContentPartPr>
                <p14:cNvPr id="116" name="Ink 115">
                  <a:extLst>
                    <a:ext uri="{FF2B5EF4-FFF2-40B4-BE49-F238E27FC236}">
                      <a16:creationId xmlns:a16="http://schemas.microsoft.com/office/drawing/2014/main" id="{CF35E41C-23A6-45B8-97DD-F0042EC710EF}"/>
                    </a:ext>
                  </a:extLst>
                </p14:cNvPr>
                <p14:cNvContentPartPr/>
                <p14:nvPr/>
              </p14:nvContentPartPr>
              <p14:xfrm>
                <a:off x="11328555" y="4803105"/>
                <a:ext cx="105480" cy="110160"/>
              </p14:xfrm>
            </p:contentPart>
          </mc:Choice>
          <mc:Fallback xmlns="">
            <p:pic>
              <p:nvPicPr>
                <p:cNvPr id="116" name="Ink 115">
                  <a:extLst>
                    <a:ext uri="{FF2B5EF4-FFF2-40B4-BE49-F238E27FC236}">
                      <a16:creationId xmlns:a16="http://schemas.microsoft.com/office/drawing/2014/main" id="{CF35E41C-23A6-45B8-97DD-F0042EC710EF}"/>
                    </a:ext>
                  </a:extLst>
                </p:cNvPr>
                <p:cNvPicPr/>
                <p:nvPr/>
              </p:nvPicPr>
              <p:blipFill>
                <a:blip r:embed="rId111"/>
                <a:stretch>
                  <a:fillRect/>
                </a:stretch>
              </p:blipFill>
              <p:spPr>
                <a:xfrm>
                  <a:off x="11310555" y="4785105"/>
                  <a:ext cx="141120" cy="145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2">
              <p14:nvContentPartPr>
                <p14:cNvPr id="117" name="Ink 116">
                  <a:extLst>
                    <a:ext uri="{FF2B5EF4-FFF2-40B4-BE49-F238E27FC236}">
                      <a16:creationId xmlns:a16="http://schemas.microsoft.com/office/drawing/2014/main" id="{C2C24F7B-607F-4BA7-B1E1-D834EDF95AAD}"/>
                    </a:ext>
                  </a:extLst>
                </p14:cNvPr>
                <p14:cNvContentPartPr/>
                <p14:nvPr/>
              </p14:nvContentPartPr>
              <p14:xfrm>
                <a:off x="11594955" y="4791945"/>
                <a:ext cx="136800" cy="139680"/>
              </p14:xfrm>
            </p:contentPart>
          </mc:Choice>
          <mc:Fallback xmlns="">
            <p:pic>
              <p:nvPicPr>
                <p:cNvPr id="117" name="Ink 116">
                  <a:extLst>
                    <a:ext uri="{FF2B5EF4-FFF2-40B4-BE49-F238E27FC236}">
                      <a16:creationId xmlns:a16="http://schemas.microsoft.com/office/drawing/2014/main" id="{C2C24F7B-607F-4BA7-B1E1-D834EDF95AAD}"/>
                    </a:ext>
                  </a:extLst>
                </p:cNvPr>
                <p:cNvPicPr/>
                <p:nvPr/>
              </p:nvPicPr>
              <p:blipFill>
                <a:blip r:embed="rId113"/>
                <a:stretch>
                  <a:fillRect/>
                </a:stretch>
              </p:blipFill>
              <p:spPr>
                <a:xfrm>
                  <a:off x="11576955" y="4774305"/>
                  <a:ext cx="172440" cy="175320"/>
                </a:xfrm>
                <a:prstGeom prst="rect">
                  <a:avLst/>
                </a:prstGeom>
              </p:spPr>
            </p:pic>
          </mc:Fallback>
        </mc:AlternateContent>
      </p:grpSp>
      <p:pic>
        <p:nvPicPr>
          <p:cNvPr id="121" name="Picture 120">
            <a:extLst>
              <a:ext uri="{FF2B5EF4-FFF2-40B4-BE49-F238E27FC236}">
                <a16:creationId xmlns:a16="http://schemas.microsoft.com/office/drawing/2014/main" id="{FDAB0A52-487C-4F81-8BAE-859E4B9C45F0}"/>
              </a:ext>
            </a:extLst>
          </p:cNvPr>
          <p:cNvPicPr>
            <a:picLocks noChangeAspect="1"/>
          </p:cNvPicPr>
          <p:nvPr/>
        </p:nvPicPr>
        <p:blipFill>
          <a:blip r:embed="rId114"/>
          <a:stretch>
            <a:fillRect/>
          </a:stretch>
        </p:blipFill>
        <p:spPr>
          <a:xfrm>
            <a:off x="1306673" y="6064694"/>
            <a:ext cx="5972175" cy="704850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115">
            <p14:nvContentPartPr>
              <p14:cNvPr id="122" name="Ink 121">
                <a:extLst>
                  <a:ext uri="{FF2B5EF4-FFF2-40B4-BE49-F238E27FC236}">
                    <a16:creationId xmlns:a16="http://schemas.microsoft.com/office/drawing/2014/main" id="{E7119809-36A0-4F4A-A884-BC31CEDA8CAC}"/>
                  </a:ext>
                </a:extLst>
              </p14:cNvPr>
              <p14:cNvContentPartPr/>
              <p14:nvPr/>
            </p14:nvContentPartPr>
            <p14:xfrm>
              <a:off x="7367835" y="6145185"/>
              <a:ext cx="242280" cy="29520"/>
            </p14:xfrm>
          </p:contentPart>
        </mc:Choice>
        <mc:Fallback xmlns="">
          <p:pic>
            <p:nvPicPr>
              <p:cNvPr id="122" name="Ink 121">
                <a:extLst>
                  <a:ext uri="{FF2B5EF4-FFF2-40B4-BE49-F238E27FC236}">
                    <a16:creationId xmlns:a16="http://schemas.microsoft.com/office/drawing/2014/main" id="{E7119809-36A0-4F4A-A884-BC31CEDA8CAC}"/>
                  </a:ext>
                </a:extLst>
              </p:cNvPr>
              <p:cNvPicPr/>
              <p:nvPr/>
            </p:nvPicPr>
            <p:blipFill>
              <a:blip r:embed="rId116"/>
              <a:stretch>
                <a:fillRect/>
              </a:stretch>
            </p:blipFill>
            <p:spPr>
              <a:xfrm>
                <a:off x="7349835" y="6127545"/>
                <a:ext cx="277920" cy="65160"/>
              </a:xfrm>
              <a:prstGeom prst="rect">
                <a:avLst/>
              </a:prstGeom>
            </p:spPr>
          </p:pic>
        </mc:Fallback>
      </mc:AlternateContent>
      <p:grpSp>
        <p:nvGrpSpPr>
          <p:cNvPr id="148" name="Group 147">
            <a:extLst>
              <a:ext uri="{FF2B5EF4-FFF2-40B4-BE49-F238E27FC236}">
                <a16:creationId xmlns:a16="http://schemas.microsoft.com/office/drawing/2014/main" id="{BACE68F8-6AEB-4E17-AB0E-12468DE014C6}"/>
              </a:ext>
            </a:extLst>
          </p:cNvPr>
          <p:cNvGrpSpPr/>
          <p:nvPr/>
        </p:nvGrpSpPr>
        <p:grpSpPr>
          <a:xfrm>
            <a:off x="7916115" y="5936025"/>
            <a:ext cx="4006440" cy="346680"/>
            <a:chOff x="7916115" y="5936025"/>
            <a:chExt cx="4006440" cy="3466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17">
              <p14:nvContentPartPr>
                <p14:cNvPr id="123" name="Ink 122">
                  <a:extLst>
                    <a:ext uri="{FF2B5EF4-FFF2-40B4-BE49-F238E27FC236}">
                      <a16:creationId xmlns:a16="http://schemas.microsoft.com/office/drawing/2014/main" id="{3F20DEC0-AF09-41C6-92BF-AEC0C8AC8526}"/>
                    </a:ext>
                  </a:extLst>
                </p14:cNvPr>
                <p14:cNvContentPartPr/>
                <p14:nvPr/>
              </p14:nvContentPartPr>
              <p14:xfrm>
                <a:off x="7916115" y="6074265"/>
                <a:ext cx="46080" cy="174960"/>
              </p14:xfrm>
            </p:contentPart>
          </mc:Choice>
          <mc:Fallback xmlns="">
            <p:pic>
              <p:nvPicPr>
                <p:cNvPr id="123" name="Ink 122">
                  <a:extLst>
                    <a:ext uri="{FF2B5EF4-FFF2-40B4-BE49-F238E27FC236}">
                      <a16:creationId xmlns:a16="http://schemas.microsoft.com/office/drawing/2014/main" id="{3F20DEC0-AF09-41C6-92BF-AEC0C8AC8526}"/>
                    </a:ext>
                  </a:extLst>
                </p:cNvPr>
                <p:cNvPicPr/>
                <p:nvPr/>
              </p:nvPicPr>
              <p:blipFill>
                <a:blip r:embed="rId118"/>
                <a:stretch>
                  <a:fillRect/>
                </a:stretch>
              </p:blipFill>
              <p:spPr>
                <a:xfrm>
                  <a:off x="7898115" y="6056625"/>
                  <a:ext cx="81720" cy="210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9">
              <p14:nvContentPartPr>
                <p14:cNvPr id="124" name="Ink 123">
                  <a:extLst>
                    <a:ext uri="{FF2B5EF4-FFF2-40B4-BE49-F238E27FC236}">
                      <a16:creationId xmlns:a16="http://schemas.microsoft.com/office/drawing/2014/main" id="{9614A673-CE5F-4DAC-8DBF-0E577EFC57C9}"/>
                    </a:ext>
                  </a:extLst>
                </p14:cNvPr>
                <p14:cNvContentPartPr/>
                <p14:nvPr/>
              </p14:nvContentPartPr>
              <p14:xfrm>
                <a:off x="7945995" y="6054825"/>
                <a:ext cx="160560" cy="183960"/>
              </p14:xfrm>
            </p:contentPart>
          </mc:Choice>
          <mc:Fallback xmlns="">
            <p:pic>
              <p:nvPicPr>
                <p:cNvPr id="124" name="Ink 123">
                  <a:extLst>
                    <a:ext uri="{FF2B5EF4-FFF2-40B4-BE49-F238E27FC236}">
                      <a16:creationId xmlns:a16="http://schemas.microsoft.com/office/drawing/2014/main" id="{9614A673-CE5F-4DAC-8DBF-0E577EFC57C9}"/>
                    </a:ext>
                  </a:extLst>
                </p:cNvPr>
                <p:cNvPicPr/>
                <p:nvPr/>
              </p:nvPicPr>
              <p:blipFill>
                <a:blip r:embed="rId120"/>
                <a:stretch>
                  <a:fillRect/>
                </a:stretch>
              </p:blipFill>
              <p:spPr>
                <a:xfrm>
                  <a:off x="7927995" y="6037185"/>
                  <a:ext cx="196200" cy="219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1">
              <p14:nvContentPartPr>
                <p14:cNvPr id="125" name="Ink 124">
                  <a:extLst>
                    <a:ext uri="{FF2B5EF4-FFF2-40B4-BE49-F238E27FC236}">
                      <a16:creationId xmlns:a16="http://schemas.microsoft.com/office/drawing/2014/main" id="{92FF0BE6-E37F-472F-A739-209999C2EE56}"/>
                    </a:ext>
                  </a:extLst>
                </p14:cNvPr>
                <p14:cNvContentPartPr/>
                <p14:nvPr/>
              </p14:nvContentPartPr>
              <p14:xfrm>
                <a:off x="8172075" y="6076425"/>
                <a:ext cx="87840" cy="177120"/>
              </p14:xfrm>
            </p:contentPart>
          </mc:Choice>
          <mc:Fallback xmlns="">
            <p:pic>
              <p:nvPicPr>
                <p:cNvPr id="125" name="Ink 124">
                  <a:extLst>
                    <a:ext uri="{FF2B5EF4-FFF2-40B4-BE49-F238E27FC236}">
                      <a16:creationId xmlns:a16="http://schemas.microsoft.com/office/drawing/2014/main" id="{92FF0BE6-E37F-472F-A739-209999C2EE56}"/>
                    </a:ext>
                  </a:extLst>
                </p:cNvPr>
                <p:cNvPicPr/>
                <p:nvPr/>
              </p:nvPicPr>
              <p:blipFill>
                <a:blip r:embed="rId122"/>
                <a:stretch>
                  <a:fillRect/>
                </a:stretch>
              </p:blipFill>
              <p:spPr>
                <a:xfrm>
                  <a:off x="8154075" y="6058785"/>
                  <a:ext cx="123480" cy="212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3">
              <p14:nvContentPartPr>
                <p14:cNvPr id="126" name="Ink 125">
                  <a:extLst>
                    <a:ext uri="{FF2B5EF4-FFF2-40B4-BE49-F238E27FC236}">
                      <a16:creationId xmlns:a16="http://schemas.microsoft.com/office/drawing/2014/main" id="{A539126A-0591-4103-9EF4-DDADC29EC7A6}"/>
                    </a:ext>
                  </a:extLst>
                </p14:cNvPr>
                <p14:cNvContentPartPr/>
                <p14:nvPr/>
              </p14:nvContentPartPr>
              <p14:xfrm>
                <a:off x="8267835" y="6118905"/>
                <a:ext cx="207000" cy="111240"/>
              </p14:xfrm>
            </p:contentPart>
          </mc:Choice>
          <mc:Fallback xmlns="">
            <p:pic>
              <p:nvPicPr>
                <p:cNvPr id="126" name="Ink 125">
                  <a:extLst>
                    <a:ext uri="{FF2B5EF4-FFF2-40B4-BE49-F238E27FC236}">
                      <a16:creationId xmlns:a16="http://schemas.microsoft.com/office/drawing/2014/main" id="{A539126A-0591-4103-9EF4-DDADC29EC7A6}"/>
                    </a:ext>
                  </a:extLst>
                </p:cNvPr>
                <p:cNvPicPr/>
                <p:nvPr/>
              </p:nvPicPr>
              <p:blipFill>
                <a:blip r:embed="rId124"/>
                <a:stretch>
                  <a:fillRect/>
                </a:stretch>
              </p:blipFill>
              <p:spPr>
                <a:xfrm>
                  <a:off x="8249835" y="6100905"/>
                  <a:ext cx="242640" cy="146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5">
              <p14:nvContentPartPr>
                <p14:cNvPr id="127" name="Ink 126">
                  <a:extLst>
                    <a:ext uri="{FF2B5EF4-FFF2-40B4-BE49-F238E27FC236}">
                      <a16:creationId xmlns:a16="http://schemas.microsoft.com/office/drawing/2014/main" id="{0B27BCE1-2B99-4543-9EFE-7E3ECBABC146}"/>
                    </a:ext>
                  </a:extLst>
                </p14:cNvPr>
                <p14:cNvContentPartPr/>
                <p14:nvPr/>
              </p14:nvContentPartPr>
              <p14:xfrm>
                <a:off x="8634675" y="6090465"/>
                <a:ext cx="153360" cy="166320"/>
              </p14:xfrm>
            </p:contentPart>
          </mc:Choice>
          <mc:Fallback xmlns="">
            <p:pic>
              <p:nvPicPr>
                <p:cNvPr id="127" name="Ink 126">
                  <a:extLst>
                    <a:ext uri="{FF2B5EF4-FFF2-40B4-BE49-F238E27FC236}">
                      <a16:creationId xmlns:a16="http://schemas.microsoft.com/office/drawing/2014/main" id="{0B27BCE1-2B99-4543-9EFE-7E3ECBABC146}"/>
                    </a:ext>
                  </a:extLst>
                </p:cNvPr>
                <p:cNvPicPr/>
                <p:nvPr/>
              </p:nvPicPr>
              <p:blipFill>
                <a:blip r:embed="rId126"/>
                <a:stretch>
                  <a:fillRect/>
                </a:stretch>
              </p:blipFill>
              <p:spPr>
                <a:xfrm>
                  <a:off x="8616675" y="6072465"/>
                  <a:ext cx="189000" cy="201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7">
              <p14:nvContentPartPr>
                <p14:cNvPr id="128" name="Ink 127">
                  <a:extLst>
                    <a:ext uri="{FF2B5EF4-FFF2-40B4-BE49-F238E27FC236}">
                      <a16:creationId xmlns:a16="http://schemas.microsoft.com/office/drawing/2014/main" id="{0A4983CA-E3B1-4F70-8FC6-30226E6BB2CB}"/>
                    </a:ext>
                  </a:extLst>
                </p14:cNvPr>
                <p14:cNvContentPartPr/>
                <p14:nvPr/>
              </p14:nvContentPartPr>
              <p14:xfrm>
                <a:off x="8844555" y="6045105"/>
                <a:ext cx="158040" cy="206280"/>
              </p14:xfrm>
            </p:contentPart>
          </mc:Choice>
          <mc:Fallback xmlns="">
            <p:pic>
              <p:nvPicPr>
                <p:cNvPr id="128" name="Ink 127">
                  <a:extLst>
                    <a:ext uri="{FF2B5EF4-FFF2-40B4-BE49-F238E27FC236}">
                      <a16:creationId xmlns:a16="http://schemas.microsoft.com/office/drawing/2014/main" id="{0A4983CA-E3B1-4F70-8FC6-30226E6BB2CB}"/>
                    </a:ext>
                  </a:extLst>
                </p:cNvPr>
                <p:cNvPicPr/>
                <p:nvPr/>
              </p:nvPicPr>
              <p:blipFill>
                <a:blip r:embed="rId128"/>
                <a:stretch>
                  <a:fillRect/>
                </a:stretch>
              </p:blipFill>
              <p:spPr>
                <a:xfrm>
                  <a:off x="8826555" y="6027105"/>
                  <a:ext cx="193680" cy="241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9">
              <p14:nvContentPartPr>
                <p14:cNvPr id="129" name="Ink 128">
                  <a:extLst>
                    <a:ext uri="{FF2B5EF4-FFF2-40B4-BE49-F238E27FC236}">
                      <a16:creationId xmlns:a16="http://schemas.microsoft.com/office/drawing/2014/main" id="{1CDA7E0C-1944-4062-A9DB-F3DBD4995122}"/>
                    </a:ext>
                  </a:extLst>
                </p14:cNvPr>
                <p14:cNvContentPartPr/>
                <p14:nvPr/>
              </p14:nvContentPartPr>
              <p14:xfrm>
                <a:off x="9054795" y="6077145"/>
                <a:ext cx="114120" cy="150840"/>
              </p14:xfrm>
            </p:contentPart>
          </mc:Choice>
          <mc:Fallback xmlns="">
            <p:pic>
              <p:nvPicPr>
                <p:cNvPr id="129" name="Ink 128">
                  <a:extLst>
                    <a:ext uri="{FF2B5EF4-FFF2-40B4-BE49-F238E27FC236}">
                      <a16:creationId xmlns:a16="http://schemas.microsoft.com/office/drawing/2014/main" id="{1CDA7E0C-1944-4062-A9DB-F3DBD4995122}"/>
                    </a:ext>
                  </a:extLst>
                </p:cNvPr>
                <p:cNvPicPr/>
                <p:nvPr/>
              </p:nvPicPr>
              <p:blipFill>
                <a:blip r:embed="rId130"/>
                <a:stretch>
                  <a:fillRect/>
                </a:stretch>
              </p:blipFill>
              <p:spPr>
                <a:xfrm>
                  <a:off x="9037155" y="6059145"/>
                  <a:ext cx="149760" cy="186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1">
              <p14:nvContentPartPr>
                <p14:cNvPr id="130" name="Ink 129">
                  <a:extLst>
                    <a:ext uri="{FF2B5EF4-FFF2-40B4-BE49-F238E27FC236}">
                      <a16:creationId xmlns:a16="http://schemas.microsoft.com/office/drawing/2014/main" id="{7A03D2AF-0ECF-4211-8C09-3E6B7768920B}"/>
                    </a:ext>
                  </a:extLst>
                </p14:cNvPr>
                <p14:cNvContentPartPr/>
                <p14:nvPr/>
              </p14:nvContentPartPr>
              <p14:xfrm>
                <a:off x="9239115" y="6102705"/>
                <a:ext cx="81360" cy="78120"/>
              </p14:xfrm>
            </p:contentPart>
          </mc:Choice>
          <mc:Fallback xmlns="">
            <p:pic>
              <p:nvPicPr>
                <p:cNvPr id="130" name="Ink 129">
                  <a:extLst>
                    <a:ext uri="{FF2B5EF4-FFF2-40B4-BE49-F238E27FC236}">
                      <a16:creationId xmlns:a16="http://schemas.microsoft.com/office/drawing/2014/main" id="{7A03D2AF-0ECF-4211-8C09-3E6B7768920B}"/>
                    </a:ext>
                  </a:extLst>
                </p:cNvPr>
                <p:cNvPicPr/>
                <p:nvPr/>
              </p:nvPicPr>
              <p:blipFill>
                <a:blip r:embed="rId132"/>
                <a:stretch>
                  <a:fillRect/>
                </a:stretch>
              </p:blipFill>
              <p:spPr>
                <a:xfrm>
                  <a:off x="9221115" y="6085065"/>
                  <a:ext cx="117000" cy="113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3">
              <p14:nvContentPartPr>
                <p14:cNvPr id="133" name="Ink 132">
                  <a:extLst>
                    <a:ext uri="{FF2B5EF4-FFF2-40B4-BE49-F238E27FC236}">
                      <a16:creationId xmlns:a16="http://schemas.microsoft.com/office/drawing/2014/main" id="{638DA3B6-231C-437B-B53F-5E9C24F9CC02}"/>
                    </a:ext>
                  </a:extLst>
                </p14:cNvPr>
                <p14:cNvContentPartPr/>
                <p14:nvPr/>
              </p14:nvContentPartPr>
              <p14:xfrm>
                <a:off x="9387435" y="6031425"/>
                <a:ext cx="320760" cy="198360"/>
              </p14:xfrm>
            </p:contentPart>
          </mc:Choice>
          <mc:Fallback xmlns="">
            <p:pic>
              <p:nvPicPr>
                <p:cNvPr id="133" name="Ink 132">
                  <a:extLst>
                    <a:ext uri="{FF2B5EF4-FFF2-40B4-BE49-F238E27FC236}">
                      <a16:creationId xmlns:a16="http://schemas.microsoft.com/office/drawing/2014/main" id="{638DA3B6-231C-437B-B53F-5E9C24F9CC02}"/>
                    </a:ext>
                  </a:extLst>
                </p:cNvPr>
                <p:cNvPicPr/>
                <p:nvPr/>
              </p:nvPicPr>
              <p:blipFill>
                <a:blip r:embed="rId134"/>
                <a:stretch>
                  <a:fillRect/>
                </a:stretch>
              </p:blipFill>
              <p:spPr>
                <a:xfrm>
                  <a:off x="9369435" y="6013425"/>
                  <a:ext cx="356400" cy="234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5">
              <p14:nvContentPartPr>
                <p14:cNvPr id="134" name="Ink 133">
                  <a:extLst>
                    <a:ext uri="{FF2B5EF4-FFF2-40B4-BE49-F238E27FC236}">
                      <a16:creationId xmlns:a16="http://schemas.microsoft.com/office/drawing/2014/main" id="{8DE75AC1-0AE7-4DCF-B371-7F50E1CB4493}"/>
                    </a:ext>
                  </a:extLst>
                </p14:cNvPr>
                <p14:cNvContentPartPr/>
                <p14:nvPr/>
              </p14:nvContentPartPr>
              <p14:xfrm>
                <a:off x="9736275" y="6017745"/>
                <a:ext cx="106200" cy="120600"/>
              </p14:xfrm>
            </p:contentPart>
          </mc:Choice>
          <mc:Fallback xmlns="">
            <p:pic>
              <p:nvPicPr>
                <p:cNvPr id="134" name="Ink 133">
                  <a:extLst>
                    <a:ext uri="{FF2B5EF4-FFF2-40B4-BE49-F238E27FC236}">
                      <a16:creationId xmlns:a16="http://schemas.microsoft.com/office/drawing/2014/main" id="{8DE75AC1-0AE7-4DCF-B371-7F50E1CB4493}"/>
                    </a:ext>
                  </a:extLst>
                </p:cNvPr>
                <p:cNvPicPr/>
                <p:nvPr/>
              </p:nvPicPr>
              <p:blipFill>
                <a:blip r:embed="rId136"/>
                <a:stretch>
                  <a:fillRect/>
                </a:stretch>
              </p:blipFill>
              <p:spPr>
                <a:xfrm>
                  <a:off x="9718635" y="5999745"/>
                  <a:ext cx="141840" cy="156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7">
              <p14:nvContentPartPr>
                <p14:cNvPr id="135" name="Ink 134">
                  <a:extLst>
                    <a:ext uri="{FF2B5EF4-FFF2-40B4-BE49-F238E27FC236}">
                      <a16:creationId xmlns:a16="http://schemas.microsoft.com/office/drawing/2014/main" id="{AED22212-9B01-4DFB-865D-2269C57026FA}"/>
                    </a:ext>
                  </a:extLst>
                </p14:cNvPr>
                <p14:cNvContentPartPr/>
                <p14:nvPr/>
              </p14:nvContentPartPr>
              <p14:xfrm>
                <a:off x="10045515" y="5982105"/>
                <a:ext cx="11880" cy="228600"/>
              </p14:xfrm>
            </p:contentPart>
          </mc:Choice>
          <mc:Fallback xmlns="">
            <p:pic>
              <p:nvPicPr>
                <p:cNvPr id="135" name="Ink 134">
                  <a:extLst>
                    <a:ext uri="{FF2B5EF4-FFF2-40B4-BE49-F238E27FC236}">
                      <a16:creationId xmlns:a16="http://schemas.microsoft.com/office/drawing/2014/main" id="{AED22212-9B01-4DFB-865D-2269C57026FA}"/>
                    </a:ext>
                  </a:extLst>
                </p:cNvPr>
                <p:cNvPicPr/>
                <p:nvPr/>
              </p:nvPicPr>
              <p:blipFill>
                <a:blip r:embed="rId138"/>
                <a:stretch>
                  <a:fillRect/>
                </a:stretch>
              </p:blipFill>
              <p:spPr>
                <a:xfrm>
                  <a:off x="10027875" y="5964105"/>
                  <a:ext cx="47520" cy="264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9">
              <p14:nvContentPartPr>
                <p14:cNvPr id="136" name="Ink 135">
                  <a:extLst>
                    <a:ext uri="{FF2B5EF4-FFF2-40B4-BE49-F238E27FC236}">
                      <a16:creationId xmlns:a16="http://schemas.microsoft.com/office/drawing/2014/main" id="{99F1FE9D-673F-4308-8FA5-C2E77172B75A}"/>
                    </a:ext>
                  </a:extLst>
                </p14:cNvPr>
                <p14:cNvContentPartPr/>
                <p14:nvPr/>
              </p14:nvContentPartPr>
              <p14:xfrm>
                <a:off x="9913035" y="6054825"/>
                <a:ext cx="495720" cy="130320"/>
              </p14:xfrm>
            </p:contentPart>
          </mc:Choice>
          <mc:Fallback xmlns="">
            <p:pic>
              <p:nvPicPr>
                <p:cNvPr id="136" name="Ink 135">
                  <a:extLst>
                    <a:ext uri="{FF2B5EF4-FFF2-40B4-BE49-F238E27FC236}">
                      <a16:creationId xmlns:a16="http://schemas.microsoft.com/office/drawing/2014/main" id="{99F1FE9D-673F-4308-8FA5-C2E77172B75A}"/>
                    </a:ext>
                  </a:extLst>
                </p:cNvPr>
                <p:cNvPicPr/>
                <p:nvPr/>
              </p:nvPicPr>
              <p:blipFill>
                <a:blip r:embed="rId140"/>
                <a:stretch>
                  <a:fillRect/>
                </a:stretch>
              </p:blipFill>
              <p:spPr>
                <a:xfrm>
                  <a:off x="9895035" y="6037185"/>
                  <a:ext cx="531360" cy="165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1">
              <p14:nvContentPartPr>
                <p14:cNvPr id="138" name="Ink 137">
                  <a:extLst>
                    <a:ext uri="{FF2B5EF4-FFF2-40B4-BE49-F238E27FC236}">
                      <a16:creationId xmlns:a16="http://schemas.microsoft.com/office/drawing/2014/main" id="{0C651BB7-1B09-4BBC-89C3-309CE0AD57B2}"/>
                    </a:ext>
                  </a:extLst>
                </p14:cNvPr>
                <p14:cNvContentPartPr/>
                <p14:nvPr/>
              </p14:nvContentPartPr>
              <p14:xfrm>
                <a:off x="10536915" y="6004065"/>
                <a:ext cx="148320" cy="207720"/>
              </p14:xfrm>
            </p:contentPart>
          </mc:Choice>
          <mc:Fallback xmlns="">
            <p:pic>
              <p:nvPicPr>
                <p:cNvPr id="138" name="Ink 137">
                  <a:extLst>
                    <a:ext uri="{FF2B5EF4-FFF2-40B4-BE49-F238E27FC236}">
                      <a16:creationId xmlns:a16="http://schemas.microsoft.com/office/drawing/2014/main" id="{0C651BB7-1B09-4BBC-89C3-309CE0AD57B2}"/>
                    </a:ext>
                  </a:extLst>
                </p:cNvPr>
                <p:cNvPicPr/>
                <p:nvPr/>
              </p:nvPicPr>
              <p:blipFill>
                <a:blip r:embed="rId142"/>
                <a:stretch>
                  <a:fillRect/>
                </a:stretch>
              </p:blipFill>
              <p:spPr>
                <a:xfrm>
                  <a:off x="10518915" y="5986425"/>
                  <a:ext cx="183960" cy="243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3">
              <p14:nvContentPartPr>
                <p14:cNvPr id="139" name="Ink 138">
                  <a:extLst>
                    <a:ext uri="{FF2B5EF4-FFF2-40B4-BE49-F238E27FC236}">
                      <a16:creationId xmlns:a16="http://schemas.microsoft.com/office/drawing/2014/main" id="{A021CAA9-945D-479E-B743-E716E7D51181}"/>
                    </a:ext>
                  </a:extLst>
                </p14:cNvPr>
                <p14:cNvContentPartPr/>
                <p14:nvPr/>
              </p14:nvContentPartPr>
              <p14:xfrm>
                <a:off x="10719435" y="6053385"/>
                <a:ext cx="52200" cy="101520"/>
              </p14:xfrm>
            </p:contentPart>
          </mc:Choice>
          <mc:Fallback xmlns="">
            <p:pic>
              <p:nvPicPr>
                <p:cNvPr id="139" name="Ink 138">
                  <a:extLst>
                    <a:ext uri="{FF2B5EF4-FFF2-40B4-BE49-F238E27FC236}">
                      <a16:creationId xmlns:a16="http://schemas.microsoft.com/office/drawing/2014/main" id="{A021CAA9-945D-479E-B743-E716E7D51181}"/>
                    </a:ext>
                  </a:extLst>
                </p:cNvPr>
                <p:cNvPicPr/>
                <p:nvPr/>
              </p:nvPicPr>
              <p:blipFill>
                <a:blip r:embed="rId144"/>
                <a:stretch>
                  <a:fillRect/>
                </a:stretch>
              </p:blipFill>
              <p:spPr>
                <a:xfrm>
                  <a:off x="10701435" y="6035385"/>
                  <a:ext cx="87840" cy="137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5">
              <p14:nvContentPartPr>
                <p14:cNvPr id="140" name="Ink 139">
                  <a:extLst>
                    <a:ext uri="{FF2B5EF4-FFF2-40B4-BE49-F238E27FC236}">
                      <a16:creationId xmlns:a16="http://schemas.microsoft.com/office/drawing/2014/main" id="{3EF35FAC-DB8C-4803-A1E5-FB1AC116BC86}"/>
                    </a:ext>
                  </a:extLst>
                </p14:cNvPr>
                <p14:cNvContentPartPr/>
                <p14:nvPr/>
              </p14:nvContentPartPr>
              <p14:xfrm>
                <a:off x="10742475" y="5980305"/>
                <a:ext cx="351720" cy="169920"/>
              </p14:xfrm>
            </p:contentPart>
          </mc:Choice>
          <mc:Fallback xmlns="">
            <p:pic>
              <p:nvPicPr>
                <p:cNvPr id="140" name="Ink 139">
                  <a:extLst>
                    <a:ext uri="{FF2B5EF4-FFF2-40B4-BE49-F238E27FC236}">
                      <a16:creationId xmlns:a16="http://schemas.microsoft.com/office/drawing/2014/main" id="{3EF35FAC-DB8C-4803-A1E5-FB1AC116BC86}"/>
                    </a:ext>
                  </a:extLst>
                </p:cNvPr>
                <p:cNvPicPr/>
                <p:nvPr/>
              </p:nvPicPr>
              <p:blipFill>
                <a:blip r:embed="rId146"/>
                <a:stretch>
                  <a:fillRect/>
                </a:stretch>
              </p:blipFill>
              <p:spPr>
                <a:xfrm>
                  <a:off x="10724475" y="5962305"/>
                  <a:ext cx="387360" cy="205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7">
              <p14:nvContentPartPr>
                <p14:cNvPr id="141" name="Ink 140">
                  <a:extLst>
                    <a:ext uri="{FF2B5EF4-FFF2-40B4-BE49-F238E27FC236}">
                      <a16:creationId xmlns:a16="http://schemas.microsoft.com/office/drawing/2014/main" id="{EE25A43D-FBAE-409F-A91C-6CEE7CDFD9DA}"/>
                    </a:ext>
                  </a:extLst>
                </p14:cNvPr>
                <p14:cNvContentPartPr/>
                <p14:nvPr/>
              </p14:nvContentPartPr>
              <p14:xfrm>
                <a:off x="11112555" y="5986425"/>
                <a:ext cx="50760" cy="160200"/>
              </p14:xfrm>
            </p:contentPart>
          </mc:Choice>
          <mc:Fallback xmlns="">
            <p:pic>
              <p:nvPicPr>
                <p:cNvPr id="141" name="Ink 140">
                  <a:extLst>
                    <a:ext uri="{FF2B5EF4-FFF2-40B4-BE49-F238E27FC236}">
                      <a16:creationId xmlns:a16="http://schemas.microsoft.com/office/drawing/2014/main" id="{EE25A43D-FBAE-409F-A91C-6CEE7CDFD9DA}"/>
                    </a:ext>
                  </a:extLst>
                </p:cNvPr>
                <p:cNvPicPr/>
                <p:nvPr/>
              </p:nvPicPr>
              <p:blipFill>
                <a:blip r:embed="rId148"/>
                <a:stretch>
                  <a:fillRect/>
                </a:stretch>
              </p:blipFill>
              <p:spPr>
                <a:xfrm>
                  <a:off x="11094555" y="5968785"/>
                  <a:ext cx="86400" cy="195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9">
              <p14:nvContentPartPr>
                <p14:cNvPr id="142" name="Ink 141">
                  <a:extLst>
                    <a:ext uri="{FF2B5EF4-FFF2-40B4-BE49-F238E27FC236}">
                      <a16:creationId xmlns:a16="http://schemas.microsoft.com/office/drawing/2014/main" id="{85D833F4-1714-414E-8402-B66DF4114F9F}"/>
                    </a:ext>
                  </a:extLst>
                </p14:cNvPr>
                <p14:cNvContentPartPr/>
                <p14:nvPr/>
              </p14:nvContentPartPr>
              <p14:xfrm>
                <a:off x="11199675" y="6014865"/>
                <a:ext cx="42120" cy="176400"/>
              </p14:xfrm>
            </p:contentPart>
          </mc:Choice>
          <mc:Fallback xmlns="">
            <p:pic>
              <p:nvPicPr>
                <p:cNvPr id="142" name="Ink 141">
                  <a:extLst>
                    <a:ext uri="{FF2B5EF4-FFF2-40B4-BE49-F238E27FC236}">
                      <a16:creationId xmlns:a16="http://schemas.microsoft.com/office/drawing/2014/main" id="{85D833F4-1714-414E-8402-B66DF4114F9F}"/>
                    </a:ext>
                  </a:extLst>
                </p:cNvPr>
                <p:cNvPicPr/>
                <p:nvPr/>
              </p:nvPicPr>
              <p:blipFill>
                <a:blip r:embed="rId150"/>
                <a:stretch>
                  <a:fillRect/>
                </a:stretch>
              </p:blipFill>
              <p:spPr>
                <a:xfrm>
                  <a:off x="11181675" y="5997225"/>
                  <a:ext cx="77760" cy="212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1">
              <p14:nvContentPartPr>
                <p14:cNvPr id="143" name="Ink 142">
                  <a:extLst>
                    <a:ext uri="{FF2B5EF4-FFF2-40B4-BE49-F238E27FC236}">
                      <a16:creationId xmlns:a16="http://schemas.microsoft.com/office/drawing/2014/main" id="{48F2BFF3-673B-4725-9D9C-08410830BDF1}"/>
                    </a:ext>
                  </a:extLst>
                </p14:cNvPr>
                <p14:cNvContentPartPr/>
                <p14:nvPr/>
              </p14:nvContentPartPr>
              <p14:xfrm>
                <a:off x="11286075" y="6056265"/>
                <a:ext cx="111960" cy="108360"/>
              </p14:xfrm>
            </p:contentPart>
          </mc:Choice>
          <mc:Fallback xmlns="">
            <p:pic>
              <p:nvPicPr>
                <p:cNvPr id="143" name="Ink 142">
                  <a:extLst>
                    <a:ext uri="{FF2B5EF4-FFF2-40B4-BE49-F238E27FC236}">
                      <a16:creationId xmlns:a16="http://schemas.microsoft.com/office/drawing/2014/main" id="{48F2BFF3-673B-4725-9D9C-08410830BDF1}"/>
                    </a:ext>
                  </a:extLst>
                </p:cNvPr>
                <p:cNvPicPr/>
                <p:nvPr/>
              </p:nvPicPr>
              <p:blipFill>
                <a:blip r:embed="rId152"/>
                <a:stretch>
                  <a:fillRect/>
                </a:stretch>
              </p:blipFill>
              <p:spPr>
                <a:xfrm>
                  <a:off x="11268075" y="6038625"/>
                  <a:ext cx="147600" cy="144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3">
              <p14:nvContentPartPr>
                <p14:cNvPr id="144" name="Ink 143">
                  <a:extLst>
                    <a:ext uri="{FF2B5EF4-FFF2-40B4-BE49-F238E27FC236}">
                      <a16:creationId xmlns:a16="http://schemas.microsoft.com/office/drawing/2014/main" id="{E4AA261E-DC54-4333-AB0E-841E0651C711}"/>
                    </a:ext>
                  </a:extLst>
                </p14:cNvPr>
                <p14:cNvContentPartPr/>
                <p14:nvPr/>
              </p14:nvContentPartPr>
              <p14:xfrm>
                <a:off x="11453475" y="6084345"/>
                <a:ext cx="146880" cy="66240"/>
              </p14:xfrm>
            </p:contentPart>
          </mc:Choice>
          <mc:Fallback xmlns="">
            <p:pic>
              <p:nvPicPr>
                <p:cNvPr id="144" name="Ink 143">
                  <a:extLst>
                    <a:ext uri="{FF2B5EF4-FFF2-40B4-BE49-F238E27FC236}">
                      <a16:creationId xmlns:a16="http://schemas.microsoft.com/office/drawing/2014/main" id="{E4AA261E-DC54-4333-AB0E-841E0651C711}"/>
                    </a:ext>
                  </a:extLst>
                </p:cNvPr>
                <p:cNvPicPr/>
                <p:nvPr/>
              </p:nvPicPr>
              <p:blipFill>
                <a:blip r:embed="rId154"/>
                <a:stretch>
                  <a:fillRect/>
                </a:stretch>
              </p:blipFill>
              <p:spPr>
                <a:xfrm>
                  <a:off x="11435835" y="6066705"/>
                  <a:ext cx="182520" cy="101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5">
              <p14:nvContentPartPr>
                <p14:cNvPr id="145" name="Ink 144">
                  <a:extLst>
                    <a:ext uri="{FF2B5EF4-FFF2-40B4-BE49-F238E27FC236}">
                      <a16:creationId xmlns:a16="http://schemas.microsoft.com/office/drawing/2014/main" id="{06D50525-87B2-4A66-878D-FABAFCC62A6B}"/>
                    </a:ext>
                  </a:extLst>
                </p14:cNvPr>
                <p14:cNvContentPartPr/>
                <p14:nvPr/>
              </p14:nvContentPartPr>
              <p14:xfrm>
                <a:off x="11511795" y="5936025"/>
                <a:ext cx="203760" cy="242640"/>
              </p14:xfrm>
            </p:contentPart>
          </mc:Choice>
          <mc:Fallback xmlns="">
            <p:pic>
              <p:nvPicPr>
                <p:cNvPr id="145" name="Ink 144">
                  <a:extLst>
                    <a:ext uri="{FF2B5EF4-FFF2-40B4-BE49-F238E27FC236}">
                      <a16:creationId xmlns:a16="http://schemas.microsoft.com/office/drawing/2014/main" id="{06D50525-87B2-4A66-878D-FABAFCC62A6B}"/>
                    </a:ext>
                  </a:extLst>
                </p:cNvPr>
                <p:cNvPicPr/>
                <p:nvPr/>
              </p:nvPicPr>
              <p:blipFill>
                <a:blip r:embed="rId156"/>
                <a:stretch>
                  <a:fillRect/>
                </a:stretch>
              </p:blipFill>
              <p:spPr>
                <a:xfrm>
                  <a:off x="11494155" y="5918025"/>
                  <a:ext cx="239400" cy="278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7">
              <p14:nvContentPartPr>
                <p14:cNvPr id="147" name="Ink 146">
                  <a:extLst>
                    <a:ext uri="{FF2B5EF4-FFF2-40B4-BE49-F238E27FC236}">
                      <a16:creationId xmlns:a16="http://schemas.microsoft.com/office/drawing/2014/main" id="{9674D673-B5A2-4FAD-86B4-F679D2850750}"/>
                    </a:ext>
                  </a:extLst>
                </p14:cNvPr>
                <p14:cNvContentPartPr/>
                <p14:nvPr/>
              </p14:nvContentPartPr>
              <p14:xfrm>
                <a:off x="11671995" y="6072465"/>
                <a:ext cx="250560" cy="210240"/>
              </p14:xfrm>
            </p:contentPart>
          </mc:Choice>
          <mc:Fallback xmlns="">
            <p:pic>
              <p:nvPicPr>
                <p:cNvPr id="147" name="Ink 146">
                  <a:extLst>
                    <a:ext uri="{FF2B5EF4-FFF2-40B4-BE49-F238E27FC236}">
                      <a16:creationId xmlns:a16="http://schemas.microsoft.com/office/drawing/2014/main" id="{9674D673-B5A2-4FAD-86B4-F679D2850750}"/>
                    </a:ext>
                  </a:extLst>
                </p:cNvPr>
                <p:cNvPicPr/>
                <p:nvPr/>
              </p:nvPicPr>
              <p:blipFill>
                <a:blip r:embed="rId158"/>
                <a:stretch>
                  <a:fillRect/>
                </a:stretch>
              </p:blipFill>
              <p:spPr>
                <a:xfrm>
                  <a:off x="11654355" y="6054825"/>
                  <a:ext cx="286200" cy="24588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159">
            <p14:nvContentPartPr>
              <p14:cNvPr id="149" name="Ink 148">
                <a:extLst>
                  <a:ext uri="{FF2B5EF4-FFF2-40B4-BE49-F238E27FC236}">
                    <a16:creationId xmlns:a16="http://schemas.microsoft.com/office/drawing/2014/main" id="{D6A48F0D-5297-4751-8D77-95F350D035D4}"/>
                  </a:ext>
                </a:extLst>
              </p14:cNvPr>
              <p14:cNvContentPartPr/>
              <p14:nvPr/>
            </p14:nvContentPartPr>
            <p14:xfrm>
              <a:off x="7378995" y="523785"/>
              <a:ext cx="648000" cy="221400"/>
            </p14:xfrm>
          </p:contentPart>
        </mc:Choice>
        <mc:Fallback xmlns="">
          <p:pic>
            <p:nvPicPr>
              <p:cNvPr id="149" name="Ink 148">
                <a:extLst>
                  <a:ext uri="{FF2B5EF4-FFF2-40B4-BE49-F238E27FC236}">
                    <a16:creationId xmlns:a16="http://schemas.microsoft.com/office/drawing/2014/main" id="{D6A48F0D-5297-4751-8D77-95F350D035D4}"/>
                  </a:ext>
                </a:extLst>
              </p:cNvPr>
              <p:cNvPicPr/>
              <p:nvPr/>
            </p:nvPicPr>
            <p:blipFill>
              <a:blip r:embed="rId160"/>
              <a:stretch>
                <a:fillRect/>
              </a:stretch>
            </p:blipFill>
            <p:spPr>
              <a:xfrm>
                <a:off x="7361355" y="505785"/>
                <a:ext cx="683640" cy="257040"/>
              </a:xfrm>
              <a:prstGeom prst="rect">
                <a:avLst/>
              </a:prstGeom>
            </p:spPr>
          </p:pic>
        </mc:Fallback>
      </mc:AlternateContent>
      <p:grpSp>
        <p:nvGrpSpPr>
          <p:cNvPr id="161" name="Group 160">
            <a:extLst>
              <a:ext uri="{FF2B5EF4-FFF2-40B4-BE49-F238E27FC236}">
                <a16:creationId xmlns:a16="http://schemas.microsoft.com/office/drawing/2014/main" id="{9AC67B6F-2700-4BE5-A0F7-9A55D21CA019}"/>
              </a:ext>
            </a:extLst>
          </p:cNvPr>
          <p:cNvGrpSpPr/>
          <p:nvPr/>
        </p:nvGrpSpPr>
        <p:grpSpPr>
          <a:xfrm>
            <a:off x="8568075" y="485265"/>
            <a:ext cx="1390680" cy="357120"/>
            <a:chOff x="8568075" y="485265"/>
            <a:chExt cx="1390680" cy="3571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61">
              <p14:nvContentPartPr>
                <p14:cNvPr id="150" name="Ink 149">
                  <a:extLst>
                    <a:ext uri="{FF2B5EF4-FFF2-40B4-BE49-F238E27FC236}">
                      <a16:creationId xmlns:a16="http://schemas.microsoft.com/office/drawing/2014/main" id="{D4E52E31-3854-440E-89B7-4DE514C79FA3}"/>
                    </a:ext>
                  </a:extLst>
                </p14:cNvPr>
                <p14:cNvContentPartPr/>
                <p14:nvPr/>
              </p14:nvContentPartPr>
              <p14:xfrm>
                <a:off x="8597595" y="543945"/>
                <a:ext cx="10440" cy="274680"/>
              </p14:xfrm>
            </p:contentPart>
          </mc:Choice>
          <mc:Fallback xmlns="">
            <p:pic>
              <p:nvPicPr>
                <p:cNvPr id="150" name="Ink 149">
                  <a:extLst>
                    <a:ext uri="{FF2B5EF4-FFF2-40B4-BE49-F238E27FC236}">
                      <a16:creationId xmlns:a16="http://schemas.microsoft.com/office/drawing/2014/main" id="{D4E52E31-3854-440E-89B7-4DE514C79FA3}"/>
                    </a:ext>
                  </a:extLst>
                </p:cNvPr>
                <p:cNvPicPr/>
                <p:nvPr/>
              </p:nvPicPr>
              <p:blipFill>
                <a:blip r:embed="rId162"/>
                <a:stretch>
                  <a:fillRect/>
                </a:stretch>
              </p:blipFill>
              <p:spPr>
                <a:xfrm>
                  <a:off x="8579595" y="526305"/>
                  <a:ext cx="46080" cy="310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3">
              <p14:nvContentPartPr>
                <p14:cNvPr id="151" name="Ink 150">
                  <a:extLst>
                    <a:ext uri="{FF2B5EF4-FFF2-40B4-BE49-F238E27FC236}">
                      <a16:creationId xmlns:a16="http://schemas.microsoft.com/office/drawing/2014/main" id="{4A761A91-5FB8-4C40-A3A6-33F6C18AC8E7}"/>
                    </a:ext>
                  </a:extLst>
                </p14:cNvPr>
                <p14:cNvContentPartPr/>
                <p14:nvPr/>
              </p14:nvContentPartPr>
              <p14:xfrm>
                <a:off x="8568075" y="485265"/>
                <a:ext cx="180720" cy="294120"/>
              </p14:xfrm>
            </p:contentPart>
          </mc:Choice>
          <mc:Fallback xmlns="">
            <p:pic>
              <p:nvPicPr>
                <p:cNvPr id="151" name="Ink 150">
                  <a:extLst>
                    <a:ext uri="{FF2B5EF4-FFF2-40B4-BE49-F238E27FC236}">
                      <a16:creationId xmlns:a16="http://schemas.microsoft.com/office/drawing/2014/main" id="{4A761A91-5FB8-4C40-A3A6-33F6C18AC8E7}"/>
                    </a:ext>
                  </a:extLst>
                </p:cNvPr>
                <p:cNvPicPr/>
                <p:nvPr/>
              </p:nvPicPr>
              <p:blipFill>
                <a:blip r:embed="rId164"/>
                <a:stretch>
                  <a:fillRect/>
                </a:stretch>
              </p:blipFill>
              <p:spPr>
                <a:xfrm>
                  <a:off x="8550075" y="467265"/>
                  <a:ext cx="216360" cy="329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5">
              <p14:nvContentPartPr>
                <p14:cNvPr id="152" name="Ink 151">
                  <a:extLst>
                    <a:ext uri="{FF2B5EF4-FFF2-40B4-BE49-F238E27FC236}">
                      <a16:creationId xmlns:a16="http://schemas.microsoft.com/office/drawing/2014/main" id="{211CA505-768A-406E-89E7-2E78C9F957EB}"/>
                    </a:ext>
                  </a:extLst>
                </p14:cNvPr>
                <p14:cNvContentPartPr/>
                <p14:nvPr/>
              </p14:nvContentPartPr>
              <p14:xfrm>
                <a:off x="8693355" y="605145"/>
                <a:ext cx="859320" cy="237240"/>
              </p14:xfrm>
            </p:contentPart>
          </mc:Choice>
          <mc:Fallback xmlns="">
            <p:pic>
              <p:nvPicPr>
                <p:cNvPr id="152" name="Ink 151">
                  <a:extLst>
                    <a:ext uri="{FF2B5EF4-FFF2-40B4-BE49-F238E27FC236}">
                      <a16:creationId xmlns:a16="http://schemas.microsoft.com/office/drawing/2014/main" id="{211CA505-768A-406E-89E7-2E78C9F957EB}"/>
                    </a:ext>
                  </a:extLst>
                </p:cNvPr>
                <p:cNvPicPr/>
                <p:nvPr/>
              </p:nvPicPr>
              <p:blipFill>
                <a:blip r:embed="rId166"/>
                <a:stretch>
                  <a:fillRect/>
                </a:stretch>
              </p:blipFill>
              <p:spPr>
                <a:xfrm>
                  <a:off x="8675355" y="587145"/>
                  <a:ext cx="894960" cy="272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7">
              <p14:nvContentPartPr>
                <p14:cNvPr id="153" name="Ink 152">
                  <a:extLst>
                    <a:ext uri="{FF2B5EF4-FFF2-40B4-BE49-F238E27FC236}">
                      <a16:creationId xmlns:a16="http://schemas.microsoft.com/office/drawing/2014/main" id="{28E48AAF-BF3C-4485-8404-60A01DB2F51D}"/>
                    </a:ext>
                  </a:extLst>
                </p14:cNvPr>
                <p14:cNvContentPartPr/>
                <p14:nvPr/>
              </p14:nvContentPartPr>
              <p14:xfrm>
                <a:off x="9636555" y="670665"/>
                <a:ext cx="101520" cy="109080"/>
              </p14:xfrm>
            </p:contentPart>
          </mc:Choice>
          <mc:Fallback xmlns="">
            <p:pic>
              <p:nvPicPr>
                <p:cNvPr id="153" name="Ink 152">
                  <a:extLst>
                    <a:ext uri="{FF2B5EF4-FFF2-40B4-BE49-F238E27FC236}">
                      <a16:creationId xmlns:a16="http://schemas.microsoft.com/office/drawing/2014/main" id="{28E48AAF-BF3C-4485-8404-60A01DB2F51D}"/>
                    </a:ext>
                  </a:extLst>
                </p:cNvPr>
                <p:cNvPicPr/>
                <p:nvPr/>
              </p:nvPicPr>
              <p:blipFill>
                <a:blip r:embed="rId168"/>
                <a:stretch>
                  <a:fillRect/>
                </a:stretch>
              </p:blipFill>
              <p:spPr>
                <a:xfrm>
                  <a:off x="9618555" y="653025"/>
                  <a:ext cx="137160" cy="144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9">
              <p14:nvContentPartPr>
                <p14:cNvPr id="154" name="Ink 153">
                  <a:extLst>
                    <a:ext uri="{FF2B5EF4-FFF2-40B4-BE49-F238E27FC236}">
                      <a16:creationId xmlns:a16="http://schemas.microsoft.com/office/drawing/2014/main" id="{BE62F400-9CF1-434B-A441-D725A4081D63}"/>
                    </a:ext>
                  </a:extLst>
                </p14:cNvPr>
                <p14:cNvContentPartPr/>
                <p14:nvPr/>
              </p14:nvContentPartPr>
              <p14:xfrm>
                <a:off x="9754635" y="627105"/>
                <a:ext cx="204120" cy="150840"/>
              </p14:xfrm>
            </p:contentPart>
          </mc:Choice>
          <mc:Fallback xmlns="">
            <p:pic>
              <p:nvPicPr>
                <p:cNvPr id="154" name="Ink 153">
                  <a:extLst>
                    <a:ext uri="{FF2B5EF4-FFF2-40B4-BE49-F238E27FC236}">
                      <a16:creationId xmlns:a16="http://schemas.microsoft.com/office/drawing/2014/main" id="{BE62F400-9CF1-434B-A441-D725A4081D63}"/>
                    </a:ext>
                  </a:extLst>
                </p:cNvPr>
                <p:cNvPicPr/>
                <p:nvPr/>
              </p:nvPicPr>
              <p:blipFill>
                <a:blip r:embed="rId170"/>
                <a:stretch>
                  <a:fillRect/>
                </a:stretch>
              </p:blipFill>
              <p:spPr>
                <a:xfrm>
                  <a:off x="9736635" y="609105"/>
                  <a:ext cx="239760" cy="1864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60" name="Group 159">
            <a:extLst>
              <a:ext uri="{FF2B5EF4-FFF2-40B4-BE49-F238E27FC236}">
                <a16:creationId xmlns:a16="http://schemas.microsoft.com/office/drawing/2014/main" id="{F6D5EA00-53A3-4B8D-A534-454CEE8426DC}"/>
              </a:ext>
            </a:extLst>
          </p:cNvPr>
          <p:cNvGrpSpPr/>
          <p:nvPr/>
        </p:nvGrpSpPr>
        <p:grpSpPr>
          <a:xfrm>
            <a:off x="10304355" y="440625"/>
            <a:ext cx="1717560" cy="360000"/>
            <a:chOff x="10304355" y="440625"/>
            <a:chExt cx="1717560" cy="3600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71">
              <p14:nvContentPartPr>
                <p14:cNvPr id="155" name="Ink 154">
                  <a:extLst>
                    <a:ext uri="{FF2B5EF4-FFF2-40B4-BE49-F238E27FC236}">
                      <a16:creationId xmlns:a16="http://schemas.microsoft.com/office/drawing/2014/main" id="{BAE4DA0C-8CA8-456B-8063-F584ADC1DCC9}"/>
                    </a:ext>
                  </a:extLst>
                </p14:cNvPr>
                <p14:cNvContentPartPr/>
                <p14:nvPr/>
              </p14:nvContentPartPr>
              <p14:xfrm>
                <a:off x="10304355" y="440625"/>
                <a:ext cx="1151640" cy="360000"/>
              </p14:xfrm>
            </p:contentPart>
          </mc:Choice>
          <mc:Fallback xmlns="">
            <p:pic>
              <p:nvPicPr>
                <p:cNvPr id="155" name="Ink 154">
                  <a:extLst>
                    <a:ext uri="{FF2B5EF4-FFF2-40B4-BE49-F238E27FC236}">
                      <a16:creationId xmlns:a16="http://schemas.microsoft.com/office/drawing/2014/main" id="{BAE4DA0C-8CA8-456B-8063-F584ADC1DCC9}"/>
                    </a:ext>
                  </a:extLst>
                </p:cNvPr>
                <p:cNvPicPr/>
                <p:nvPr/>
              </p:nvPicPr>
              <p:blipFill>
                <a:blip r:embed="rId172"/>
                <a:stretch>
                  <a:fillRect/>
                </a:stretch>
              </p:blipFill>
              <p:spPr>
                <a:xfrm>
                  <a:off x="10286355" y="422985"/>
                  <a:ext cx="1187280" cy="395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3">
              <p14:nvContentPartPr>
                <p14:cNvPr id="156" name="Ink 155">
                  <a:extLst>
                    <a:ext uri="{FF2B5EF4-FFF2-40B4-BE49-F238E27FC236}">
                      <a16:creationId xmlns:a16="http://schemas.microsoft.com/office/drawing/2014/main" id="{32421429-AA68-458C-B93F-97AD3A64C362}"/>
                    </a:ext>
                  </a:extLst>
                </p14:cNvPr>
                <p14:cNvContentPartPr/>
                <p14:nvPr/>
              </p14:nvContentPartPr>
              <p14:xfrm>
                <a:off x="11455635" y="623145"/>
                <a:ext cx="195480" cy="153720"/>
              </p14:xfrm>
            </p:contentPart>
          </mc:Choice>
          <mc:Fallback xmlns="">
            <p:pic>
              <p:nvPicPr>
                <p:cNvPr id="156" name="Ink 155">
                  <a:extLst>
                    <a:ext uri="{FF2B5EF4-FFF2-40B4-BE49-F238E27FC236}">
                      <a16:creationId xmlns:a16="http://schemas.microsoft.com/office/drawing/2014/main" id="{32421429-AA68-458C-B93F-97AD3A64C362}"/>
                    </a:ext>
                  </a:extLst>
                </p:cNvPr>
                <p:cNvPicPr/>
                <p:nvPr/>
              </p:nvPicPr>
              <p:blipFill>
                <a:blip r:embed="rId174"/>
                <a:stretch>
                  <a:fillRect/>
                </a:stretch>
              </p:blipFill>
              <p:spPr>
                <a:xfrm>
                  <a:off x="11437995" y="605145"/>
                  <a:ext cx="231120" cy="189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5">
              <p14:nvContentPartPr>
                <p14:cNvPr id="157" name="Ink 156">
                  <a:extLst>
                    <a:ext uri="{FF2B5EF4-FFF2-40B4-BE49-F238E27FC236}">
                      <a16:creationId xmlns:a16="http://schemas.microsoft.com/office/drawing/2014/main" id="{B0DC711E-DC27-4C9F-8FC5-D74C5FEBD612}"/>
                    </a:ext>
                  </a:extLst>
                </p14:cNvPr>
                <p14:cNvContentPartPr/>
                <p14:nvPr/>
              </p14:nvContentPartPr>
              <p14:xfrm>
                <a:off x="11591355" y="549345"/>
                <a:ext cx="208440" cy="164520"/>
              </p14:xfrm>
            </p:contentPart>
          </mc:Choice>
          <mc:Fallback xmlns="">
            <p:pic>
              <p:nvPicPr>
                <p:cNvPr id="157" name="Ink 156">
                  <a:extLst>
                    <a:ext uri="{FF2B5EF4-FFF2-40B4-BE49-F238E27FC236}">
                      <a16:creationId xmlns:a16="http://schemas.microsoft.com/office/drawing/2014/main" id="{B0DC711E-DC27-4C9F-8FC5-D74C5FEBD612}"/>
                    </a:ext>
                  </a:extLst>
                </p:cNvPr>
                <p:cNvPicPr/>
                <p:nvPr/>
              </p:nvPicPr>
              <p:blipFill>
                <a:blip r:embed="rId176"/>
                <a:stretch>
                  <a:fillRect/>
                </a:stretch>
              </p:blipFill>
              <p:spPr>
                <a:xfrm>
                  <a:off x="11573715" y="531705"/>
                  <a:ext cx="244080" cy="200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7">
              <p14:nvContentPartPr>
                <p14:cNvPr id="158" name="Ink 157">
                  <a:extLst>
                    <a:ext uri="{FF2B5EF4-FFF2-40B4-BE49-F238E27FC236}">
                      <a16:creationId xmlns:a16="http://schemas.microsoft.com/office/drawing/2014/main" id="{82B53460-6941-4A14-B7F4-47100867659A}"/>
                    </a:ext>
                  </a:extLst>
                </p14:cNvPr>
                <p14:cNvContentPartPr/>
                <p14:nvPr/>
              </p14:nvContentPartPr>
              <p14:xfrm>
                <a:off x="11891955" y="587145"/>
                <a:ext cx="129960" cy="194040"/>
              </p14:xfrm>
            </p:contentPart>
          </mc:Choice>
          <mc:Fallback xmlns="">
            <p:pic>
              <p:nvPicPr>
                <p:cNvPr id="158" name="Ink 157">
                  <a:extLst>
                    <a:ext uri="{FF2B5EF4-FFF2-40B4-BE49-F238E27FC236}">
                      <a16:creationId xmlns:a16="http://schemas.microsoft.com/office/drawing/2014/main" id="{82B53460-6941-4A14-B7F4-47100867659A}"/>
                    </a:ext>
                  </a:extLst>
                </p:cNvPr>
                <p:cNvPicPr/>
                <p:nvPr/>
              </p:nvPicPr>
              <p:blipFill>
                <a:blip r:embed="rId178"/>
                <a:stretch>
                  <a:fillRect/>
                </a:stretch>
              </p:blipFill>
              <p:spPr>
                <a:xfrm>
                  <a:off x="11874315" y="569145"/>
                  <a:ext cx="165600" cy="229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9">
              <p14:nvContentPartPr>
                <p14:cNvPr id="159" name="Ink 158">
                  <a:extLst>
                    <a:ext uri="{FF2B5EF4-FFF2-40B4-BE49-F238E27FC236}">
                      <a16:creationId xmlns:a16="http://schemas.microsoft.com/office/drawing/2014/main" id="{904C94D7-9FD1-4CA2-A690-12F526508A98}"/>
                    </a:ext>
                  </a:extLst>
                </p14:cNvPr>
                <p14:cNvContentPartPr/>
                <p14:nvPr/>
              </p14:nvContentPartPr>
              <p14:xfrm>
                <a:off x="11173035" y="641505"/>
                <a:ext cx="179640" cy="126000"/>
              </p14:xfrm>
            </p:contentPart>
          </mc:Choice>
          <mc:Fallback xmlns="">
            <p:pic>
              <p:nvPicPr>
                <p:cNvPr id="159" name="Ink 158">
                  <a:extLst>
                    <a:ext uri="{FF2B5EF4-FFF2-40B4-BE49-F238E27FC236}">
                      <a16:creationId xmlns:a16="http://schemas.microsoft.com/office/drawing/2014/main" id="{904C94D7-9FD1-4CA2-A690-12F526508A98}"/>
                    </a:ext>
                  </a:extLst>
                </p:cNvPr>
                <p:cNvPicPr/>
                <p:nvPr/>
              </p:nvPicPr>
              <p:blipFill>
                <a:blip r:embed="rId180"/>
                <a:stretch>
                  <a:fillRect/>
                </a:stretch>
              </p:blipFill>
              <p:spPr>
                <a:xfrm>
                  <a:off x="11155035" y="623865"/>
                  <a:ext cx="215280" cy="16164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22057387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04D3CEB-822D-4E1D-AAD3-FB9CEC833D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04D3CEB-822D-4E1D-AAD3-FB9CEC833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47B1C750-B1D7-4F20-95EB-EB29D6884C1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15457E9D-B168-4CE3-984C-9404FC4D20FD}"/>
              </a:ext>
            </a:extLst>
          </p:cNvPr>
          <p:cNvGrpSpPr/>
          <p:nvPr/>
        </p:nvGrpSpPr>
        <p:grpSpPr>
          <a:xfrm>
            <a:off x="9235875" y="1439625"/>
            <a:ext cx="2080080" cy="245160"/>
            <a:chOff x="9235875" y="1439625"/>
            <a:chExt cx="2080080" cy="2451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">
              <p14:nvContentPartPr>
                <p14:cNvPr id="13" name="Ink 12">
                  <a:extLst>
                    <a:ext uri="{FF2B5EF4-FFF2-40B4-BE49-F238E27FC236}">
                      <a16:creationId xmlns:a16="http://schemas.microsoft.com/office/drawing/2014/main" id="{9091DC39-CF16-4042-9D24-03910716CFEF}"/>
                    </a:ext>
                  </a:extLst>
                </p14:cNvPr>
                <p14:cNvContentPartPr/>
                <p14:nvPr/>
              </p14:nvContentPartPr>
              <p14:xfrm>
                <a:off x="9235875" y="1462305"/>
                <a:ext cx="27360" cy="199080"/>
              </p14:xfrm>
            </p:contentPart>
          </mc:Choice>
          <mc:Fallback xmlns="">
            <p:pic>
              <p:nvPicPr>
                <p:cNvPr id="13" name="Ink 12">
                  <a:extLst>
                    <a:ext uri="{FF2B5EF4-FFF2-40B4-BE49-F238E27FC236}">
                      <a16:creationId xmlns:a16="http://schemas.microsoft.com/office/drawing/2014/main" id="{9091DC39-CF16-4042-9D24-03910716CFEF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9217875" y="1444665"/>
                  <a:ext cx="63000" cy="234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">
              <p14:nvContentPartPr>
                <p14:cNvPr id="14" name="Ink 13">
                  <a:extLst>
                    <a:ext uri="{FF2B5EF4-FFF2-40B4-BE49-F238E27FC236}">
                      <a16:creationId xmlns:a16="http://schemas.microsoft.com/office/drawing/2014/main" id="{97BAF0AC-2C0D-458B-ACBB-CAA8619601A4}"/>
                    </a:ext>
                  </a:extLst>
                </p14:cNvPr>
                <p14:cNvContentPartPr/>
                <p14:nvPr/>
              </p14:nvContentPartPr>
              <p14:xfrm>
                <a:off x="9241275" y="1446105"/>
                <a:ext cx="149040" cy="203400"/>
              </p14:xfrm>
            </p:contentPart>
          </mc:Choice>
          <mc:Fallback xmlns="">
            <p:pic>
              <p:nvPicPr>
                <p:cNvPr id="14" name="Ink 13">
                  <a:extLst>
                    <a:ext uri="{FF2B5EF4-FFF2-40B4-BE49-F238E27FC236}">
                      <a16:creationId xmlns:a16="http://schemas.microsoft.com/office/drawing/2014/main" id="{97BAF0AC-2C0D-458B-ACBB-CAA8619601A4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9223275" y="1428105"/>
                  <a:ext cx="184680" cy="239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">
              <p14:nvContentPartPr>
                <p14:cNvPr id="15" name="Ink 14">
                  <a:extLst>
                    <a:ext uri="{FF2B5EF4-FFF2-40B4-BE49-F238E27FC236}">
                      <a16:creationId xmlns:a16="http://schemas.microsoft.com/office/drawing/2014/main" id="{5570CF55-06C6-48E6-8963-E1CEF0D0FC14}"/>
                    </a:ext>
                  </a:extLst>
                </p14:cNvPr>
                <p14:cNvContentPartPr/>
                <p14:nvPr/>
              </p14:nvContentPartPr>
              <p14:xfrm>
                <a:off x="9465195" y="1594065"/>
                <a:ext cx="94320" cy="3960"/>
              </p14:xfrm>
            </p:contentPart>
          </mc:Choice>
          <mc:Fallback xmlns="">
            <p:pic>
              <p:nvPicPr>
                <p:cNvPr id="15" name="Ink 14">
                  <a:extLst>
                    <a:ext uri="{FF2B5EF4-FFF2-40B4-BE49-F238E27FC236}">
                      <a16:creationId xmlns:a16="http://schemas.microsoft.com/office/drawing/2014/main" id="{5570CF55-06C6-48E6-8963-E1CEF0D0FC14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9447195" y="1576065"/>
                  <a:ext cx="129960" cy="39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">
              <p14:nvContentPartPr>
                <p14:cNvPr id="16" name="Ink 15">
                  <a:extLst>
                    <a:ext uri="{FF2B5EF4-FFF2-40B4-BE49-F238E27FC236}">
                      <a16:creationId xmlns:a16="http://schemas.microsoft.com/office/drawing/2014/main" id="{1F3CFFDC-DC24-4236-9EEC-8DC6D3C4ADE6}"/>
                    </a:ext>
                  </a:extLst>
                </p14:cNvPr>
                <p14:cNvContentPartPr/>
                <p14:nvPr/>
              </p14:nvContentPartPr>
              <p14:xfrm>
                <a:off x="9684075" y="1491465"/>
                <a:ext cx="115200" cy="147960"/>
              </p14:xfrm>
            </p:contentPart>
          </mc:Choice>
          <mc:Fallback xmlns="">
            <p:pic>
              <p:nvPicPr>
                <p:cNvPr id="16" name="Ink 15">
                  <a:extLst>
                    <a:ext uri="{FF2B5EF4-FFF2-40B4-BE49-F238E27FC236}">
                      <a16:creationId xmlns:a16="http://schemas.microsoft.com/office/drawing/2014/main" id="{1F3CFFDC-DC24-4236-9EEC-8DC6D3C4ADE6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9666435" y="1473825"/>
                  <a:ext cx="150840" cy="183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">
              <p14:nvContentPartPr>
                <p14:cNvPr id="17" name="Ink 16">
                  <a:extLst>
                    <a:ext uri="{FF2B5EF4-FFF2-40B4-BE49-F238E27FC236}">
                      <a16:creationId xmlns:a16="http://schemas.microsoft.com/office/drawing/2014/main" id="{BFAE46DE-D355-41E4-BE6C-5EEEE3599D91}"/>
                    </a:ext>
                  </a:extLst>
                </p14:cNvPr>
                <p14:cNvContentPartPr/>
                <p14:nvPr/>
              </p14:nvContentPartPr>
              <p14:xfrm>
                <a:off x="9850035" y="1518105"/>
                <a:ext cx="165960" cy="127440"/>
              </p14:xfrm>
            </p:contentPart>
          </mc:Choice>
          <mc:Fallback xmlns="">
            <p:pic>
              <p:nvPicPr>
                <p:cNvPr id="17" name="Ink 16">
                  <a:extLst>
                    <a:ext uri="{FF2B5EF4-FFF2-40B4-BE49-F238E27FC236}">
                      <a16:creationId xmlns:a16="http://schemas.microsoft.com/office/drawing/2014/main" id="{BFAE46DE-D355-41E4-BE6C-5EEEE3599D91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9832395" y="1500465"/>
                  <a:ext cx="201600" cy="163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">
              <p14:nvContentPartPr>
                <p14:cNvPr id="18" name="Ink 17">
                  <a:extLst>
                    <a:ext uri="{FF2B5EF4-FFF2-40B4-BE49-F238E27FC236}">
                      <a16:creationId xmlns:a16="http://schemas.microsoft.com/office/drawing/2014/main" id="{E3AF1CB1-3B83-432F-9515-876EF1DC47A7}"/>
                    </a:ext>
                  </a:extLst>
                </p14:cNvPr>
                <p14:cNvContentPartPr/>
                <p14:nvPr/>
              </p14:nvContentPartPr>
              <p14:xfrm>
                <a:off x="9997995" y="1439625"/>
                <a:ext cx="31320" cy="82080"/>
              </p14:xfrm>
            </p:contentPart>
          </mc:Choice>
          <mc:Fallback xmlns="">
            <p:pic>
              <p:nvPicPr>
                <p:cNvPr id="18" name="Ink 17">
                  <a:extLst>
                    <a:ext uri="{FF2B5EF4-FFF2-40B4-BE49-F238E27FC236}">
                      <a16:creationId xmlns:a16="http://schemas.microsoft.com/office/drawing/2014/main" id="{E3AF1CB1-3B83-432F-9515-876EF1DC47A7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9979995" y="1421985"/>
                  <a:ext cx="66960" cy="117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">
              <p14:nvContentPartPr>
                <p14:cNvPr id="19" name="Ink 18">
                  <a:extLst>
                    <a:ext uri="{FF2B5EF4-FFF2-40B4-BE49-F238E27FC236}">
                      <a16:creationId xmlns:a16="http://schemas.microsoft.com/office/drawing/2014/main" id="{B88CDCAC-A114-4875-942E-59DBFD6AD8CE}"/>
                    </a:ext>
                  </a:extLst>
                </p14:cNvPr>
                <p14:cNvContentPartPr/>
                <p14:nvPr/>
              </p14:nvContentPartPr>
              <p14:xfrm>
                <a:off x="10050195" y="1490385"/>
                <a:ext cx="134640" cy="194400"/>
              </p14:xfrm>
            </p:contentPart>
          </mc:Choice>
          <mc:Fallback xmlns="">
            <p:pic>
              <p:nvPicPr>
                <p:cNvPr id="19" name="Ink 18">
                  <a:extLst>
                    <a:ext uri="{FF2B5EF4-FFF2-40B4-BE49-F238E27FC236}">
                      <a16:creationId xmlns:a16="http://schemas.microsoft.com/office/drawing/2014/main" id="{B88CDCAC-A114-4875-942E-59DBFD6AD8CE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10032195" y="1472385"/>
                  <a:ext cx="170280" cy="230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">
              <p14:nvContentPartPr>
                <p14:cNvPr id="20" name="Ink 19">
                  <a:extLst>
                    <a:ext uri="{FF2B5EF4-FFF2-40B4-BE49-F238E27FC236}">
                      <a16:creationId xmlns:a16="http://schemas.microsoft.com/office/drawing/2014/main" id="{B02A820D-DD08-47DE-B978-D5650727BBD1}"/>
                    </a:ext>
                  </a:extLst>
                </p14:cNvPr>
                <p14:cNvContentPartPr/>
                <p14:nvPr/>
              </p14:nvContentPartPr>
              <p14:xfrm>
                <a:off x="10231275" y="1511625"/>
                <a:ext cx="83160" cy="111960"/>
              </p14:xfrm>
            </p:contentPart>
          </mc:Choice>
          <mc:Fallback xmlns="">
            <p:pic>
              <p:nvPicPr>
                <p:cNvPr id="20" name="Ink 19">
                  <a:extLst>
                    <a:ext uri="{FF2B5EF4-FFF2-40B4-BE49-F238E27FC236}">
                      <a16:creationId xmlns:a16="http://schemas.microsoft.com/office/drawing/2014/main" id="{B02A820D-DD08-47DE-B978-D5650727BBD1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10213275" y="1493985"/>
                  <a:ext cx="118800" cy="147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">
              <p14:nvContentPartPr>
                <p14:cNvPr id="21" name="Ink 20">
                  <a:extLst>
                    <a:ext uri="{FF2B5EF4-FFF2-40B4-BE49-F238E27FC236}">
                      <a16:creationId xmlns:a16="http://schemas.microsoft.com/office/drawing/2014/main" id="{344AC8D6-C5EE-49F6-AA6C-48A0CA47BBBF}"/>
                    </a:ext>
                  </a:extLst>
                </p14:cNvPr>
                <p14:cNvContentPartPr/>
                <p14:nvPr/>
              </p14:nvContentPartPr>
              <p14:xfrm>
                <a:off x="10373115" y="1457265"/>
                <a:ext cx="132480" cy="201240"/>
              </p14:xfrm>
            </p:contentPart>
          </mc:Choice>
          <mc:Fallback xmlns="">
            <p:pic>
              <p:nvPicPr>
                <p:cNvPr id="21" name="Ink 20">
                  <a:extLst>
                    <a:ext uri="{FF2B5EF4-FFF2-40B4-BE49-F238E27FC236}">
                      <a16:creationId xmlns:a16="http://schemas.microsoft.com/office/drawing/2014/main" id="{344AC8D6-C5EE-49F6-AA6C-48A0CA47BBBF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10355115" y="1439625"/>
                  <a:ext cx="168120" cy="236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4">
              <p14:nvContentPartPr>
                <p14:cNvPr id="22" name="Ink 21">
                  <a:extLst>
                    <a:ext uri="{FF2B5EF4-FFF2-40B4-BE49-F238E27FC236}">
                      <a16:creationId xmlns:a16="http://schemas.microsoft.com/office/drawing/2014/main" id="{243C58C5-3702-4E9C-B5A9-3C792798D925}"/>
                    </a:ext>
                  </a:extLst>
                </p14:cNvPr>
                <p14:cNvContentPartPr/>
                <p14:nvPr/>
              </p14:nvContentPartPr>
              <p14:xfrm>
                <a:off x="10594155" y="1532505"/>
                <a:ext cx="57600" cy="98280"/>
              </p14:xfrm>
            </p:contentPart>
          </mc:Choice>
          <mc:Fallback xmlns="">
            <p:pic>
              <p:nvPicPr>
                <p:cNvPr id="22" name="Ink 21">
                  <a:extLst>
                    <a:ext uri="{FF2B5EF4-FFF2-40B4-BE49-F238E27FC236}">
                      <a16:creationId xmlns:a16="http://schemas.microsoft.com/office/drawing/2014/main" id="{243C58C5-3702-4E9C-B5A9-3C792798D925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10576155" y="1514505"/>
                  <a:ext cx="93240" cy="133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6">
              <p14:nvContentPartPr>
                <p14:cNvPr id="23" name="Ink 22">
                  <a:extLst>
                    <a:ext uri="{FF2B5EF4-FFF2-40B4-BE49-F238E27FC236}">
                      <a16:creationId xmlns:a16="http://schemas.microsoft.com/office/drawing/2014/main" id="{6630406A-C762-477D-881C-F644CDD57339}"/>
                    </a:ext>
                  </a:extLst>
                </p14:cNvPr>
                <p14:cNvContentPartPr/>
                <p14:nvPr/>
              </p14:nvContentPartPr>
              <p14:xfrm>
                <a:off x="10694235" y="1473105"/>
                <a:ext cx="320040" cy="171720"/>
              </p14:xfrm>
            </p:contentPart>
          </mc:Choice>
          <mc:Fallback xmlns="">
            <p:pic>
              <p:nvPicPr>
                <p:cNvPr id="23" name="Ink 22">
                  <a:extLst>
                    <a:ext uri="{FF2B5EF4-FFF2-40B4-BE49-F238E27FC236}">
                      <a16:creationId xmlns:a16="http://schemas.microsoft.com/office/drawing/2014/main" id="{6630406A-C762-477D-881C-F644CDD57339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10676235" y="1455105"/>
                  <a:ext cx="355680" cy="207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8">
              <p14:nvContentPartPr>
                <p14:cNvPr id="24" name="Ink 23">
                  <a:extLst>
                    <a:ext uri="{FF2B5EF4-FFF2-40B4-BE49-F238E27FC236}">
                      <a16:creationId xmlns:a16="http://schemas.microsoft.com/office/drawing/2014/main" id="{F788122C-8604-4F34-B661-E4FC08449710}"/>
                    </a:ext>
                  </a:extLst>
                </p14:cNvPr>
                <p14:cNvContentPartPr/>
                <p14:nvPr/>
              </p14:nvContentPartPr>
              <p14:xfrm>
                <a:off x="11081235" y="1555905"/>
                <a:ext cx="54360" cy="66960"/>
              </p14:xfrm>
            </p:contentPart>
          </mc:Choice>
          <mc:Fallback xmlns="">
            <p:pic>
              <p:nvPicPr>
                <p:cNvPr id="24" name="Ink 23">
                  <a:extLst>
                    <a:ext uri="{FF2B5EF4-FFF2-40B4-BE49-F238E27FC236}">
                      <a16:creationId xmlns:a16="http://schemas.microsoft.com/office/drawing/2014/main" id="{F788122C-8604-4F34-B661-E4FC08449710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11063595" y="1538265"/>
                  <a:ext cx="90000" cy="102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0">
              <p14:nvContentPartPr>
                <p14:cNvPr id="25" name="Ink 24">
                  <a:extLst>
                    <a:ext uri="{FF2B5EF4-FFF2-40B4-BE49-F238E27FC236}">
                      <a16:creationId xmlns:a16="http://schemas.microsoft.com/office/drawing/2014/main" id="{27C1BBDD-ACD6-440D-8DE6-97B6897E26F3}"/>
                    </a:ext>
                  </a:extLst>
                </p14:cNvPr>
                <p14:cNvContentPartPr/>
                <p14:nvPr/>
              </p14:nvContentPartPr>
              <p14:xfrm>
                <a:off x="11224155" y="1482825"/>
                <a:ext cx="91800" cy="153720"/>
              </p14:xfrm>
            </p:contentPart>
          </mc:Choice>
          <mc:Fallback xmlns="">
            <p:pic>
              <p:nvPicPr>
                <p:cNvPr id="25" name="Ink 24">
                  <a:extLst>
                    <a:ext uri="{FF2B5EF4-FFF2-40B4-BE49-F238E27FC236}">
                      <a16:creationId xmlns:a16="http://schemas.microsoft.com/office/drawing/2014/main" id="{27C1BBDD-ACD6-440D-8DE6-97B6897E26F3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11206155" y="1464825"/>
                  <a:ext cx="127440" cy="1893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B8EBBD68-1694-44A3-8FE4-F9786B77B0A6}"/>
              </a:ext>
            </a:extLst>
          </p:cNvPr>
          <p:cNvGrpSpPr/>
          <p:nvPr/>
        </p:nvGrpSpPr>
        <p:grpSpPr>
          <a:xfrm>
            <a:off x="9641595" y="1841745"/>
            <a:ext cx="2247840" cy="267480"/>
            <a:chOff x="9641595" y="1841745"/>
            <a:chExt cx="2247840" cy="2674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32">
              <p14:nvContentPartPr>
                <p14:cNvPr id="27" name="Ink 26">
                  <a:extLst>
                    <a:ext uri="{FF2B5EF4-FFF2-40B4-BE49-F238E27FC236}">
                      <a16:creationId xmlns:a16="http://schemas.microsoft.com/office/drawing/2014/main" id="{0E25A087-629A-40B0-A363-368018945E8C}"/>
                    </a:ext>
                  </a:extLst>
                </p14:cNvPr>
                <p14:cNvContentPartPr/>
                <p14:nvPr/>
              </p14:nvContentPartPr>
              <p14:xfrm>
                <a:off x="9641595" y="1914105"/>
                <a:ext cx="23400" cy="150840"/>
              </p14:xfrm>
            </p:contentPart>
          </mc:Choice>
          <mc:Fallback xmlns="">
            <p:pic>
              <p:nvPicPr>
                <p:cNvPr id="27" name="Ink 26">
                  <a:extLst>
                    <a:ext uri="{FF2B5EF4-FFF2-40B4-BE49-F238E27FC236}">
                      <a16:creationId xmlns:a16="http://schemas.microsoft.com/office/drawing/2014/main" id="{0E25A087-629A-40B0-A363-368018945E8C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9623595" y="1896105"/>
                  <a:ext cx="59040" cy="186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4">
              <p14:nvContentPartPr>
                <p14:cNvPr id="28" name="Ink 27">
                  <a:extLst>
                    <a:ext uri="{FF2B5EF4-FFF2-40B4-BE49-F238E27FC236}">
                      <a16:creationId xmlns:a16="http://schemas.microsoft.com/office/drawing/2014/main" id="{A8FED0CA-2FC7-43CE-BD16-4E3BBE9A0DAB}"/>
                    </a:ext>
                  </a:extLst>
                </p14:cNvPr>
                <p14:cNvContentPartPr/>
                <p14:nvPr/>
              </p14:nvContentPartPr>
              <p14:xfrm>
                <a:off x="9663195" y="1956225"/>
                <a:ext cx="87120" cy="121680"/>
              </p14:xfrm>
            </p:contentPart>
          </mc:Choice>
          <mc:Fallback xmlns="">
            <p:pic>
              <p:nvPicPr>
                <p:cNvPr id="28" name="Ink 27">
                  <a:extLst>
                    <a:ext uri="{FF2B5EF4-FFF2-40B4-BE49-F238E27FC236}">
                      <a16:creationId xmlns:a16="http://schemas.microsoft.com/office/drawing/2014/main" id="{A8FED0CA-2FC7-43CE-BD16-4E3BBE9A0DAB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9645555" y="1938585"/>
                  <a:ext cx="122760" cy="157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6">
              <p14:nvContentPartPr>
                <p14:cNvPr id="29" name="Ink 28">
                  <a:extLst>
                    <a:ext uri="{FF2B5EF4-FFF2-40B4-BE49-F238E27FC236}">
                      <a16:creationId xmlns:a16="http://schemas.microsoft.com/office/drawing/2014/main" id="{F725B4DC-A8B2-415D-B523-B56F5F19DE18}"/>
                    </a:ext>
                  </a:extLst>
                </p14:cNvPr>
                <p14:cNvContentPartPr/>
                <p14:nvPr/>
              </p14:nvContentPartPr>
              <p14:xfrm>
                <a:off x="9848595" y="2025705"/>
                <a:ext cx="52560" cy="5040"/>
              </p14:xfrm>
            </p:contentPart>
          </mc:Choice>
          <mc:Fallback xmlns="">
            <p:pic>
              <p:nvPicPr>
                <p:cNvPr id="29" name="Ink 28">
                  <a:extLst>
                    <a:ext uri="{FF2B5EF4-FFF2-40B4-BE49-F238E27FC236}">
                      <a16:creationId xmlns:a16="http://schemas.microsoft.com/office/drawing/2014/main" id="{F725B4DC-A8B2-415D-B523-B56F5F19DE18}"/>
                    </a:ext>
                  </a:extLst>
                </p:cNvPr>
                <p:cNvPicPr/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9830595" y="2007705"/>
                  <a:ext cx="88200" cy="40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8">
              <p14:nvContentPartPr>
                <p14:cNvPr id="30" name="Ink 29">
                  <a:extLst>
                    <a:ext uri="{FF2B5EF4-FFF2-40B4-BE49-F238E27FC236}">
                      <a16:creationId xmlns:a16="http://schemas.microsoft.com/office/drawing/2014/main" id="{8BE5AB8D-E184-4F89-A983-CD3A87092CD3}"/>
                    </a:ext>
                  </a:extLst>
                </p14:cNvPr>
                <p14:cNvContentPartPr/>
                <p14:nvPr/>
              </p14:nvContentPartPr>
              <p14:xfrm>
                <a:off x="9972435" y="1952985"/>
                <a:ext cx="580320" cy="156240"/>
              </p14:xfrm>
            </p:contentPart>
          </mc:Choice>
          <mc:Fallback xmlns="">
            <p:pic>
              <p:nvPicPr>
                <p:cNvPr id="30" name="Ink 29">
                  <a:extLst>
                    <a:ext uri="{FF2B5EF4-FFF2-40B4-BE49-F238E27FC236}">
                      <a16:creationId xmlns:a16="http://schemas.microsoft.com/office/drawing/2014/main" id="{8BE5AB8D-E184-4F89-A983-CD3A87092CD3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9954435" y="1935345"/>
                  <a:ext cx="615960" cy="191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0">
              <p14:nvContentPartPr>
                <p14:cNvPr id="31" name="Ink 30">
                  <a:extLst>
                    <a:ext uri="{FF2B5EF4-FFF2-40B4-BE49-F238E27FC236}">
                      <a16:creationId xmlns:a16="http://schemas.microsoft.com/office/drawing/2014/main" id="{DE4BA477-4154-42DF-ACD7-8C12D7493BA0}"/>
                    </a:ext>
                  </a:extLst>
                </p14:cNvPr>
                <p14:cNvContentPartPr/>
                <p14:nvPr/>
              </p14:nvContentPartPr>
              <p14:xfrm>
                <a:off x="10674435" y="1915545"/>
                <a:ext cx="129600" cy="154080"/>
              </p14:xfrm>
            </p:contentPart>
          </mc:Choice>
          <mc:Fallback xmlns="">
            <p:pic>
              <p:nvPicPr>
                <p:cNvPr id="31" name="Ink 30">
                  <a:extLst>
                    <a:ext uri="{FF2B5EF4-FFF2-40B4-BE49-F238E27FC236}">
                      <a16:creationId xmlns:a16="http://schemas.microsoft.com/office/drawing/2014/main" id="{DE4BA477-4154-42DF-ACD7-8C12D7493BA0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10656435" y="1897545"/>
                  <a:ext cx="165240" cy="189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2">
              <p14:nvContentPartPr>
                <p14:cNvPr id="32" name="Ink 31">
                  <a:extLst>
                    <a:ext uri="{FF2B5EF4-FFF2-40B4-BE49-F238E27FC236}">
                      <a16:creationId xmlns:a16="http://schemas.microsoft.com/office/drawing/2014/main" id="{EB7A4574-DE67-4F74-A017-89A48C14F73A}"/>
                    </a:ext>
                  </a:extLst>
                </p14:cNvPr>
                <p14:cNvContentPartPr/>
                <p14:nvPr/>
              </p14:nvContentPartPr>
              <p14:xfrm>
                <a:off x="10845435" y="1943985"/>
                <a:ext cx="29160" cy="85320"/>
              </p14:xfrm>
            </p:contentPart>
          </mc:Choice>
          <mc:Fallback xmlns="">
            <p:pic>
              <p:nvPicPr>
                <p:cNvPr id="32" name="Ink 31">
                  <a:extLst>
                    <a:ext uri="{FF2B5EF4-FFF2-40B4-BE49-F238E27FC236}">
                      <a16:creationId xmlns:a16="http://schemas.microsoft.com/office/drawing/2014/main" id="{EB7A4574-DE67-4F74-A017-89A48C14F73A}"/>
                    </a:ext>
                  </a:extLst>
                </p:cNvPr>
                <p:cNvPicPr/>
                <p:nvPr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10827435" y="1925985"/>
                  <a:ext cx="64800" cy="120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4">
              <p14:nvContentPartPr>
                <p14:cNvPr id="33" name="Ink 32">
                  <a:extLst>
                    <a:ext uri="{FF2B5EF4-FFF2-40B4-BE49-F238E27FC236}">
                      <a16:creationId xmlns:a16="http://schemas.microsoft.com/office/drawing/2014/main" id="{B152D5C3-615A-4E13-AEC3-BC6CA19AE84A}"/>
                    </a:ext>
                  </a:extLst>
                </p14:cNvPr>
                <p14:cNvContentPartPr/>
                <p14:nvPr/>
              </p14:nvContentPartPr>
              <p14:xfrm>
                <a:off x="10885035" y="1875945"/>
                <a:ext cx="245880" cy="159120"/>
              </p14:xfrm>
            </p:contentPart>
          </mc:Choice>
          <mc:Fallback xmlns="">
            <p:pic>
              <p:nvPicPr>
                <p:cNvPr id="33" name="Ink 32">
                  <a:extLst>
                    <a:ext uri="{FF2B5EF4-FFF2-40B4-BE49-F238E27FC236}">
                      <a16:creationId xmlns:a16="http://schemas.microsoft.com/office/drawing/2014/main" id="{B152D5C3-615A-4E13-AEC3-BC6CA19AE84A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10867035" y="1857945"/>
                  <a:ext cx="281520" cy="194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6">
              <p14:nvContentPartPr>
                <p14:cNvPr id="34" name="Ink 33">
                  <a:extLst>
                    <a:ext uri="{FF2B5EF4-FFF2-40B4-BE49-F238E27FC236}">
                      <a16:creationId xmlns:a16="http://schemas.microsoft.com/office/drawing/2014/main" id="{066AE579-C497-4590-909C-1F4C9F7737AE}"/>
                    </a:ext>
                  </a:extLst>
                </p14:cNvPr>
                <p14:cNvContentPartPr/>
                <p14:nvPr/>
              </p14:nvContentPartPr>
              <p14:xfrm>
                <a:off x="11177355" y="1841745"/>
                <a:ext cx="26640" cy="183600"/>
              </p14:xfrm>
            </p:contentPart>
          </mc:Choice>
          <mc:Fallback xmlns="">
            <p:pic>
              <p:nvPicPr>
                <p:cNvPr id="34" name="Ink 33">
                  <a:extLst>
                    <a:ext uri="{FF2B5EF4-FFF2-40B4-BE49-F238E27FC236}">
                      <a16:creationId xmlns:a16="http://schemas.microsoft.com/office/drawing/2014/main" id="{066AE579-C497-4590-909C-1F4C9F7737AE}"/>
                    </a:ext>
                  </a:extLst>
                </p:cNvPr>
                <p:cNvPicPr/>
                <p:nvPr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11159355" y="1823745"/>
                  <a:ext cx="62280" cy="219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8">
              <p14:nvContentPartPr>
                <p14:cNvPr id="35" name="Ink 34">
                  <a:extLst>
                    <a:ext uri="{FF2B5EF4-FFF2-40B4-BE49-F238E27FC236}">
                      <a16:creationId xmlns:a16="http://schemas.microsoft.com/office/drawing/2014/main" id="{5474D61F-0282-427E-9D04-5924577A2AA7}"/>
                    </a:ext>
                  </a:extLst>
                </p14:cNvPr>
                <p14:cNvContentPartPr/>
                <p14:nvPr/>
              </p14:nvContentPartPr>
              <p14:xfrm>
                <a:off x="11282475" y="1868025"/>
                <a:ext cx="55440" cy="158760"/>
              </p14:xfrm>
            </p:contentPart>
          </mc:Choice>
          <mc:Fallback xmlns="">
            <p:pic>
              <p:nvPicPr>
                <p:cNvPr id="35" name="Ink 34">
                  <a:extLst>
                    <a:ext uri="{FF2B5EF4-FFF2-40B4-BE49-F238E27FC236}">
                      <a16:creationId xmlns:a16="http://schemas.microsoft.com/office/drawing/2014/main" id="{5474D61F-0282-427E-9D04-5924577A2AA7}"/>
                    </a:ext>
                  </a:extLst>
                </p:cNvPr>
                <p:cNvPicPr/>
                <p:nvPr/>
              </p:nvPicPr>
              <p:blipFill>
                <a:blip r:embed="rId49"/>
                <a:stretch>
                  <a:fillRect/>
                </a:stretch>
              </p:blipFill>
              <p:spPr>
                <a:xfrm>
                  <a:off x="11264475" y="1850385"/>
                  <a:ext cx="91080" cy="194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0">
              <p14:nvContentPartPr>
                <p14:cNvPr id="36" name="Ink 35">
                  <a:extLst>
                    <a:ext uri="{FF2B5EF4-FFF2-40B4-BE49-F238E27FC236}">
                      <a16:creationId xmlns:a16="http://schemas.microsoft.com/office/drawing/2014/main" id="{0CE4889B-54D2-400D-BF3E-D70196BEBD01}"/>
                    </a:ext>
                  </a:extLst>
                </p14:cNvPr>
                <p14:cNvContentPartPr/>
                <p14:nvPr/>
              </p14:nvContentPartPr>
              <p14:xfrm>
                <a:off x="11360955" y="1923465"/>
                <a:ext cx="108360" cy="128880"/>
              </p14:xfrm>
            </p:contentPart>
          </mc:Choice>
          <mc:Fallback xmlns="">
            <p:pic>
              <p:nvPicPr>
                <p:cNvPr id="36" name="Ink 35">
                  <a:extLst>
                    <a:ext uri="{FF2B5EF4-FFF2-40B4-BE49-F238E27FC236}">
                      <a16:creationId xmlns:a16="http://schemas.microsoft.com/office/drawing/2014/main" id="{0CE4889B-54D2-400D-BF3E-D70196BEBD01}"/>
                    </a:ext>
                  </a:extLst>
                </p:cNvPr>
                <p:cNvPicPr/>
                <p:nvPr/>
              </p:nvPicPr>
              <p:blipFill>
                <a:blip r:embed="rId51"/>
                <a:stretch>
                  <a:fillRect/>
                </a:stretch>
              </p:blipFill>
              <p:spPr>
                <a:xfrm>
                  <a:off x="11342955" y="1905825"/>
                  <a:ext cx="144000" cy="164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2">
              <p14:nvContentPartPr>
                <p14:cNvPr id="37" name="Ink 36">
                  <a:extLst>
                    <a:ext uri="{FF2B5EF4-FFF2-40B4-BE49-F238E27FC236}">
                      <a16:creationId xmlns:a16="http://schemas.microsoft.com/office/drawing/2014/main" id="{4D0160CD-AF02-4D86-9301-F49FA294FBFD}"/>
                    </a:ext>
                  </a:extLst>
                </p14:cNvPr>
                <p14:cNvContentPartPr/>
                <p14:nvPr/>
              </p14:nvContentPartPr>
              <p14:xfrm>
                <a:off x="11532675" y="1882785"/>
                <a:ext cx="213840" cy="143280"/>
              </p14:xfrm>
            </p:contentPart>
          </mc:Choice>
          <mc:Fallback xmlns="">
            <p:pic>
              <p:nvPicPr>
                <p:cNvPr id="37" name="Ink 36">
                  <a:extLst>
                    <a:ext uri="{FF2B5EF4-FFF2-40B4-BE49-F238E27FC236}">
                      <a16:creationId xmlns:a16="http://schemas.microsoft.com/office/drawing/2014/main" id="{4D0160CD-AF02-4D86-9301-F49FA294FBFD}"/>
                    </a:ext>
                  </a:extLst>
                </p:cNvPr>
                <p:cNvPicPr/>
                <p:nvPr/>
              </p:nvPicPr>
              <p:blipFill>
                <a:blip r:embed="rId53"/>
                <a:stretch>
                  <a:fillRect/>
                </a:stretch>
              </p:blipFill>
              <p:spPr>
                <a:xfrm>
                  <a:off x="11515035" y="1864785"/>
                  <a:ext cx="249480" cy="178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4">
              <p14:nvContentPartPr>
                <p14:cNvPr id="38" name="Ink 37">
                  <a:extLst>
                    <a:ext uri="{FF2B5EF4-FFF2-40B4-BE49-F238E27FC236}">
                      <a16:creationId xmlns:a16="http://schemas.microsoft.com/office/drawing/2014/main" id="{35877BCE-8565-45AE-BB9B-8D5287E7D728}"/>
                    </a:ext>
                  </a:extLst>
                </p14:cNvPr>
                <p14:cNvContentPartPr/>
                <p14:nvPr/>
              </p14:nvContentPartPr>
              <p14:xfrm>
                <a:off x="11700435" y="1932105"/>
                <a:ext cx="189000" cy="72720"/>
              </p14:xfrm>
            </p:contentPart>
          </mc:Choice>
          <mc:Fallback xmlns="">
            <p:pic>
              <p:nvPicPr>
                <p:cNvPr id="38" name="Ink 37">
                  <a:extLst>
                    <a:ext uri="{FF2B5EF4-FFF2-40B4-BE49-F238E27FC236}">
                      <a16:creationId xmlns:a16="http://schemas.microsoft.com/office/drawing/2014/main" id="{35877BCE-8565-45AE-BB9B-8D5287E7D728}"/>
                    </a:ext>
                  </a:extLst>
                </p:cNvPr>
                <p:cNvPicPr/>
                <p:nvPr/>
              </p:nvPicPr>
              <p:blipFill>
                <a:blip r:embed="rId55"/>
                <a:stretch>
                  <a:fillRect/>
                </a:stretch>
              </p:blipFill>
              <p:spPr>
                <a:xfrm>
                  <a:off x="11682795" y="1914465"/>
                  <a:ext cx="224640" cy="108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6">
              <p14:nvContentPartPr>
                <p14:cNvPr id="40" name="Ink 39">
                  <a:extLst>
                    <a:ext uri="{FF2B5EF4-FFF2-40B4-BE49-F238E27FC236}">
                      <a16:creationId xmlns:a16="http://schemas.microsoft.com/office/drawing/2014/main" id="{3462C966-5893-47E1-8AD8-4F488245A5D9}"/>
                    </a:ext>
                  </a:extLst>
                </p14:cNvPr>
                <p14:cNvContentPartPr/>
                <p14:nvPr/>
              </p14:nvContentPartPr>
              <p14:xfrm>
                <a:off x="11507475" y="1886385"/>
                <a:ext cx="73800" cy="83880"/>
              </p14:xfrm>
            </p:contentPart>
          </mc:Choice>
          <mc:Fallback xmlns="">
            <p:pic>
              <p:nvPicPr>
                <p:cNvPr id="40" name="Ink 39">
                  <a:extLst>
                    <a:ext uri="{FF2B5EF4-FFF2-40B4-BE49-F238E27FC236}">
                      <a16:creationId xmlns:a16="http://schemas.microsoft.com/office/drawing/2014/main" id="{3462C966-5893-47E1-8AD8-4F488245A5D9}"/>
                    </a:ext>
                  </a:extLst>
                </p:cNvPr>
                <p:cNvPicPr/>
                <p:nvPr/>
              </p:nvPicPr>
              <p:blipFill>
                <a:blip r:embed="rId57"/>
                <a:stretch>
                  <a:fillRect/>
                </a:stretch>
              </p:blipFill>
              <p:spPr>
                <a:xfrm>
                  <a:off x="11489835" y="1868385"/>
                  <a:ext cx="109440" cy="1195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89C175AF-F099-4446-AB6B-41942FD3B966}"/>
              </a:ext>
            </a:extLst>
          </p:cNvPr>
          <p:cNvGrpSpPr/>
          <p:nvPr/>
        </p:nvGrpSpPr>
        <p:grpSpPr>
          <a:xfrm>
            <a:off x="9724035" y="2234145"/>
            <a:ext cx="881280" cy="204120"/>
            <a:chOff x="9724035" y="2234145"/>
            <a:chExt cx="881280" cy="2041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58">
              <p14:nvContentPartPr>
                <p14:cNvPr id="42" name="Ink 41">
                  <a:extLst>
                    <a:ext uri="{FF2B5EF4-FFF2-40B4-BE49-F238E27FC236}">
                      <a16:creationId xmlns:a16="http://schemas.microsoft.com/office/drawing/2014/main" id="{C05DAE57-1F14-4043-BCE5-C60F3DF1C75F}"/>
                    </a:ext>
                  </a:extLst>
                </p14:cNvPr>
                <p14:cNvContentPartPr/>
                <p14:nvPr/>
              </p14:nvContentPartPr>
              <p14:xfrm>
                <a:off x="9724035" y="2234145"/>
                <a:ext cx="375840" cy="204120"/>
              </p14:xfrm>
            </p:contentPart>
          </mc:Choice>
          <mc:Fallback xmlns="">
            <p:pic>
              <p:nvPicPr>
                <p:cNvPr id="42" name="Ink 41">
                  <a:extLst>
                    <a:ext uri="{FF2B5EF4-FFF2-40B4-BE49-F238E27FC236}">
                      <a16:creationId xmlns:a16="http://schemas.microsoft.com/office/drawing/2014/main" id="{C05DAE57-1F14-4043-BCE5-C60F3DF1C75F}"/>
                    </a:ext>
                  </a:extLst>
                </p:cNvPr>
                <p:cNvPicPr/>
                <p:nvPr/>
              </p:nvPicPr>
              <p:blipFill>
                <a:blip r:embed="rId59"/>
                <a:stretch>
                  <a:fillRect/>
                </a:stretch>
              </p:blipFill>
              <p:spPr>
                <a:xfrm>
                  <a:off x="9706035" y="2216145"/>
                  <a:ext cx="411480" cy="239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0">
              <p14:nvContentPartPr>
                <p14:cNvPr id="43" name="Ink 42">
                  <a:extLst>
                    <a:ext uri="{FF2B5EF4-FFF2-40B4-BE49-F238E27FC236}">
                      <a16:creationId xmlns:a16="http://schemas.microsoft.com/office/drawing/2014/main" id="{5C041F3C-6A17-47CB-88A1-FF04ED85EB84}"/>
                    </a:ext>
                  </a:extLst>
                </p14:cNvPr>
                <p14:cNvContentPartPr/>
                <p14:nvPr/>
              </p14:nvContentPartPr>
              <p14:xfrm>
                <a:off x="10183035" y="2305065"/>
                <a:ext cx="97560" cy="70920"/>
              </p14:xfrm>
            </p:contentPart>
          </mc:Choice>
          <mc:Fallback xmlns="">
            <p:pic>
              <p:nvPicPr>
                <p:cNvPr id="43" name="Ink 42">
                  <a:extLst>
                    <a:ext uri="{FF2B5EF4-FFF2-40B4-BE49-F238E27FC236}">
                      <a16:creationId xmlns:a16="http://schemas.microsoft.com/office/drawing/2014/main" id="{5C041F3C-6A17-47CB-88A1-FF04ED85EB84}"/>
                    </a:ext>
                  </a:extLst>
                </p:cNvPr>
                <p:cNvPicPr/>
                <p:nvPr/>
              </p:nvPicPr>
              <p:blipFill>
                <a:blip r:embed="rId61"/>
                <a:stretch>
                  <a:fillRect/>
                </a:stretch>
              </p:blipFill>
              <p:spPr>
                <a:xfrm>
                  <a:off x="10165035" y="2287065"/>
                  <a:ext cx="133200" cy="106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2">
              <p14:nvContentPartPr>
                <p14:cNvPr id="44" name="Ink 43">
                  <a:extLst>
                    <a:ext uri="{FF2B5EF4-FFF2-40B4-BE49-F238E27FC236}">
                      <a16:creationId xmlns:a16="http://schemas.microsoft.com/office/drawing/2014/main" id="{ED1D8607-ACAF-4D27-B0AF-361E37565994}"/>
                    </a:ext>
                  </a:extLst>
                </p14:cNvPr>
                <p14:cNvContentPartPr/>
                <p14:nvPr/>
              </p14:nvContentPartPr>
              <p14:xfrm>
                <a:off x="10441515" y="2266545"/>
                <a:ext cx="115560" cy="120240"/>
              </p14:xfrm>
            </p:contentPart>
          </mc:Choice>
          <mc:Fallback xmlns="">
            <p:pic>
              <p:nvPicPr>
                <p:cNvPr id="44" name="Ink 43">
                  <a:extLst>
                    <a:ext uri="{FF2B5EF4-FFF2-40B4-BE49-F238E27FC236}">
                      <a16:creationId xmlns:a16="http://schemas.microsoft.com/office/drawing/2014/main" id="{ED1D8607-ACAF-4D27-B0AF-361E37565994}"/>
                    </a:ext>
                  </a:extLst>
                </p:cNvPr>
                <p:cNvPicPr/>
                <p:nvPr/>
              </p:nvPicPr>
              <p:blipFill>
                <a:blip r:embed="rId63"/>
                <a:stretch>
                  <a:fillRect/>
                </a:stretch>
              </p:blipFill>
              <p:spPr>
                <a:xfrm>
                  <a:off x="10423515" y="2248905"/>
                  <a:ext cx="151200" cy="155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4">
              <p14:nvContentPartPr>
                <p14:cNvPr id="45" name="Ink 44">
                  <a:extLst>
                    <a:ext uri="{FF2B5EF4-FFF2-40B4-BE49-F238E27FC236}">
                      <a16:creationId xmlns:a16="http://schemas.microsoft.com/office/drawing/2014/main" id="{DB295A99-78DB-4D38-A84A-08D35E011A94}"/>
                    </a:ext>
                  </a:extLst>
                </p14:cNvPr>
                <p14:cNvContentPartPr/>
                <p14:nvPr/>
              </p14:nvContentPartPr>
              <p14:xfrm>
                <a:off x="10409835" y="2280225"/>
                <a:ext cx="195480" cy="141120"/>
              </p14:xfrm>
            </p:contentPart>
          </mc:Choice>
          <mc:Fallback xmlns="">
            <p:pic>
              <p:nvPicPr>
                <p:cNvPr id="45" name="Ink 44">
                  <a:extLst>
                    <a:ext uri="{FF2B5EF4-FFF2-40B4-BE49-F238E27FC236}">
                      <a16:creationId xmlns:a16="http://schemas.microsoft.com/office/drawing/2014/main" id="{DB295A99-78DB-4D38-A84A-08D35E011A94}"/>
                    </a:ext>
                  </a:extLst>
                </p:cNvPr>
                <p:cNvPicPr/>
                <p:nvPr/>
              </p:nvPicPr>
              <p:blipFill>
                <a:blip r:embed="rId65"/>
                <a:stretch>
                  <a:fillRect/>
                </a:stretch>
              </p:blipFill>
              <p:spPr>
                <a:xfrm>
                  <a:off x="10391835" y="2262585"/>
                  <a:ext cx="231120" cy="1767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CDC9444D-E24A-49CB-9903-A4C7C14ECC14}"/>
              </a:ext>
            </a:extLst>
          </p:cNvPr>
          <p:cNvGrpSpPr/>
          <p:nvPr/>
        </p:nvGrpSpPr>
        <p:grpSpPr>
          <a:xfrm>
            <a:off x="9517755" y="2677305"/>
            <a:ext cx="400680" cy="185760"/>
            <a:chOff x="9517755" y="2677305"/>
            <a:chExt cx="400680" cy="1857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6">
              <p14:nvContentPartPr>
                <p14:cNvPr id="46" name="Ink 45">
                  <a:extLst>
                    <a:ext uri="{FF2B5EF4-FFF2-40B4-BE49-F238E27FC236}">
                      <a16:creationId xmlns:a16="http://schemas.microsoft.com/office/drawing/2014/main" id="{054B86A9-EDA8-455C-9B8B-94B6BD4503E6}"/>
                    </a:ext>
                  </a:extLst>
                </p14:cNvPr>
                <p14:cNvContentPartPr/>
                <p14:nvPr/>
              </p14:nvContentPartPr>
              <p14:xfrm>
                <a:off x="9517755" y="2677305"/>
                <a:ext cx="201240" cy="175320"/>
              </p14:xfrm>
            </p:contentPart>
          </mc:Choice>
          <mc:Fallback xmlns="">
            <p:pic>
              <p:nvPicPr>
                <p:cNvPr id="46" name="Ink 45">
                  <a:extLst>
                    <a:ext uri="{FF2B5EF4-FFF2-40B4-BE49-F238E27FC236}">
                      <a16:creationId xmlns:a16="http://schemas.microsoft.com/office/drawing/2014/main" id="{054B86A9-EDA8-455C-9B8B-94B6BD4503E6}"/>
                    </a:ext>
                  </a:extLst>
                </p:cNvPr>
                <p:cNvPicPr/>
                <p:nvPr/>
              </p:nvPicPr>
              <p:blipFill>
                <a:blip r:embed="rId67"/>
                <a:stretch>
                  <a:fillRect/>
                </a:stretch>
              </p:blipFill>
              <p:spPr>
                <a:xfrm>
                  <a:off x="9499755" y="2659305"/>
                  <a:ext cx="236880" cy="210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8">
              <p14:nvContentPartPr>
                <p14:cNvPr id="47" name="Ink 46">
                  <a:extLst>
                    <a:ext uri="{FF2B5EF4-FFF2-40B4-BE49-F238E27FC236}">
                      <a16:creationId xmlns:a16="http://schemas.microsoft.com/office/drawing/2014/main" id="{DBA4D4C4-E327-4EDB-8F1B-7536CB90F82D}"/>
                    </a:ext>
                  </a:extLst>
                </p14:cNvPr>
                <p14:cNvContentPartPr/>
                <p14:nvPr/>
              </p14:nvContentPartPr>
              <p14:xfrm>
                <a:off x="9523515" y="2695305"/>
                <a:ext cx="394920" cy="167760"/>
              </p14:xfrm>
            </p:contentPart>
          </mc:Choice>
          <mc:Fallback xmlns="">
            <p:pic>
              <p:nvPicPr>
                <p:cNvPr id="47" name="Ink 46">
                  <a:extLst>
                    <a:ext uri="{FF2B5EF4-FFF2-40B4-BE49-F238E27FC236}">
                      <a16:creationId xmlns:a16="http://schemas.microsoft.com/office/drawing/2014/main" id="{DBA4D4C4-E327-4EDB-8F1B-7536CB90F82D}"/>
                    </a:ext>
                  </a:extLst>
                </p:cNvPr>
                <p:cNvPicPr/>
                <p:nvPr/>
              </p:nvPicPr>
              <p:blipFill>
                <a:blip r:embed="rId69"/>
                <a:stretch>
                  <a:fillRect/>
                </a:stretch>
              </p:blipFill>
              <p:spPr>
                <a:xfrm>
                  <a:off x="9505515" y="2677665"/>
                  <a:ext cx="430560" cy="2034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55D66558-DCA6-4665-B2A3-273E9B11EA6D}"/>
              </a:ext>
            </a:extLst>
          </p:cNvPr>
          <p:cNvGrpSpPr/>
          <p:nvPr/>
        </p:nvGrpSpPr>
        <p:grpSpPr>
          <a:xfrm>
            <a:off x="10136955" y="2680545"/>
            <a:ext cx="1475640" cy="174240"/>
            <a:chOff x="10136955" y="2680545"/>
            <a:chExt cx="1475640" cy="1742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70">
              <p14:nvContentPartPr>
                <p14:cNvPr id="49" name="Ink 48">
                  <a:extLst>
                    <a:ext uri="{FF2B5EF4-FFF2-40B4-BE49-F238E27FC236}">
                      <a16:creationId xmlns:a16="http://schemas.microsoft.com/office/drawing/2014/main" id="{7FE53C43-7DF2-4B51-99C4-035CEA5FF239}"/>
                    </a:ext>
                  </a:extLst>
                </p14:cNvPr>
                <p14:cNvContentPartPr/>
                <p14:nvPr/>
              </p14:nvContentPartPr>
              <p14:xfrm>
                <a:off x="10136955" y="2699265"/>
                <a:ext cx="594360" cy="134280"/>
              </p14:xfrm>
            </p:contentPart>
          </mc:Choice>
          <mc:Fallback xmlns="">
            <p:pic>
              <p:nvPicPr>
                <p:cNvPr id="49" name="Ink 48">
                  <a:extLst>
                    <a:ext uri="{FF2B5EF4-FFF2-40B4-BE49-F238E27FC236}">
                      <a16:creationId xmlns:a16="http://schemas.microsoft.com/office/drawing/2014/main" id="{7FE53C43-7DF2-4B51-99C4-035CEA5FF239}"/>
                    </a:ext>
                  </a:extLst>
                </p:cNvPr>
                <p:cNvPicPr/>
                <p:nvPr/>
              </p:nvPicPr>
              <p:blipFill>
                <a:blip r:embed="rId71"/>
                <a:stretch>
                  <a:fillRect/>
                </a:stretch>
              </p:blipFill>
              <p:spPr>
                <a:xfrm>
                  <a:off x="10118955" y="2681625"/>
                  <a:ext cx="630000" cy="169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2">
              <p14:nvContentPartPr>
                <p14:cNvPr id="50" name="Ink 49">
                  <a:extLst>
                    <a:ext uri="{FF2B5EF4-FFF2-40B4-BE49-F238E27FC236}">
                      <a16:creationId xmlns:a16="http://schemas.microsoft.com/office/drawing/2014/main" id="{61DFF6EB-2F12-49D5-8CC5-ED1429EDBFB7}"/>
                    </a:ext>
                  </a:extLst>
                </p14:cNvPr>
                <p14:cNvContentPartPr/>
                <p14:nvPr/>
              </p14:nvContentPartPr>
              <p14:xfrm>
                <a:off x="10912395" y="2680545"/>
                <a:ext cx="700200" cy="174240"/>
              </p14:xfrm>
            </p:contentPart>
          </mc:Choice>
          <mc:Fallback xmlns="">
            <p:pic>
              <p:nvPicPr>
                <p:cNvPr id="50" name="Ink 49">
                  <a:extLst>
                    <a:ext uri="{FF2B5EF4-FFF2-40B4-BE49-F238E27FC236}">
                      <a16:creationId xmlns:a16="http://schemas.microsoft.com/office/drawing/2014/main" id="{61DFF6EB-2F12-49D5-8CC5-ED1429EDBFB7}"/>
                    </a:ext>
                  </a:extLst>
                </p:cNvPr>
                <p:cNvPicPr/>
                <p:nvPr/>
              </p:nvPicPr>
              <p:blipFill>
                <a:blip r:embed="rId73"/>
                <a:stretch>
                  <a:fillRect/>
                </a:stretch>
              </p:blipFill>
              <p:spPr>
                <a:xfrm>
                  <a:off x="10894395" y="2662545"/>
                  <a:ext cx="735840" cy="2098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A9240546-3312-487C-B379-DBFE66E31330}"/>
              </a:ext>
            </a:extLst>
          </p:cNvPr>
          <p:cNvGrpSpPr/>
          <p:nvPr/>
        </p:nvGrpSpPr>
        <p:grpSpPr>
          <a:xfrm>
            <a:off x="9554115" y="3031545"/>
            <a:ext cx="2442600" cy="310320"/>
            <a:chOff x="9554115" y="3031545"/>
            <a:chExt cx="2442600" cy="3103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74">
              <p14:nvContentPartPr>
                <p14:cNvPr id="54" name="Ink 53">
                  <a:extLst>
                    <a:ext uri="{FF2B5EF4-FFF2-40B4-BE49-F238E27FC236}">
                      <a16:creationId xmlns:a16="http://schemas.microsoft.com/office/drawing/2014/main" id="{07E4BFE9-957B-4F43-9616-312401665E44}"/>
                    </a:ext>
                  </a:extLst>
                </p14:cNvPr>
                <p14:cNvContentPartPr/>
                <p14:nvPr/>
              </p14:nvContentPartPr>
              <p14:xfrm>
                <a:off x="9554115" y="3186705"/>
                <a:ext cx="66240" cy="155160"/>
              </p14:xfrm>
            </p:contentPart>
          </mc:Choice>
          <mc:Fallback xmlns="">
            <p:pic>
              <p:nvPicPr>
                <p:cNvPr id="54" name="Ink 53">
                  <a:extLst>
                    <a:ext uri="{FF2B5EF4-FFF2-40B4-BE49-F238E27FC236}">
                      <a16:creationId xmlns:a16="http://schemas.microsoft.com/office/drawing/2014/main" id="{07E4BFE9-957B-4F43-9616-312401665E44}"/>
                    </a:ext>
                  </a:extLst>
                </p:cNvPr>
                <p:cNvPicPr/>
                <p:nvPr/>
              </p:nvPicPr>
              <p:blipFill>
                <a:blip r:embed="rId75"/>
                <a:stretch>
                  <a:fillRect/>
                </a:stretch>
              </p:blipFill>
              <p:spPr>
                <a:xfrm>
                  <a:off x="9536115" y="3168705"/>
                  <a:ext cx="101880" cy="190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6">
              <p14:nvContentPartPr>
                <p14:cNvPr id="55" name="Ink 54">
                  <a:extLst>
                    <a:ext uri="{FF2B5EF4-FFF2-40B4-BE49-F238E27FC236}">
                      <a16:creationId xmlns:a16="http://schemas.microsoft.com/office/drawing/2014/main" id="{04930373-A66D-4F8A-B6E6-F12A82DE29AA}"/>
                    </a:ext>
                  </a:extLst>
                </p14:cNvPr>
                <p14:cNvContentPartPr/>
                <p14:nvPr/>
              </p14:nvContentPartPr>
              <p14:xfrm>
                <a:off x="9622875" y="3080505"/>
                <a:ext cx="211320" cy="167040"/>
              </p14:xfrm>
            </p:contentPart>
          </mc:Choice>
          <mc:Fallback xmlns="">
            <p:pic>
              <p:nvPicPr>
                <p:cNvPr id="55" name="Ink 54">
                  <a:extLst>
                    <a:ext uri="{FF2B5EF4-FFF2-40B4-BE49-F238E27FC236}">
                      <a16:creationId xmlns:a16="http://schemas.microsoft.com/office/drawing/2014/main" id="{04930373-A66D-4F8A-B6E6-F12A82DE29AA}"/>
                    </a:ext>
                  </a:extLst>
                </p:cNvPr>
                <p:cNvPicPr/>
                <p:nvPr/>
              </p:nvPicPr>
              <p:blipFill>
                <a:blip r:embed="rId77"/>
                <a:stretch>
                  <a:fillRect/>
                </a:stretch>
              </p:blipFill>
              <p:spPr>
                <a:xfrm>
                  <a:off x="9605235" y="3062505"/>
                  <a:ext cx="246960" cy="202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8">
              <p14:nvContentPartPr>
                <p14:cNvPr id="56" name="Ink 55">
                  <a:extLst>
                    <a:ext uri="{FF2B5EF4-FFF2-40B4-BE49-F238E27FC236}">
                      <a16:creationId xmlns:a16="http://schemas.microsoft.com/office/drawing/2014/main" id="{26F80CE3-C2C3-4F73-A81E-E8FC115FE5A4}"/>
                    </a:ext>
                  </a:extLst>
                </p14:cNvPr>
                <p14:cNvContentPartPr/>
                <p14:nvPr/>
              </p14:nvContentPartPr>
              <p14:xfrm>
                <a:off x="9979995" y="3175905"/>
                <a:ext cx="47880" cy="139320"/>
              </p14:xfrm>
            </p:contentPart>
          </mc:Choice>
          <mc:Fallback xmlns="">
            <p:pic>
              <p:nvPicPr>
                <p:cNvPr id="56" name="Ink 55">
                  <a:extLst>
                    <a:ext uri="{FF2B5EF4-FFF2-40B4-BE49-F238E27FC236}">
                      <a16:creationId xmlns:a16="http://schemas.microsoft.com/office/drawing/2014/main" id="{26F80CE3-C2C3-4F73-A81E-E8FC115FE5A4}"/>
                    </a:ext>
                  </a:extLst>
                </p:cNvPr>
                <p:cNvPicPr/>
                <p:nvPr/>
              </p:nvPicPr>
              <p:blipFill>
                <a:blip r:embed="rId79"/>
                <a:stretch>
                  <a:fillRect/>
                </a:stretch>
              </p:blipFill>
              <p:spPr>
                <a:xfrm>
                  <a:off x="9961995" y="3158265"/>
                  <a:ext cx="83520" cy="174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0">
              <p14:nvContentPartPr>
                <p14:cNvPr id="57" name="Ink 56">
                  <a:extLst>
                    <a:ext uri="{FF2B5EF4-FFF2-40B4-BE49-F238E27FC236}">
                      <a16:creationId xmlns:a16="http://schemas.microsoft.com/office/drawing/2014/main" id="{3E15CE6C-A8AA-480C-91A3-6470E00F6F31}"/>
                    </a:ext>
                  </a:extLst>
                </p14:cNvPr>
                <p14:cNvContentPartPr/>
                <p14:nvPr/>
              </p14:nvContentPartPr>
              <p14:xfrm>
                <a:off x="9980355" y="3031545"/>
                <a:ext cx="169200" cy="255600"/>
              </p14:xfrm>
            </p:contentPart>
          </mc:Choice>
          <mc:Fallback xmlns="">
            <p:pic>
              <p:nvPicPr>
                <p:cNvPr id="57" name="Ink 56">
                  <a:extLst>
                    <a:ext uri="{FF2B5EF4-FFF2-40B4-BE49-F238E27FC236}">
                      <a16:creationId xmlns:a16="http://schemas.microsoft.com/office/drawing/2014/main" id="{3E15CE6C-A8AA-480C-91A3-6470E00F6F31}"/>
                    </a:ext>
                  </a:extLst>
                </p:cNvPr>
                <p:cNvPicPr/>
                <p:nvPr/>
              </p:nvPicPr>
              <p:blipFill>
                <a:blip r:embed="rId81"/>
                <a:stretch>
                  <a:fillRect/>
                </a:stretch>
              </p:blipFill>
              <p:spPr>
                <a:xfrm>
                  <a:off x="9962355" y="3013905"/>
                  <a:ext cx="204840" cy="291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2">
              <p14:nvContentPartPr>
                <p14:cNvPr id="58" name="Ink 57">
                  <a:extLst>
                    <a:ext uri="{FF2B5EF4-FFF2-40B4-BE49-F238E27FC236}">
                      <a16:creationId xmlns:a16="http://schemas.microsoft.com/office/drawing/2014/main" id="{799B7A65-3D43-4311-8694-BB936349F8A9}"/>
                    </a:ext>
                  </a:extLst>
                </p14:cNvPr>
                <p14:cNvContentPartPr/>
                <p14:nvPr/>
              </p14:nvContentPartPr>
              <p14:xfrm>
                <a:off x="10102395" y="3176265"/>
                <a:ext cx="495720" cy="138600"/>
              </p14:xfrm>
            </p:contentPart>
          </mc:Choice>
          <mc:Fallback xmlns="">
            <p:pic>
              <p:nvPicPr>
                <p:cNvPr id="58" name="Ink 57">
                  <a:extLst>
                    <a:ext uri="{FF2B5EF4-FFF2-40B4-BE49-F238E27FC236}">
                      <a16:creationId xmlns:a16="http://schemas.microsoft.com/office/drawing/2014/main" id="{799B7A65-3D43-4311-8694-BB936349F8A9}"/>
                    </a:ext>
                  </a:extLst>
                </p:cNvPr>
                <p:cNvPicPr/>
                <p:nvPr/>
              </p:nvPicPr>
              <p:blipFill>
                <a:blip r:embed="rId83"/>
                <a:stretch>
                  <a:fillRect/>
                </a:stretch>
              </p:blipFill>
              <p:spPr>
                <a:xfrm>
                  <a:off x="10084395" y="3158265"/>
                  <a:ext cx="531360" cy="174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4">
              <p14:nvContentPartPr>
                <p14:cNvPr id="59" name="Ink 58">
                  <a:extLst>
                    <a:ext uri="{FF2B5EF4-FFF2-40B4-BE49-F238E27FC236}">
                      <a16:creationId xmlns:a16="http://schemas.microsoft.com/office/drawing/2014/main" id="{BEF94A4B-DFBF-4313-81E6-31874EC58228}"/>
                    </a:ext>
                  </a:extLst>
                </p14:cNvPr>
                <p14:cNvContentPartPr/>
                <p14:nvPr/>
              </p14:nvContentPartPr>
              <p14:xfrm>
                <a:off x="10765875" y="3063585"/>
                <a:ext cx="140760" cy="234720"/>
              </p14:xfrm>
            </p:contentPart>
          </mc:Choice>
          <mc:Fallback xmlns="">
            <p:pic>
              <p:nvPicPr>
                <p:cNvPr id="59" name="Ink 58">
                  <a:extLst>
                    <a:ext uri="{FF2B5EF4-FFF2-40B4-BE49-F238E27FC236}">
                      <a16:creationId xmlns:a16="http://schemas.microsoft.com/office/drawing/2014/main" id="{BEF94A4B-DFBF-4313-81E6-31874EC58228}"/>
                    </a:ext>
                  </a:extLst>
                </p:cNvPr>
                <p:cNvPicPr/>
                <p:nvPr/>
              </p:nvPicPr>
              <p:blipFill>
                <a:blip r:embed="rId85"/>
                <a:stretch>
                  <a:fillRect/>
                </a:stretch>
              </p:blipFill>
              <p:spPr>
                <a:xfrm>
                  <a:off x="10748235" y="3045945"/>
                  <a:ext cx="176400" cy="270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6">
              <p14:nvContentPartPr>
                <p14:cNvPr id="60" name="Ink 59">
                  <a:extLst>
                    <a:ext uri="{FF2B5EF4-FFF2-40B4-BE49-F238E27FC236}">
                      <a16:creationId xmlns:a16="http://schemas.microsoft.com/office/drawing/2014/main" id="{479E943F-CE9D-498C-A790-6D8215322261}"/>
                    </a:ext>
                  </a:extLst>
                </p14:cNvPr>
                <p14:cNvContentPartPr/>
                <p14:nvPr/>
              </p14:nvContentPartPr>
              <p14:xfrm>
                <a:off x="10708635" y="3178785"/>
                <a:ext cx="513000" cy="105840"/>
              </p14:xfrm>
            </p:contentPart>
          </mc:Choice>
          <mc:Fallback xmlns="">
            <p:pic>
              <p:nvPicPr>
                <p:cNvPr id="60" name="Ink 59">
                  <a:extLst>
                    <a:ext uri="{FF2B5EF4-FFF2-40B4-BE49-F238E27FC236}">
                      <a16:creationId xmlns:a16="http://schemas.microsoft.com/office/drawing/2014/main" id="{479E943F-CE9D-498C-A790-6D8215322261}"/>
                    </a:ext>
                  </a:extLst>
                </p:cNvPr>
                <p:cNvPicPr/>
                <p:nvPr/>
              </p:nvPicPr>
              <p:blipFill>
                <a:blip r:embed="rId87"/>
                <a:stretch>
                  <a:fillRect/>
                </a:stretch>
              </p:blipFill>
              <p:spPr>
                <a:xfrm>
                  <a:off x="10690635" y="3161145"/>
                  <a:ext cx="548640" cy="141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8">
              <p14:nvContentPartPr>
                <p14:cNvPr id="61" name="Ink 60">
                  <a:extLst>
                    <a:ext uri="{FF2B5EF4-FFF2-40B4-BE49-F238E27FC236}">
                      <a16:creationId xmlns:a16="http://schemas.microsoft.com/office/drawing/2014/main" id="{96992408-2FD9-4339-A0A7-705AF7399592}"/>
                    </a:ext>
                  </a:extLst>
                </p14:cNvPr>
                <p14:cNvContentPartPr/>
                <p14:nvPr/>
              </p14:nvContentPartPr>
              <p14:xfrm>
                <a:off x="11283915" y="3131625"/>
                <a:ext cx="163440" cy="156600"/>
              </p14:xfrm>
            </p:contentPart>
          </mc:Choice>
          <mc:Fallback xmlns="">
            <p:pic>
              <p:nvPicPr>
                <p:cNvPr id="61" name="Ink 60">
                  <a:extLst>
                    <a:ext uri="{FF2B5EF4-FFF2-40B4-BE49-F238E27FC236}">
                      <a16:creationId xmlns:a16="http://schemas.microsoft.com/office/drawing/2014/main" id="{96992408-2FD9-4339-A0A7-705AF7399592}"/>
                    </a:ext>
                  </a:extLst>
                </p:cNvPr>
                <p:cNvPicPr/>
                <p:nvPr/>
              </p:nvPicPr>
              <p:blipFill>
                <a:blip r:embed="rId89"/>
                <a:stretch>
                  <a:fillRect/>
                </a:stretch>
              </p:blipFill>
              <p:spPr>
                <a:xfrm>
                  <a:off x="11265915" y="3113625"/>
                  <a:ext cx="199080" cy="192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0">
              <p14:nvContentPartPr>
                <p14:cNvPr id="62" name="Ink 61">
                  <a:extLst>
                    <a:ext uri="{FF2B5EF4-FFF2-40B4-BE49-F238E27FC236}">
                      <a16:creationId xmlns:a16="http://schemas.microsoft.com/office/drawing/2014/main" id="{806E3706-0662-44D7-9780-B12AD7032193}"/>
                    </a:ext>
                  </a:extLst>
                </p14:cNvPr>
                <p14:cNvContentPartPr/>
                <p14:nvPr/>
              </p14:nvContentPartPr>
              <p14:xfrm>
                <a:off x="11494515" y="3099225"/>
                <a:ext cx="235080" cy="176400"/>
              </p14:xfrm>
            </p:contentPart>
          </mc:Choice>
          <mc:Fallback xmlns="">
            <p:pic>
              <p:nvPicPr>
                <p:cNvPr id="62" name="Ink 61">
                  <a:extLst>
                    <a:ext uri="{FF2B5EF4-FFF2-40B4-BE49-F238E27FC236}">
                      <a16:creationId xmlns:a16="http://schemas.microsoft.com/office/drawing/2014/main" id="{806E3706-0662-44D7-9780-B12AD7032193}"/>
                    </a:ext>
                  </a:extLst>
                </p:cNvPr>
                <p:cNvPicPr/>
                <p:nvPr/>
              </p:nvPicPr>
              <p:blipFill>
                <a:blip r:embed="rId91"/>
                <a:stretch>
                  <a:fillRect/>
                </a:stretch>
              </p:blipFill>
              <p:spPr>
                <a:xfrm>
                  <a:off x="11476875" y="3081225"/>
                  <a:ext cx="270720" cy="212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2">
              <p14:nvContentPartPr>
                <p14:cNvPr id="63" name="Ink 62">
                  <a:extLst>
                    <a:ext uri="{FF2B5EF4-FFF2-40B4-BE49-F238E27FC236}">
                      <a16:creationId xmlns:a16="http://schemas.microsoft.com/office/drawing/2014/main" id="{4DBCB15F-88EB-4106-BC1F-3E5577BD78E1}"/>
                    </a:ext>
                  </a:extLst>
                </p14:cNvPr>
                <p14:cNvContentPartPr/>
                <p14:nvPr/>
              </p14:nvContentPartPr>
              <p14:xfrm>
                <a:off x="11727795" y="3107145"/>
                <a:ext cx="7560" cy="54000"/>
              </p14:xfrm>
            </p:contentPart>
          </mc:Choice>
          <mc:Fallback xmlns="">
            <p:pic>
              <p:nvPicPr>
                <p:cNvPr id="63" name="Ink 62">
                  <a:extLst>
                    <a:ext uri="{FF2B5EF4-FFF2-40B4-BE49-F238E27FC236}">
                      <a16:creationId xmlns:a16="http://schemas.microsoft.com/office/drawing/2014/main" id="{4DBCB15F-88EB-4106-BC1F-3E5577BD78E1}"/>
                    </a:ext>
                  </a:extLst>
                </p:cNvPr>
                <p:cNvPicPr/>
                <p:nvPr/>
              </p:nvPicPr>
              <p:blipFill>
                <a:blip r:embed="rId93"/>
                <a:stretch>
                  <a:fillRect/>
                </a:stretch>
              </p:blipFill>
              <p:spPr>
                <a:xfrm>
                  <a:off x="11710155" y="3089145"/>
                  <a:ext cx="43200" cy="89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4">
              <p14:nvContentPartPr>
                <p14:cNvPr id="64" name="Ink 63">
                  <a:extLst>
                    <a:ext uri="{FF2B5EF4-FFF2-40B4-BE49-F238E27FC236}">
                      <a16:creationId xmlns:a16="http://schemas.microsoft.com/office/drawing/2014/main" id="{C3EA1C42-92B9-422D-8D7E-4875B3DBDC6D}"/>
                    </a:ext>
                  </a:extLst>
                </p14:cNvPr>
                <p14:cNvContentPartPr/>
                <p14:nvPr/>
              </p14:nvContentPartPr>
              <p14:xfrm>
                <a:off x="11819955" y="3155025"/>
                <a:ext cx="176760" cy="126000"/>
              </p14:xfrm>
            </p:contentPart>
          </mc:Choice>
          <mc:Fallback xmlns="">
            <p:pic>
              <p:nvPicPr>
                <p:cNvPr id="64" name="Ink 63">
                  <a:extLst>
                    <a:ext uri="{FF2B5EF4-FFF2-40B4-BE49-F238E27FC236}">
                      <a16:creationId xmlns:a16="http://schemas.microsoft.com/office/drawing/2014/main" id="{C3EA1C42-92B9-422D-8D7E-4875B3DBDC6D}"/>
                    </a:ext>
                  </a:extLst>
                </p:cNvPr>
                <p:cNvPicPr/>
                <p:nvPr/>
              </p:nvPicPr>
              <p:blipFill>
                <a:blip r:embed="rId95"/>
                <a:stretch>
                  <a:fillRect/>
                </a:stretch>
              </p:blipFill>
              <p:spPr>
                <a:xfrm>
                  <a:off x="11802315" y="3137025"/>
                  <a:ext cx="212400" cy="1616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9EAA8E6C-98B3-4EC7-8E2E-FDD3B64B4E43}"/>
              </a:ext>
            </a:extLst>
          </p:cNvPr>
          <p:cNvGrpSpPr/>
          <p:nvPr/>
        </p:nvGrpSpPr>
        <p:grpSpPr>
          <a:xfrm>
            <a:off x="9478875" y="3476865"/>
            <a:ext cx="2122200" cy="522000"/>
            <a:chOff x="9478875" y="3476865"/>
            <a:chExt cx="2122200" cy="5220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96">
              <p14:nvContentPartPr>
                <p14:cNvPr id="65" name="Ink 64">
                  <a:extLst>
                    <a:ext uri="{FF2B5EF4-FFF2-40B4-BE49-F238E27FC236}">
                      <a16:creationId xmlns:a16="http://schemas.microsoft.com/office/drawing/2014/main" id="{66D57C92-C783-49E0-BE1D-55AC24CDBE5C}"/>
                    </a:ext>
                  </a:extLst>
                </p14:cNvPr>
                <p14:cNvContentPartPr/>
                <p14:nvPr/>
              </p14:nvContentPartPr>
              <p14:xfrm>
                <a:off x="9478875" y="3499545"/>
                <a:ext cx="351000" cy="162000"/>
              </p14:xfrm>
            </p:contentPart>
          </mc:Choice>
          <mc:Fallback xmlns="">
            <p:pic>
              <p:nvPicPr>
                <p:cNvPr id="65" name="Ink 64">
                  <a:extLst>
                    <a:ext uri="{FF2B5EF4-FFF2-40B4-BE49-F238E27FC236}">
                      <a16:creationId xmlns:a16="http://schemas.microsoft.com/office/drawing/2014/main" id="{66D57C92-C783-49E0-BE1D-55AC24CDBE5C}"/>
                    </a:ext>
                  </a:extLst>
                </p:cNvPr>
                <p:cNvPicPr/>
                <p:nvPr/>
              </p:nvPicPr>
              <p:blipFill>
                <a:blip r:embed="rId97"/>
                <a:stretch>
                  <a:fillRect/>
                </a:stretch>
              </p:blipFill>
              <p:spPr>
                <a:xfrm>
                  <a:off x="9460875" y="3481545"/>
                  <a:ext cx="386640" cy="197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8">
              <p14:nvContentPartPr>
                <p14:cNvPr id="66" name="Ink 65">
                  <a:extLst>
                    <a:ext uri="{FF2B5EF4-FFF2-40B4-BE49-F238E27FC236}">
                      <a16:creationId xmlns:a16="http://schemas.microsoft.com/office/drawing/2014/main" id="{CF26D0FD-6DAF-4998-9BF4-BDDF3EF4DFC4}"/>
                    </a:ext>
                  </a:extLst>
                </p14:cNvPr>
                <p14:cNvContentPartPr/>
                <p14:nvPr/>
              </p14:nvContentPartPr>
              <p14:xfrm>
                <a:off x="10017435" y="3476865"/>
                <a:ext cx="613440" cy="194400"/>
              </p14:xfrm>
            </p:contentPart>
          </mc:Choice>
          <mc:Fallback xmlns="">
            <p:pic>
              <p:nvPicPr>
                <p:cNvPr id="66" name="Ink 65">
                  <a:extLst>
                    <a:ext uri="{FF2B5EF4-FFF2-40B4-BE49-F238E27FC236}">
                      <a16:creationId xmlns:a16="http://schemas.microsoft.com/office/drawing/2014/main" id="{CF26D0FD-6DAF-4998-9BF4-BDDF3EF4DFC4}"/>
                    </a:ext>
                  </a:extLst>
                </p:cNvPr>
                <p:cNvPicPr/>
                <p:nvPr/>
              </p:nvPicPr>
              <p:blipFill>
                <a:blip r:embed="rId99"/>
                <a:stretch>
                  <a:fillRect/>
                </a:stretch>
              </p:blipFill>
              <p:spPr>
                <a:xfrm>
                  <a:off x="9999435" y="3459225"/>
                  <a:ext cx="649080" cy="230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0">
              <p14:nvContentPartPr>
                <p14:cNvPr id="67" name="Ink 66">
                  <a:extLst>
                    <a:ext uri="{FF2B5EF4-FFF2-40B4-BE49-F238E27FC236}">
                      <a16:creationId xmlns:a16="http://schemas.microsoft.com/office/drawing/2014/main" id="{ACA56749-55DB-46AF-ACC5-862B8FEC3533}"/>
                    </a:ext>
                  </a:extLst>
                </p14:cNvPr>
                <p14:cNvContentPartPr/>
                <p14:nvPr/>
              </p14:nvContentPartPr>
              <p14:xfrm>
                <a:off x="10601355" y="3520425"/>
                <a:ext cx="318600" cy="146880"/>
              </p14:xfrm>
            </p:contentPart>
          </mc:Choice>
          <mc:Fallback xmlns="">
            <p:pic>
              <p:nvPicPr>
                <p:cNvPr id="67" name="Ink 66">
                  <a:extLst>
                    <a:ext uri="{FF2B5EF4-FFF2-40B4-BE49-F238E27FC236}">
                      <a16:creationId xmlns:a16="http://schemas.microsoft.com/office/drawing/2014/main" id="{ACA56749-55DB-46AF-ACC5-862B8FEC3533}"/>
                    </a:ext>
                  </a:extLst>
                </p:cNvPr>
                <p:cNvPicPr/>
                <p:nvPr/>
              </p:nvPicPr>
              <p:blipFill>
                <a:blip r:embed="rId101"/>
                <a:stretch>
                  <a:fillRect/>
                </a:stretch>
              </p:blipFill>
              <p:spPr>
                <a:xfrm>
                  <a:off x="10583355" y="3502425"/>
                  <a:ext cx="354240" cy="182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2">
              <p14:nvContentPartPr>
                <p14:cNvPr id="68" name="Ink 67">
                  <a:extLst>
                    <a:ext uri="{FF2B5EF4-FFF2-40B4-BE49-F238E27FC236}">
                      <a16:creationId xmlns:a16="http://schemas.microsoft.com/office/drawing/2014/main" id="{AB809691-8BF3-4157-BF69-07F0B92A07AA}"/>
                    </a:ext>
                  </a:extLst>
                </p14:cNvPr>
                <p14:cNvContentPartPr/>
                <p14:nvPr/>
              </p14:nvContentPartPr>
              <p14:xfrm>
                <a:off x="10820595" y="3581985"/>
                <a:ext cx="305640" cy="113040"/>
              </p14:xfrm>
            </p:contentPart>
          </mc:Choice>
          <mc:Fallback xmlns="">
            <p:pic>
              <p:nvPicPr>
                <p:cNvPr id="68" name="Ink 67">
                  <a:extLst>
                    <a:ext uri="{FF2B5EF4-FFF2-40B4-BE49-F238E27FC236}">
                      <a16:creationId xmlns:a16="http://schemas.microsoft.com/office/drawing/2014/main" id="{AB809691-8BF3-4157-BF69-07F0B92A07AA}"/>
                    </a:ext>
                  </a:extLst>
                </p:cNvPr>
                <p:cNvPicPr/>
                <p:nvPr/>
              </p:nvPicPr>
              <p:blipFill>
                <a:blip r:embed="rId103"/>
                <a:stretch>
                  <a:fillRect/>
                </a:stretch>
              </p:blipFill>
              <p:spPr>
                <a:xfrm>
                  <a:off x="10802595" y="3563985"/>
                  <a:ext cx="341280" cy="148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4">
              <p14:nvContentPartPr>
                <p14:cNvPr id="69" name="Ink 68">
                  <a:extLst>
                    <a:ext uri="{FF2B5EF4-FFF2-40B4-BE49-F238E27FC236}">
                      <a16:creationId xmlns:a16="http://schemas.microsoft.com/office/drawing/2014/main" id="{B85B8AF2-5417-497F-A32C-8A054108752A}"/>
                    </a:ext>
                  </a:extLst>
                </p14:cNvPr>
                <p14:cNvContentPartPr/>
                <p14:nvPr/>
              </p14:nvContentPartPr>
              <p14:xfrm>
                <a:off x="11181675" y="3552105"/>
                <a:ext cx="103320" cy="143640"/>
              </p14:xfrm>
            </p:contentPart>
          </mc:Choice>
          <mc:Fallback xmlns="">
            <p:pic>
              <p:nvPicPr>
                <p:cNvPr id="69" name="Ink 68">
                  <a:extLst>
                    <a:ext uri="{FF2B5EF4-FFF2-40B4-BE49-F238E27FC236}">
                      <a16:creationId xmlns:a16="http://schemas.microsoft.com/office/drawing/2014/main" id="{B85B8AF2-5417-497F-A32C-8A054108752A}"/>
                    </a:ext>
                  </a:extLst>
                </p:cNvPr>
                <p:cNvPicPr/>
                <p:nvPr/>
              </p:nvPicPr>
              <p:blipFill>
                <a:blip r:embed="rId105"/>
                <a:stretch>
                  <a:fillRect/>
                </a:stretch>
              </p:blipFill>
              <p:spPr>
                <a:xfrm>
                  <a:off x="11164035" y="3534465"/>
                  <a:ext cx="138960" cy="179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6">
              <p14:nvContentPartPr>
                <p14:cNvPr id="70" name="Ink 69">
                  <a:extLst>
                    <a:ext uri="{FF2B5EF4-FFF2-40B4-BE49-F238E27FC236}">
                      <a16:creationId xmlns:a16="http://schemas.microsoft.com/office/drawing/2014/main" id="{7E7BACD0-5CDC-48C1-8E0A-5065C6665527}"/>
                    </a:ext>
                  </a:extLst>
                </p14:cNvPr>
                <p14:cNvContentPartPr/>
                <p14:nvPr/>
              </p14:nvContentPartPr>
              <p14:xfrm>
                <a:off x="10586235" y="3746505"/>
                <a:ext cx="579960" cy="215280"/>
              </p14:xfrm>
            </p:contentPart>
          </mc:Choice>
          <mc:Fallback xmlns="">
            <p:pic>
              <p:nvPicPr>
                <p:cNvPr id="70" name="Ink 69">
                  <a:extLst>
                    <a:ext uri="{FF2B5EF4-FFF2-40B4-BE49-F238E27FC236}">
                      <a16:creationId xmlns:a16="http://schemas.microsoft.com/office/drawing/2014/main" id="{7E7BACD0-5CDC-48C1-8E0A-5065C6665527}"/>
                    </a:ext>
                  </a:extLst>
                </p:cNvPr>
                <p:cNvPicPr/>
                <p:nvPr/>
              </p:nvPicPr>
              <p:blipFill>
                <a:blip r:embed="rId107"/>
                <a:stretch>
                  <a:fillRect/>
                </a:stretch>
              </p:blipFill>
              <p:spPr>
                <a:xfrm>
                  <a:off x="10568235" y="3728865"/>
                  <a:ext cx="615600" cy="250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8">
              <p14:nvContentPartPr>
                <p14:cNvPr id="71" name="Ink 70">
                  <a:extLst>
                    <a:ext uri="{FF2B5EF4-FFF2-40B4-BE49-F238E27FC236}">
                      <a16:creationId xmlns:a16="http://schemas.microsoft.com/office/drawing/2014/main" id="{81D634F0-5943-4B0F-9A69-5B93E67FBFAB}"/>
                    </a:ext>
                  </a:extLst>
                </p14:cNvPr>
                <p14:cNvContentPartPr/>
                <p14:nvPr/>
              </p14:nvContentPartPr>
              <p14:xfrm>
                <a:off x="11117595" y="3782145"/>
                <a:ext cx="483480" cy="216720"/>
              </p14:xfrm>
            </p:contentPart>
          </mc:Choice>
          <mc:Fallback xmlns="">
            <p:pic>
              <p:nvPicPr>
                <p:cNvPr id="71" name="Ink 70">
                  <a:extLst>
                    <a:ext uri="{FF2B5EF4-FFF2-40B4-BE49-F238E27FC236}">
                      <a16:creationId xmlns:a16="http://schemas.microsoft.com/office/drawing/2014/main" id="{81D634F0-5943-4B0F-9A69-5B93E67FBFAB}"/>
                    </a:ext>
                  </a:extLst>
                </p:cNvPr>
                <p:cNvPicPr/>
                <p:nvPr/>
              </p:nvPicPr>
              <p:blipFill>
                <a:blip r:embed="rId109"/>
                <a:stretch>
                  <a:fillRect/>
                </a:stretch>
              </p:blipFill>
              <p:spPr>
                <a:xfrm>
                  <a:off x="11099595" y="3764505"/>
                  <a:ext cx="519120" cy="2523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1C219E10-5B9E-4679-8B0C-02755A4D78F4}"/>
              </a:ext>
            </a:extLst>
          </p:cNvPr>
          <p:cNvGrpSpPr/>
          <p:nvPr/>
        </p:nvGrpSpPr>
        <p:grpSpPr>
          <a:xfrm>
            <a:off x="6953835" y="3742185"/>
            <a:ext cx="1497960" cy="249480"/>
            <a:chOff x="6953835" y="3742185"/>
            <a:chExt cx="1497960" cy="2494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10">
              <p14:nvContentPartPr>
                <p14:cNvPr id="74" name="Ink 73">
                  <a:extLst>
                    <a:ext uri="{FF2B5EF4-FFF2-40B4-BE49-F238E27FC236}">
                      <a16:creationId xmlns:a16="http://schemas.microsoft.com/office/drawing/2014/main" id="{291CF9A2-4725-4EDD-BD55-C54D9E3BD91C}"/>
                    </a:ext>
                  </a:extLst>
                </p14:cNvPr>
                <p14:cNvContentPartPr/>
                <p14:nvPr/>
              </p14:nvContentPartPr>
              <p14:xfrm>
                <a:off x="6953835" y="3895545"/>
                <a:ext cx="198360" cy="19800"/>
              </p14:xfrm>
            </p:contentPart>
          </mc:Choice>
          <mc:Fallback xmlns="">
            <p:pic>
              <p:nvPicPr>
                <p:cNvPr id="74" name="Ink 73">
                  <a:extLst>
                    <a:ext uri="{FF2B5EF4-FFF2-40B4-BE49-F238E27FC236}">
                      <a16:creationId xmlns:a16="http://schemas.microsoft.com/office/drawing/2014/main" id="{291CF9A2-4725-4EDD-BD55-C54D9E3BD91C}"/>
                    </a:ext>
                  </a:extLst>
                </p:cNvPr>
                <p:cNvPicPr/>
                <p:nvPr/>
              </p:nvPicPr>
              <p:blipFill>
                <a:blip r:embed="rId111"/>
                <a:stretch>
                  <a:fillRect/>
                </a:stretch>
              </p:blipFill>
              <p:spPr>
                <a:xfrm>
                  <a:off x="6936195" y="3877545"/>
                  <a:ext cx="234000" cy="55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2">
              <p14:nvContentPartPr>
                <p14:cNvPr id="75" name="Ink 74">
                  <a:extLst>
                    <a:ext uri="{FF2B5EF4-FFF2-40B4-BE49-F238E27FC236}">
                      <a16:creationId xmlns:a16="http://schemas.microsoft.com/office/drawing/2014/main" id="{749D898D-A992-4A09-B234-C02F2136EC12}"/>
                    </a:ext>
                  </a:extLst>
                </p14:cNvPr>
                <p14:cNvContentPartPr/>
                <p14:nvPr/>
              </p14:nvContentPartPr>
              <p14:xfrm>
                <a:off x="7314915" y="3760545"/>
                <a:ext cx="185760" cy="231120"/>
              </p14:xfrm>
            </p:contentPart>
          </mc:Choice>
          <mc:Fallback xmlns="">
            <p:pic>
              <p:nvPicPr>
                <p:cNvPr id="75" name="Ink 74">
                  <a:extLst>
                    <a:ext uri="{FF2B5EF4-FFF2-40B4-BE49-F238E27FC236}">
                      <a16:creationId xmlns:a16="http://schemas.microsoft.com/office/drawing/2014/main" id="{749D898D-A992-4A09-B234-C02F2136EC12}"/>
                    </a:ext>
                  </a:extLst>
                </p:cNvPr>
                <p:cNvPicPr/>
                <p:nvPr/>
              </p:nvPicPr>
              <p:blipFill>
                <a:blip r:embed="rId113"/>
                <a:stretch>
                  <a:fillRect/>
                </a:stretch>
              </p:blipFill>
              <p:spPr>
                <a:xfrm>
                  <a:off x="7296915" y="3742905"/>
                  <a:ext cx="221400" cy="266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4">
              <p14:nvContentPartPr>
                <p14:cNvPr id="76" name="Ink 75">
                  <a:extLst>
                    <a:ext uri="{FF2B5EF4-FFF2-40B4-BE49-F238E27FC236}">
                      <a16:creationId xmlns:a16="http://schemas.microsoft.com/office/drawing/2014/main" id="{17FA56CF-F4DB-4C20-8085-0DF7FA2E8E15}"/>
                    </a:ext>
                  </a:extLst>
                </p14:cNvPr>
                <p14:cNvContentPartPr/>
                <p14:nvPr/>
              </p14:nvContentPartPr>
              <p14:xfrm>
                <a:off x="7597515" y="3829665"/>
                <a:ext cx="62280" cy="109440"/>
              </p14:xfrm>
            </p:contentPart>
          </mc:Choice>
          <mc:Fallback xmlns="">
            <p:pic>
              <p:nvPicPr>
                <p:cNvPr id="76" name="Ink 75">
                  <a:extLst>
                    <a:ext uri="{FF2B5EF4-FFF2-40B4-BE49-F238E27FC236}">
                      <a16:creationId xmlns:a16="http://schemas.microsoft.com/office/drawing/2014/main" id="{17FA56CF-F4DB-4C20-8085-0DF7FA2E8E15}"/>
                    </a:ext>
                  </a:extLst>
                </p:cNvPr>
                <p:cNvPicPr/>
                <p:nvPr/>
              </p:nvPicPr>
              <p:blipFill>
                <a:blip r:embed="rId115"/>
                <a:stretch>
                  <a:fillRect/>
                </a:stretch>
              </p:blipFill>
              <p:spPr>
                <a:xfrm>
                  <a:off x="7579515" y="3812025"/>
                  <a:ext cx="97920" cy="145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6">
              <p14:nvContentPartPr>
                <p14:cNvPr id="77" name="Ink 76">
                  <a:extLst>
                    <a:ext uri="{FF2B5EF4-FFF2-40B4-BE49-F238E27FC236}">
                      <a16:creationId xmlns:a16="http://schemas.microsoft.com/office/drawing/2014/main" id="{B2B5F341-5C55-49C5-8F9A-7A4D2D5F73BC}"/>
                    </a:ext>
                  </a:extLst>
                </p14:cNvPr>
                <p14:cNvContentPartPr/>
                <p14:nvPr/>
              </p14:nvContentPartPr>
              <p14:xfrm>
                <a:off x="7637115" y="3770625"/>
                <a:ext cx="1800" cy="6840"/>
              </p14:xfrm>
            </p:contentPart>
          </mc:Choice>
          <mc:Fallback xmlns="">
            <p:pic>
              <p:nvPicPr>
                <p:cNvPr id="77" name="Ink 76">
                  <a:extLst>
                    <a:ext uri="{FF2B5EF4-FFF2-40B4-BE49-F238E27FC236}">
                      <a16:creationId xmlns:a16="http://schemas.microsoft.com/office/drawing/2014/main" id="{B2B5F341-5C55-49C5-8F9A-7A4D2D5F73BC}"/>
                    </a:ext>
                  </a:extLst>
                </p:cNvPr>
                <p:cNvPicPr/>
                <p:nvPr/>
              </p:nvPicPr>
              <p:blipFill>
                <a:blip r:embed="rId117"/>
                <a:stretch>
                  <a:fillRect/>
                </a:stretch>
              </p:blipFill>
              <p:spPr>
                <a:xfrm>
                  <a:off x="7619115" y="3752625"/>
                  <a:ext cx="37440" cy="42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8">
              <p14:nvContentPartPr>
                <p14:cNvPr id="78" name="Ink 77">
                  <a:extLst>
                    <a:ext uri="{FF2B5EF4-FFF2-40B4-BE49-F238E27FC236}">
                      <a16:creationId xmlns:a16="http://schemas.microsoft.com/office/drawing/2014/main" id="{563AD74F-92F5-4C77-BA02-875DB9934D98}"/>
                    </a:ext>
                  </a:extLst>
                </p14:cNvPr>
                <p14:cNvContentPartPr/>
                <p14:nvPr/>
              </p14:nvContentPartPr>
              <p14:xfrm>
                <a:off x="7701915" y="3795105"/>
                <a:ext cx="244440" cy="137160"/>
              </p14:xfrm>
            </p:contentPart>
          </mc:Choice>
          <mc:Fallback xmlns="">
            <p:pic>
              <p:nvPicPr>
                <p:cNvPr id="78" name="Ink 77">
                  <a:extLst>
                    <a:ext uri="{FF2B5EF4-FFF2-40B4-BE49-F238E27FC236}">
                      <a16:creationId xmlns:a16="http://schemas.microsoft.com/office/drawing/2014/main" id="{563AD74F-92F5-4C77-BA02-875DB9934D98}"/>
                    </a:ext>
                  </a:extLst>
                </p:cNvPr>
                <p:cNvPicPr/>
                <p:nvPr/>
              </p:nvPicPr>
              <p:blipFill>
                <a:blip r:embed="rId119"/>
                <a:stretch>
                  <a:fillRect/>
                </a:stretch>
              </p:blipFill>
              <p:spPr>
                <a:xfrm>
                  <a:off x="7683915" y="3777465"/>
                  <a:ext cx="280080" cy="172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0">
              <p14:nvContentPartPr>
                <p14:cNvPr id="79" name="Ink 78">
                  <a:extLst>
                    <a:ext uri="{FF2B5EF4-FFF2-40B4-BE49-F238E27FC236}">
                      <a16:creationId xmlns:a16="http://schemas.microsoft.com/office/drawing/2014/main" id="{B347D9B7-8240-4A0A-84D9-84299B6A35A2}"/>
                    </a:ext>
                  </a:extLst>
                </p14:cNvPr>
                <p14:cNvContentPartPr/>
                <p14:nvPr/>
              </p14:nvContentPartPr>
              <p14:xfrm>
                <a:off x="8023755" y="3742185"/>
                <a:ext cx="273960" cy="220320"/>
              </p14:xfrm>
            </p:contentPart>
          </mc:Choice>
          <mc:Fallback xmlns="">
            <p:pic>
              <p:nvPicPr>
                <p:cNvPr id="79" name="Ink 78">
                  <a:extLst>
                    <a:ext uri="{FF2B5EF4-FFF2-40B4-BE49-F238E27FC236}">
                      <a16:creationId xmlns:a16="http://schemas.microsoft.com/office/drawing/2014/main" id="{B347D9B7-8240-4A0A-84D9-84299B6A35A2}"/>
                    </a:ext>
                  </a:extLst>
                </p:cNvPr>
                <p:cNvPicPr/>
                <p:nvPr/>
              </p:nvPicPr>
              <p:blipFill>
                <a:blip r:embed="rId121"/>
                <a:stretch>
                  <a:fillRect/>
                </a:stretch>
              </p:blipFill>
              <p:spPr>
                <a:xfrm>
                  <a:off x="8005755" y="3724545"/>
                  <a:ext cx="309600" cy="255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2">
              <p14:nvContentPartPr>
                <p14:cNvPr id="81" name="Ink 80">
                  <a:extLst>
                    <a:ext uri="{FF2B5EF4-FFF2-40B4-BE49-F238E27FC236}">
                      <a16:creationId xmlns:a16="http://schemas.microsoft.com/office/drawing/2014/main" id="{D7F06A4E-E702-418D-B7F9-A2ADCD533272}"/>
                    </a:ext>
                  </a:extLst>
                </p14:cNvPr>
                <p14:cNvContentPartPr/>
                <p14:nvPr/>
              </p14:nvContentPartPr>
              <p14:xfrm>
                <a:off x="8362155" y="3783585"/>
                <a:ext cx="89640" cy="134640"/>
              </p14:xfrm>
            </p:contentPart>
          </mc:Choice>
          <mc:Fallback xmlns="">
            <p:pic>
              <p:nvPicPr>
                <p:cNvPr id="81" name="Ink 80">
                  <a:extLst>
                    <a:ext uri="{FF2B5EF4-FFF2-40B4-BE49-F238E27FC236}">
                      <a16:creationId xmlns:a16="http://schemas.microsoft.com/office/drawing/2014/main" id="{D7F06A4E-E702-418D-B7F9-A2ADCD533272}"/>
                    </a:ext>
                  </a:extLst>
                </p:cNvPr>
                <p:cNvPicPr/>
                <p:nvPr/>
              </p:nvPicPr>
              <p:blipFill>
                <a:blip r:embed="rId123"/>
                <a:stretch>
                  <a:fillRect/>
                </a:stretch>
              </p:blipFill>
              <p:spPr>
                <a:xfrm>
                  <a:off x="8344515" y="3765585"/>
                  <a:ext cx="125280" cy="1702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A7741FC1-FF05-4FD6-894B-EDD49AA966AC}"/>
              </a:ext>
            </a:extLst>
          </p:cNvPr>
          <p:cNvGrpSpPr/>
          <p:nvPr/>
        </p:nvGrpSpPr>
        <p:grpSpPr>
          <a:xfrm>
            <a:off x="8689395" y="3720945"/>
            <a:ext cx="600480" cy="274320"/>
            <a:chOff x="8689395" y="3720945"/>
            <a:chExt cx="600480" cy="2743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24">
              <p14:nvContentPartPr>
                <p14:cNvPr id="82" name="Ink 81">
                  <a:extLst>
                    <a:ext uri="{FF2B5EF4-FFF2-40B4-BE49-F238E27FC236}">
                      <a16:creationId xmlns:a16="http://schemas.microsoft.com/office/drawing/2014/main" id="{ECD4F202-0153-4C91-B289-2A096C3FEAFA}"/>
                    </a:ext>
                  </a:extLst>
                </p14:cNvPr>
                <p14:cNvContentPartPr/>
                <p14:nvPr/>
              </p14:nvContentPartPr>
              <p14:xfrm>
                <a:off x="8689395" y="3720945"/>
                <a:ext cx="179280" cy="178920"/>
              </p14:xfrm>
            </p:contentPart>
          </mc:Choice>
          <mc:Fallback xmlns="">
            <p:pic>
              <p:nvPicPr>
                <p:cNvPr id="82" name="Ink 81">
                  <a:extLst>
                    <a:ext uri="{FF2B5EF4-FFF2-40B4-BE49-F238E27FC236}">
                      <a16:creationId xmlns:a16="http://schemas.microsoft.com/office/drawing/2014/main" id="{ECD4F202-0153-4C91-B289-2A096C3FEAFA}"/>
                    </a:ext>
                  </a:extLst>
                </p:cNvPr>
                <p:cNvPicPr/>
                <p:nvPr/>
              </p:nvPicPr>
              <p:blipFill>
                <a:blip r:embed="rId125"/>
                <a:stretch>
                  <a:fillRect/>
                </a:stretch>
              </p:blipFill>
              <p:spPr>
                <a:xfrm>
                  <a:off x="8671395" y="3702945"/>
                  <a:ext cx="214920" cy="214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6">
              <p14:nvContentPartPr>
                <p14:cNvPr id="83" name="Ink 82">
                  <a:extLst>
                    <a:ext uri="{FF2B5EF4-FFF2-40B4-BE49-F238E27FC236}">
                      <a16:creationId xmlns:a16="http://schemas.microsoft.com/office/drawing/2014/main" id="{7FE966A9-B499-4817-B204-FCE23ACD86BE}"/>
                    </a:ext>
                  </a:extLst>
                </p14:cNvPr>
                <p14:cNvContentPartPr/>
                <p14:nvPr/>
              </p14:nvContentPartPr>
              <p14:xfrm>
                <a:off x="8751675" y="3793305"/>
                <a:ext cx="295560" cy="122760"/>
              </p14:xfrm>
            </p:contentPart>
          </mc:Choice>
          <mc:Fallback xmlns="">
            <p:pic>
              <p:nvPicPr>
                <p:cNvPr id="83" name="Ink 82">
                  <a:extLst>
                    <a:ext uri="{FF2B5EF4-FFF2-40B4-BE49-F238E27FC236}">
                      <a16:creationId xmlns:a16="http://schemas.microsoft.com/office/drawing/2014/main" id="{7FE966A9-B499-4817-B204-FCE23ACD86BE}"/>
                    </a:ext>
                  </a:extLst>
                </p:cNvPr>
                <p:cNvPicPr/>
                <p:nvPr/>
              </p:nvPicPr>
              <p:blipFill>
                <a:blip r:embed="rId127"/>
                <a:stretch>
                  <a:fillRect/>
                </a:stretch>
              </p:blipFill>
              <p:spPr>
                <a:xfrm>
                  <a:off x="8733675" y="3775305"/>
                  <a:ext cx="331200" cy="158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8">
              <p14:nvContentPartPr>
                <p14:cNvPr id="84" name="Ink 83">
                  <a:extLst>
                    <a:ext uri="{FF2B5EF4-FFF2-40B4-BE49-F238E27FC236}">
                      <a16:creationId xmlns:a16="http://schemas.microsoft.com/office/drawing/2014/main" id="{D8F9FE73-EF5A-44D6-A8C6-83021FC90C68}"/>
                    </a:ext>
                  </a:extLst>
                </p14:cNvPr>
                <p14:cNvContentPartPr/>
                <p14:nvPr/>
              </p14:nvContentPartPr>
              <p14:xfrm>
                <a:off x="9092235" y="3787905"/>
                <a:ext cx="109800" cy="207360"/>
              </p14:xfrm>
            </p:contentPart>
          </mc:Choice>
          <mc:Fallback xmlns="">
            <p:pic>
              <p:nvPicPr>
                <p:cNvPr id="84" name="Ink 83">
                  <a:extLst>
                    <a:ext uri="{FF2B5EF4-FFF2-40B4-BE49-F238E27FC236}">
                      <a16:creationId xmlns:a16="http://schemas.microsoft.com/office/drawing/2014/main" id="{D8F9FE73-EF5A-44D6-A8C6-83021FC90C68}"/>
                    </a:ext>
                  </a:extLst>
                </p:cNvPr>
                <p:cNvPicPr/>
                <p:nvPr/>
              </p:nvPicPr>
              <p:blipFill>
                <a:blip r:embed="rId129"/>
                <a:stretch>
                  <a:fillRect/>
                </a:stretch>
              </p:blipFill>
              <p:spPr>
                <a:xfrm>
                  <a:off x="9074595" y="3770265"/>
                  <a:ext cx="145440" cy="243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0">
              <p14:nvContentPartPr>
                <p14:cNvPr id="85" name="Ink 84">
                  <a:extLst>
                    <a:ext uri="{FF2B5EF4-FFF2-40B4-BE49-F238E27FC236}">
                      <a16:creationId xmlns:a16="http://schemas.microsoft.com/office/drawing/2014/main" id="{DB90A160-C7C4-47C2-AB97-4FFA5E9A431C}"/>
                    </a:ext>
                  </a:extLst>
                </p14:cNvPr>
                <p14:cNvContentPartPr/>
                <p14:nvPr/>
              </p14:nvContentPartPr>
              <p14:xfrm>
                <a:off x="9254955" y="3857385"/>
                <a:ext cx="34920" cy="6840"/>
              </p14:xfrm>
            </p:contentPart>
          </mc:Choice>
          <mc:Fallback xmlns="">
            <p:pic>
              <p:nvPicPr>
                <p:cNvPr id="85" name="Ink 84">
                  <a:extLst>
                    <a:ext uri="{FF2B5EF4-FFF2-40B4-BE49-F238E27FC236}">
                      <a16:creationId xmlns:a16="http://schemas.microsoft.com/office/drawing/2014/main" id="{DB90A160-C7C4-47C2-AB97-4FFA5E9A431C}"/>
                    </a:ext>
                  </a:extLst>
                </p:cNvPr>
                <p:cNvPicPr/>
                <p:nvPr/>
              </p:nvPicPr>
              <p:blipFill>
                <a:blip r:embed="rId131"/>
                <a:stretch>
                  <a:fillRect/>
                </a:stretch>
              </p:blipFill>
              <p:spPr>
                <a:xfrm>
                  <a:off x="9236955" y="3839385"/>
                  <a:ext cx="70560" cy="4248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132">
            <p14:nvContentPartPr>
              <p14:cNvPr id="86" name="Ink 85">
                <a:extLst>
                  <a:ext uri="{FF2B5EF4-FFF2-40B4-BE49-F238E27FC236}">
                    <a16:creationId xmlns:a16="http://schemas.microsoft.com/office/drawing/2014/main" id="{EEBE6482-8898-4244-B427-B6887CDC2D27}"/>
                  </a:ext>
                </a:extLst>
              </p14:cNvPr>
              <p14:cNvContentPartPr/>
              <p14:nvPr/>
            </p14:nvContentPartPr>
            <p14:xfrm>
              <a:off x="8281515" y="4626345"/>
              <a:ext cx="231120" cy="9360"/>
            </p14:xfrm>
          </p:contentPart>
        </mc:Choice>
        <mc:Fallback xmlns="">
          <p:pic>
            <p:nvPicPr>
              <p:cNvPr id="86" name="Ink 85">
                <a:extLst>
                  <a:ext uri="{FF2B5EF4-FFF2-40B4-BE49-F238E27FC236}">
                    <a16:creationId xmlns:a16="http://schemas.microsoft.com/office/drawing/2014/main" id="{EEBE6482-8898-4244-B427-B6887CDC2D27}"/>
                  </a:ext>
                </a:extLst>
              </p:cNvPr>
              <p:cNvPicPr/>
              <p:nvPr/>
            </p:nvPicPr>
            <p:blipFill>
              <a:blip r:embed="rId133"/>
              <a:stretch>
                <a:fillRect/>
              </a:stretch>
            </p:blipFill>
            <p:spPr>
              <a:xfrm>
                <a:off x="8263515" y="4608705"/>
                <a:ext cx="266760" cy="45000"/>
              </a:xfrm>
              <a:prstGeom prst="rect">
                <a:avLst/>
              </a:prstGeom>
            </p:spPr>
          </p:pic>
        </mc:Fallback>
      </mc:AlternateContent>
      <p:grpSp>
        <p:nvGrpSpPr>
          <p:cNvPr id="104" name="Group 103">
            <a:extLst>
              <a:ext uri="{FF2B5EF4-FFF2-40B4-BE49-F238E27FC236}">
                <a16:creationId xmlns:a16="http://schemas.microsoft.com/office/drawing/2014/main" id="{00EE9ECC-D0AF-414E-93F8-545076C678EE}"/>
              </a:ext>
            </a:extLst>
          </p:cNvPr>
          <p:cNvGrpSpPr/>
          <p:nvPr/>
        </p:nvGrpSpPr>
        <p:grpSpPr>
          <a:xfrm>
            <a:off x="8772555" y="4382985"/>
            <a:ext cx="3352680" cy="296640"/>
            <a:chOff x="8772555" y="4382985"/>
            <a:chExt cx="3352680" cy="2966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34">
              <p14:nvContentPartPr>
                <p14:cNvPr id="89" name="Ink 88">
                  <a:extLst>
                    <a:ext uri="{FF2B5EF4-FFF2-40B4-BE49-F238E27FC236}">
                      <a16:creationId xmlns:a16="http://schemas.microsoft.com/office/drawing/2014/main" id="{89A7E884-7957-4DB7-A94B-4980A4D2DD9E}"/>
                    </a:ext>
                  </a:extLst>
                </p14:cNvPr>
                <p14:cNvContentPartPr/>
                <p14:nvPr/>
              </p14:nvContentPartPr>
              <p14:xfrm>
                <a:off x="8772555" y="4459305"/>
                <a:ext cx="205920" cy="182880"/>
              </p14:xfrm>
            </p:contentPart>
          </mc:Choice>
          <mc:Fallback xmlns="">
            <p:pic>
              <p:nvPicPr>
                <p:cNvPr id="89" name="Ink 88">
                  <a:extLst>
                    <a:ext uri="{FF2B5EF4-FFF2-40B4-BE49-F238E27FC236}">
                      <a16:creationId xmlns:a16="http://schemas.microsoft.com/office/drawing/2014/main" id="{89A7E884-7957-4DB7-A94B-4980A4D2DD9E}"/>
                    </a:ext>
                  </a:extLst>
                </p:cNvPr>
                <p:cNvPicPr/>
                <p:nvPr/>
              </p:nvPicPr>
              <p:blipFill>
                <a:blip r:embed="rId135"/>
                <a:stretch>
                  <a:fillRect/>
                </a:stretch>
              </p:blipFill>
              <p:spPr>
                <a:xfrm>
                  <a:off x="8754555" y="4441665"/>
                  <a:ext cx="241560" cy="218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6">
              <p14:nvContentPartPr>
                <p14:cNvPr id="90" name="Ink 89">
                  <a:extLst>
                    <a:ext uri="{FF2B5EF4-FFF2-40B4-BE49-F238E27FC236}">
                      <a16:creationId xmlns:a16="http://schemas.microsoft.com/office/drawing/2014/main" id="{941C88C5-DEB5-477B-AAF3-FB536CC6DDD1}"/>
                    </a:ext>
                  </a:extLst>
                </p14:cNvPr>
                <p14:cNvContentPartPr/>
                <p14:nvPr/>
              </p14:nvContentPartPr>
              <p14:xfrm>
                <a:off x="9009075" y="4493505"/>
                <a:ext cx="205200" cy="114480"/>
              </p14:xfrm>
            </p:contentPart>
          </mc:Choice>
          <mc:Fallback xmlns="">
            <p:pic>
              <p:nvPicPr>
                <p:cNvPr id="90" name="Ink 89">
                  <a:extLst>
                    <a:ext uri="{FF2B5EF4-FFF2-40B4-BE49-F238E27FC236}">
                      <a16:creationId xmlns:a16="http://schemas.microsoft.com/office/drawing/2014/main" id="{941C88C5-DEB5-477B-AAF3-FB536CC6DDD1}"/>
                    </a:ext>
                  </a:extLst>
                </p:cNvPr>
                <p:cNvPicPr/>
                <p:nvPr/>
              </p:nvPicPr>
              <p:blipFill>
                <a:blip r:embed="rId137"/>
                <a:stretch>
                  <a:fillRect/>
                </a:stretch>
              </p:blipFill>
              <p:spPr>
                <a:xfrm>
                  <a:off x="8991075" y="4475865"/>
                  <a:ext cx="240840" cy="150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8">
              <p14:nvContentPartPr>
                <p14:cNvPr id="91" name="Ink 90">
                  <a:extLst>
                    <a:ext uri="{FF2B5EF4-FFF2-40B4-BE49-F238E27FC236}">
                      <a16:creationId xmlns:a16="http://schemas.microsoft.com/office/drawing/2014/main" id="{77BA050A-F94A-4D3A-9A19-1E73AB7A74D0}"/>
                    </a:ext>
                  </a:extLst>
                </p14:cNvPr>
                <p14:cNvContentPartPr/>
                <p14:nvPr/>
              </p14:nvContentPartPr>
              <p14:xfrm>
                <a:off x="9184395" y="4412505"/>
                <a:ext cx="19080" cy="39960"/>
              </p14:xfrm>
            </p:contentPart>
          </mc:Choice>
          <mc:Fallback xmlns="">
            <p:pic>
              <p:nvPicPr>
                <p:cNvPr id="91" name="Ink 90">
                  <a:extLst>
                    <a:ext uri="{FF2B5EF4-FFF2-40B4-BE49-F238E27FC236}">
                      <a16:creationId xmlns:a16="http://schemas.microsoft.com/office/drawing/2014/main" id="{77BA050A-F94A-4D3A-9A19-1E73AB7A74D0}"/>
                    </a:ext>
                  </a:extLst>
                </p:cNvPr>
                <p:cNvPicPr/>
                <p:nvPr/>
              </p:nvPicPr>
              <p:blipFill>
                <a:blip r:embed="rId139"/>
                <a:stretch>
                  <a:fillRect/>
                </a:stretch>
              </p:blipFill>
              <p:spPr>
                <a:xfrm>
                  <a:off x="9166395" y="4394865"/>
                  <a:ext cx="54720" cy="75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0">
              <p14:nvContentPartPr>
                <p14:cNvPr id="92" name="Ink 91">
                  <a:extLst>
                    <a:ext uri="{FF2B5EF4-FFF2-40B4-BE49-F238E27FC236}">
                      <a16:creationId xmlns:a16="http://schemas.microsoft.com/office/drawing/2014/main" id="{EB006F58-411F-449E-9039-1D43B5492D6F}"/>
                    </a:ext>
                  </a:extLst>
                </p14:cNvPr>
                <p14:cNvContentPartPr/>
                <p14:nvPr/>
              </p14:nvContentPartPr>
              <p14:xfrm>
                <a:off x="9286995" y="4465425"/>
                <a:ext cx="66600" cy="131400"/>
              </p14:xfrm>
            </p:contentPart>
          </mc:Choice>
          <mc:Fallback xmlns="">
            <p:pic>
              <p:nvPicPr>
                <p:cNvPr id="92" name="Ink 91">
                  <a:extLst>
                    <a:ext uri="{FF2B5EF4-FFF2-40B4-BE49-F238E27FC236}">
                      <a16:creationId xmlns:a16="http://schemas.microsoft.com/office/drawing/2014/main" id="{EB006F58-411F-449E-9039-1D43B5492D6F}"/>
                    </a:ext>
                  </a:extLst>
                </p:cNvPr>
                <p:cNvPicPr/>
                <p:nvPr/>
              </p:nvPicPr>
              <p:blipFill>
                <a:blip r:embed="rId141"/>
                <a:stretch>
                  <a:fillRect/>
                </a:stretch>
              </p:blipFill>
              <p:spPr>
                <a:xfrm>
                  <a:off x="9268995" y="4447785"/>
                  <a:ext cx="102240" cy="167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2">
              <p14:nvContentPartPr>
                <p14:cNvPr id="93" name="Ink 92">
                  <a:extLst>
                    <a:ext uri="{FF2B5EF4-FFF2-40B4-BE49-F238E27FC236}">
                      <a16:creationId xmlns:a16="http://schemas.microsoft.com/office/drawing/2014/main" id="{DD52F863-D25B-44AD-B5E8-98B60891C11F}"/>
                    </a:ext>
                  </a:extLst>
                </p14:cNvPr>
                <p14:cNvContentPartPr/>
                <p14:nvPr/>
              </p14:nvContentPartPr>
              <p14:xfrm>
                <a:off x="9399675" y="4399185"/>
                <a:ext cx="271800" cy="219960"/>
              </p14:xfrm>
            </p:contentPart>
          </mc:Choice>
          <mc:Fallback xmlns="">
            <p:pic>
              <p:nvPicPr>
                <p:cNvPr id="93" name="Ink 92">
                  <a:extLst>
                    <a:ext uri="{FF2B5EF4-FFF2-40B4-BE49-F238E27FC236}">
                      <a16:creationId xmlns:a16="http://schemas.microsoft.com/office/drawing/2014/main" id="{DD52F863-D25B-44AD-B5E8-98B60891C11F}"/>
                    </a:ext>
                  </a:extLst>
                </p:cNvPr>
                <p:cNvPicPr/>
                <p:nvPr/>
              </p:nvPicPr>
              <p:blipFill>
                <a:blip r:embed="rId143"/>
                <a:stretch>
                  <a:fillRect/>
                </a:stretch>
              </p:blipFill>
              <p:spPr>
                <a:xfrm>
                  <a:off x="9381675" y="4381185"/>
                  <a:ext cx="307440" cy="255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4">
              <p14:nvContentPartPr>
                <p14:cNvPr id="94" name="Ink 93">
                  <a:extLst>
                    <a:ext uri="{FF2B5EF4-FFF2-40B4-BE49-F238E27FC236}">
                      <a16:creationId xmlns:a16="http://schemas.microsoft.com/office/drawing/2014/main" id="{1371A464-5561-414A-9CF1-5E74C8E31BCB}"/>
                    </a:ext>
                  </a:extLst>
                </p14:cNvPr>
                <p14:cNvContentPartPr/>
                <p14:nvPr/>
              </p14:nvContentPartPr>
              <p14:xfrm>
                <a:off x="9648435" y="4427985"/>
                <a:ext cx="409680" cy="166680"/>
              </p14:xfrm>
            </p:contentPart>
          </mc:Choice>
          <mc:Fallback xmlns="">
            <p:pic>
              <p:nvPicPr>
                <p:cNvPr id="94" name="Ink 93">
                  <a:extLst>
                    <a:ext uri="{FF2B5EF4-FFF2-40B4-BE49-F238E27FC236}">
                      <a16:creationId xmlns:a16="http://schemas.microsoft.com/office/drawing/2014/main" id="{1371A464-5561-414A-9CF1-5E74C8E31BCB}"/>
                    </a:ext>
                  </a:extLst>
                </p:cNvPr>
                <p:cNvPicPr/>
                <p:nvPr/>
              </p:nvPicPr>
              <p:blipFill>
                <a:blip r:embed="rId145"/>
                <a:stretch>
                  <a:fillRect/>
                </a:stretch>
              </p:blipFill>
              <p:spPr>
                <a:xfrm>
                  <a:off x="9630435" y="4409985"/>
                  <a:ext cx="445320" cy="202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6">
              <p14:nvContentPartPr>
                <p14:cNvPr id="95" name="Ink 94">
                  <a:extLst>
                    <a:ext uri="{FF2B5EF4-FFF2-40B4-BE49-F238E27FC236}">
                      <a16:creationId xmlns:a16="http://schemas.microsoft.com/office/drawing/2014/main" id="{BDB6FC48-B788-4EDB-88AE-8418793AA6C4}"/>
                    </a:ext>
                  </a:extLst>
                </p14:cNvPr>
                <p14:cNvContentPartPr/>
                <p14:nvPr/>
              </p14:nvContentPartPr>
              <p14:xfrm>
                <a:off x="10204635" y="4470465"/>
                <a:ext cx="588960" cy="209160"/>
              </p14:xfrm>
            </p:contentPart>
          </mc:Choice>
          <mc:Fallback xmlns="">
            <p:pic>
              <p:nvPicPr>
                <p:cNvPr id="95" name="Ink 94">
                  <a:extLst>
                    <a:ext uri="{FF2B5EF4-FFF2-40B4-BE49-F238E27FC236}">
                      <a16:creationId xmlns:a16="http://schemas.microsoft.com/office/drawing/2014/main" id="{BDB6FC48-B788-4EDB-88AE-8418793AA6C4}"/>
                    </a:ext>
                  </a:extLst>
                </p:cNvPr>
                <p:cNvPicPr/>
                <p:nvPr/>
              </p:nvPicPr>
              <p:blipFill>
                <a:blip r:embed="rId147"/>
                <a:stretch>
                  <a:fillRect/>
                </a:stretch>
              </p:blipFill>
              <p:spPr>
                <a:xfrm>
                  <a:off x="10186635" y="4452825"/>
                  <a:ext cx="624600" cy="244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8">
              <p14:nvContentPartPr>
                <p14:cNvPr id="96" name="Ink 95">
                  <a:extLst>
                    <a:ext uri="{FF2B5EF4-FFF2-40B4-BE49-F238E27FC236}">
                      <a16:creationId xmlns:a16="http://schemas.microsoft.com/office/drawing/2014/main" id="{93CA17D8-30E3-4FC0-A628-F3B82D886165}"/>
                    </a:ext>
                  </a:extLst>
                </p14:cNvPr>
                <p14:cNvContentPartPr/>
                <p14:nvPr/>
              </p14:nvContentPartPr>
              <p14:xfrm>
                <a:off x="10820955" y="4564785"/>
                <a:ext cx="32760" cy="1080"/>
              </p14:xfrm>
            </p:contentPart>
          </mc:Choice>
          <mc:Fallback xmlns="">
            <p:pic>
              <p:nvPicPr>
                <p:cNvPr id="96" name="Ink 95">
                  <a:extLst>
                    <a:ext uri="{FF2B5EF4-FFF2-40B4-BE49-F238E27FC236}">
                      <a16:creationId xmlns:a16="http://schemas.microsoft.com/office/drawing/2014/main" id="{93CA17D8-30E3-4FC0-A628-F3B82D886165}"/>
                    </a:ext>
                  </a:extLst>
                </p:cNvPr>
                <p:cNvPicPr/>
                <p:nvPr/>
              </p:nvPicPr>
              <p:blipFill>
                <a:blip r:embed="rId149"/>
                <a:stretch>
                  <a:fillRect/>
                </a:stretch>
              </p:blipFill>
              <p:spPr>
                <a:xfrm>
                  <a:off x="10802955" y="4547145"/>
                  <a:ext cx="68400" cy="36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0">
              <p14:nvContentPartPr>
                <p14:cNvPr id="97" name="Ink 96">
                  <a:extLst>
                    <a:ext uri="{FF2B5EF4-FFF2-40B4-BE49-F238E27FC236}">
                      <a16:creationId xmlns:a16="http://schemas.microsoft.com/office/drawing/2014/main" id="{C373B24E-77EE-4D2A-A138-2798E37C0BAB}"/>
                    </a:ext>
                  </a:extLst>
                </p14:cNvPr>
                <p14:cNvContentPartPr/>
                <p14:nvPr/>
              </p14:nvContentPartPr>
              <p14:xfrm>
                <a:off x="11108235" y="4404945"/>
                <a:ext cx="22320" cy="245160"/>
              </p14:xfrm>
            </p:contentPart>
          </mc:Choice>
          <mc:Fallback xmlns="">
            <p:pic>
              <p:nvPicPr>
                <p:cNvPr id="97" name="Ink 96">
                  <a:extLst>
                    <a:ext uri="{FF2B5EF4-FFF2-40B4-BE49-F238E27FC236}">
                      <a16:creationId xmlns:a16="http://schemas.microsoft.com/office/drawing/2014/main" id="{C373B24E-77EE-4D2A-A138-2798E37C0BAB}"/>
                    </a:ext>
                  </a:extLst>
                </p:cNvPr>
                <p:cNvPicPr/>
                <p:nvPr/>
              </p:nvPicPr>
              <p:blipFill>
                <a:blip r:embed="rId151"/>
                <a:stretch>
                  <a:fillRect/>
                </a:stretch>
              </p:blipFill>
              <p:spPr>
                <a:xfrm>
                  <a:off x="11090595" y="4386945"/>
                  <a:ext cx="57960" cy="280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2">
              <p14:nvContentPartPr>
                <p14:cNvPr id="98" name="Ink 97">
                  <a:extLst>
                    <a:ext uri="{FF2B5EF4-FFF2-40B4-BE49-F238E27FC236}">
                      <a16:creationId xmlns:a16="http://schemas.microsoft.com/office/drawing/2014/main" id="{180F6C85-52E7-45B8-AEE0-07367D41CC59}"/>
                    </a:ext>
                  </a:extLst>
                </p14:cNvPr>
                <p14:cNvContentPartPr/>
                <p14:nvPr/>
              </p14:nvContentPartPr>
              <p14:xfrm>
                <a:off x="11029395" y="4487745"/>
                <a:ext cx="256320" cy="88920"/>
              </p14:xfrm>
            </p:contentPart>
          </mc:Choice>
          <mc:Fallback xmlns="">
            <p:pic>
              <p:nvPicPr>
                <p:cNvPr id="98" name="Ink 97">
                  <a:extLst>
                    <a:ext uri="{FF2B5EF4-FFF2-40B4-BE49-F238E27FC236}">
                      <a16:creationId xmlns:a16="http://schemas.microsoft.com/office/drawing/2014/main" id="{180F6C85-52E7-45B8-AEE0-07367D41CC59}"/>
                    </a:ext>
                  </a:extLst>
                </p:cNvPr>
                <p:cNvPicPr/>
                <p:nvPr/>
              </p:nvPicPr>
              <p:blipFill>
                <a:blip r:embed="rId153"/>
                <a:stretch>
                  <a:fillRect/>
                </a:stretch>
              </p:blipFill>
              <p:spPr>
                <a:xfrm>
                  <a:off x="11011755" y="4470105"/>
                  <a:ext cx="291960" cy="124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4">
              <p14:nvContentPartPr>
                <p14:cNvPr id="99" name="Ink 98">
                  <a:extLst>
                    <a:ext uri="{FF2B5EF4-FFF2-40B4-BE49-F238E27FC236}">
                      <a16:creationId xmlns:a16="http://schemas.microsoft.com/office/drawing/2014/main" id="{B3CCCCFF-44C0-4E56-AD5C-39A5B8B7F9D6}"/>
                    </a:ext>
                  </a:extLst>
                </p14:cNvPr>
                <p14:cNvContentPartPr/>
                <p14:nvPr/>
              </p14:nvContentPartPr>
              <p14:xfrm>
                <a:off x="11405595" y="4478025"/>
                <a:ext cx="162720" cy="167760"/>
              </p14:xfrm>
            </p:contentPart>
          </mc:Choice>
          <mc:Fallback xmlns="">
            <p:pic>
              <p:nvPicPr>
                <p:cNvPr id="99" name="Ink 98">
                  <a:extLst>
                    <a:ext uri="{FF2B5EF4-FFF2-40B4-BE49-F238E27FC236}">
                      <a16:creationId xmlns:a16="http://schemas.microsoft.com/office/drawing/2014/main" id="{B3CCCCFF-44C0-4E56-AD5C-39A5B8B7F9D6}"/>
                    </a:ext>
                  </a:extLst>
                </p:cNvPr>
                <p:cNvPicPr/>
                <p:nvPr/>
              </p:nvPicPr>
              <p:blipFill>
                <a:blip r:embed="rId155"/>
                <a:stretch>
                  <a:fillRect/>
                </a:stretch>
              </p:blipFill>
              <p:spPr>
                <a:xfrm>
                  <a:off x="11387595" y="4460025"/>
                  <a:ext cx="198360" cy="203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6">
              <p14:nvContentPartPr>
                <p14:cNvPr id="100" name="Ink 99">
                  <a:extLst>
                    <a:ext uri="{FF2B5EF4-FFF2-40B4-BE49-F238E27FC236}">
                      <a16:creationId xmlns:a16="http://schemas.microsoft.com/office/drawing/2014/main" id="{7E4D1DB2-0420-423C-99A1-46B0A7919256}"/>
                    </a:ext>
                  </a:extLst>
                </p14:cNvPr>
                <p14:cNvContentPartPr/>
                <p14:nvPr/>
              </p14:nvContentPartPr>
              <p14:xfrm>
                <a:off x="11608995" y="4525185"/>
                <a:ext cx="75600" cy="75600"/>
              </p14:xfrm>
            </p:contentPart>
          </mc:Choice>
          <mc:Fallback xmlns="">
            <p:pic>
              <p:nvPicPr>
                <p:cNvPr id="100" name="Ink 99">
                  <a:extLst>
                    <a:ext uri="{FF2B5EF4-FFF2-40B4-BE49-F238E27FC236}">
                      <a16:creationId xmlns:a16="http://schemas.microsoft.com/office/drawing/2014/main" id="{7E4D1DB2-0420-423C-99A1-46B0A7919256}"/>
                    </a:ext>
                  </a:extLst>
                </p:cNvPr>
                <p:cNvPicPr/>
                <p:nvPr/>
              </p:nvPicPr>
              <p:blipFill>
                <a:blip r:embed="rId157"/>
                <a:stretch>
                  <a:fillRect/>
                </a:stretch>
              </p:blipFill>
              <p:spPr>
                <a:xfrm>
                  <a:off x="11591355" y="4507545"/>
                  <a:ext cx="111240" cy="111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8">
              <p14:nvContentPartPr>
                <p14:cNvPr id="101" name="Ink 100">
                  <a:extLst>
                    <a:ext uri="{FF2B5EF4-FFF2-40B4-BE49-F238E27FC236}">
                      <a16:creationId xmlns:a16="http://schemas.microsoft.com/office/drawing/2014/main" id="{E41D0E3C-7E78-409F-BA36-1E1770875F6C}"/>
                    </a:ext>
                  </a:extLst>
                </p14:cNvPr>
                <p14:cNvContentPartPr/>
                <p14:nvPr/>
              </p14:nvContentPartPr>
              <p14:xfrm>
                <a:off x="11747595" y="4499985"/>
                <a:ext cx="57960" cy="90000"/>
              </p14:xfrm>
            </p:contentPart>
          </mc:Choice>
          <mc:Fallback xmlns="">
            <p:pic>
              <p:nvPicPr>
                <p:cNvPr id="101" name="Ink 100">
                  <a:extLst>
                    <a:ext uri="{FF2B5EF4-FFF2-40B4-BE49-F238E27FC236}">
                      <a16:creationId xmlns:a16="http://schemas.microsoft.com/office/drawing/2014/main" id="{E41D0E3C-7E78-409F-BA36-1E1770875F6C}"/>
                    </a:ext>
                  </a:extLst>
                </p:cNvPr>
                <p:cNvPicPr/>
                <p:nvPr/>
              </p:nvPicPr>
              <p:blipFill>
                <a:blip r:embed="rId159"/>
                <a:stretch>
                  <a:fillRect/>
                </a:stretch>
              </p:blipFill>
              <p:spPr>
                <a:xfrm>
                  <a:off x="11729955" y="4482345"/>
                  <a:ext cx="93600" cy="125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0">
              <p14:nvContentPartPr>
                <p14:cNvPr id="102" name="Ink 101">
                  <a:extLst>
                    <a:ext uri="{FF2B5EF4-FFF2-40B4-BE49-F238E27FC236}">
                      <a16:creationId xmlns:a16="http://schemas.microsoft.com/office/drawing/2014/main" id="{6FF45391-6E91-48F4-B0FF-DFAAA621F73D}"/>
                    </a:ext>
                  </a:extLst>
                </p14:cNvPr>
                <p14:cNvContentPartPr/>
                <p14:nvPr/>
              </p14:nvContentPartPr>
              <p14:xfrm>
                <a:off x="11878995" y="4382985"/>
                <a:ext cx="68760" cy="203040"/>
              </p14:xfrm>
            </p:contentPart>
          </mc:Choice>
          <mc:Fallback xmlns="">
            <p:pic>
              <p:nvPicPr>
                <p:cNvPr id="102" name="Ink 101">
                  <a:extLst>
                    <a:ext uri="{FF2B5EF4-FFF2-40B4-BE49-F238E27FC236}">
                      <a16:creationId xmlns:a16="http://schemas.microsoft.com/office/drawing/2014/main" id="{6FF45391-6E91-48F4-B0FF-DFAAA621F73D}"/>
                    </a:ext>
                  </a:extLst>
                </p:cNvPr>
                <p:cNvPicPr/>
                <p:nvPr/>
              </p:nvPicPr>
              <p:blipFill>
                <a:blip r:embed="rId161"/>
                <a:stretch>
                  <a:fillRect/>
                </a:stretch>
              </p:blipFill>
              <p:spPr>
                <a:xfrm>
                  <a:off x="11861355" y="4364985"/>
                  <a:ext cx="104400" cy="238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2">
              <p14:nvContentPartPr>
                <p14:cNvPr id="103" name="Ink 102">
                  <a:extLst>
                    <a:ext uri="{FF2B5EF4-FFF2-40B4-BE49-F238E27FC236}">
                      <a16:creationId xmlns:a16="http://schemas.microsoft.com/office/drawing/2014/main" id="{359CA3FB-19C6-4D48-BFC5-2F2F5D2BD972}"/>
                    </a:ext>
                  </a:extLst>
                </p14:cNvPr>
                <p14:cNvContentPartPr/>
                <p14:nvPr/>
              </p14:nvContentPartPr>
              <p14:xfrm>
                <a:off x="12003915" y="4422945"/>
                <a:ext cx="121320" cy="124920"/>
              </p14:xfrm>
            </p:contentPart>
          </mc:Choice>
          <mc:Fallback xmlns="">
            <p:pic>
              <p:nvPicPr>
                <p:cNvPr id="103" name="Ink 102">
                  <a:extLst>
                    <a:ext uri="{FF2B5EF4-FFF2-40B4-BE49-F238E27FC236}">
                      <a16:creationId xmlns:a16="http://schemas.microsoft.com/office/drawing/2014/main" id="{359CA3FB-19C6-4D48-BFC5-2F2F5D2BD972}"/>
                    </a:ext>
                  </a:extLst>
                </p:cNvPr>
                <p:cNvPicPr/>
                <p:nvPr/>
              </p:nvPicPr>
              <p:blipFill>
                <a:blip r:embed="rId163"/>
                <a:stretch>
                  <a:fillRect/>
                </a:stretch>
              </p:blipFill>
              <p:spPr>
                <a:xfrm>
                  <a:off x="11985915" y="4405305"/>
                  <a:ext cx="156960" cy="1605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695346AC-CFC5-4AF9-A34F-74AEFBCADC5C}"/>
              </a:ext>
            </a:extLst>
          </p:cNvPr>
          <p:cNvGrpSpPr/>
          <p:nvPr/>
        </p:nvGrpSpPr>
        <p:grpSpPr>
          <a:xfrm>
            <a:off x="8989275" y="4803465"/>
            <a:ext cx="1073520" cy="289440"/>
            <a:chOff x="8989275" y="4803465"/>
            <a:chExt cx="1073520" cy="2894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64">
              <p14:nvContentPartPr>
                <p14:cNvPr id="106" name="Ink 105">
                  <a:extLst>
                    <a:ext uri="{FF2B5EF4-FFF2-40B4-BE49-F238E27FC236}">
                      <a16:creationId xmlns:a16="http://schemas.microsoft.com/office/drawing/2014/main" id="{9F6F38AD-F9C4-4002-A89C-511518D4DFF5}"/>
                    </a:ext>
                  </a:extLst>
                </p14:cNvPr>
                <p14:cNvContentPartPr/>
                <p14:nvPr/>
              </p14:nvContentPartPr>
              <p14:xfrm>
                <a:off x="8989275" y="4837305"/>
                <a:ext cx="165600" cy="170640"/>
              </p14:xfrm>
            </p:contentPart>
          </mc:Choice>
          <mc:Fallback xmlns="">
            <p:pic>
              <p:nvPicPr>
                <p:cNvPr id="106" name="Ink 105">
                  <a:extLst>
                    <a:ext uri="{FF2B5EF4-FFF2-40B4-BE49-F238E27FC236}">
                      <a16:creationId xmlns:a16="http://schemas.microsoft.com/office/drawing/2014/main" id="{9F6F38AD-F9C4-4002-A89C-511518D4DFF5}"/>
                    </a:ext>
                  </a:extLst>
                </p:cNvPr>
                <p:cNvPicPr/>
                <p:nvPr/>
              </p:nvPicPr>
              <p:blipFill>
                <a:blip r:embed="rId165"/>
                <a:stretch>
                  <a:fillRect/>
                </a:stretch>
              </p:blipFill>
              <p:spPr>
                <a:xfrm>
                  <a:off x="8971635" y="4819305"/>
                  <a:ext cx="201240" cy="206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6">
              <p14:nvContentPartPr>
                <p14:cNvPr id="107" name="Ink 106">
                  <a:extLst>
                    <a:ext uri="{FF2B5EF4-FFF2-40B4-BE49-F238E27FC236}">
                      <a16:creationId xmlns:a16="http://schemas.microsoft.com/office/drawing/2014/main" id="{D3777477-6C00-497E-A6F1-67BBB536BC67}"/>
                    </a:ext>
                  </a:extLst>
                </p14:cNvPr>
                <p14:cNvContentPartPr/>
                <p14:nvPr/>
              </p14:nvContentPartPr>
              <p14:xfrm>
                <a:off x="9202395" y="4803465"/>
                <a:ext cx="249480" cy="200520"/>
              </p14:xfrm>
            </p:contentPart>
          </mc:Choice>
          <mc:Fallback xmlns="">
            <p:pic>
              <p:nvPicPr>
                <p:cNvPr id="107" name="Ink 106">
                  <a:extLst>
                    <a:ext uri="{FF2B5EF4-FFF2-40B4-BE49-F238E27FC236}">
                      <a16:creationId xmlns:a16="http://schemas.microsoft.com/office/drawing/2014/main" id="{D3777477-6C00-497E-A6F1-67BBB536BC67}"/>
                    </a:ext>
                  </a:extLst>
                </p:cNvPr>
                <p:cNvPicPr/>
                <p:nvPr/>
              </p:nvPicPr>
              <p:blipFill>
                <a:blip r:embed="rId167"/>
                <a:stretch>
                  <a:fillRect/>
                </a:stretch>
              </p:blipFill>
              <p:spPr>
                <a:xfrm>
                  <a:off x="9184395" y="4785465"/>
                  <a:ext cx="285120" cy="236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8">
              <p14:nvContentPartPr>
                <p14:cNvPr id="108" name="Ink 107">
                  <a:extLst>
                    <a:ext uri="{FF2B5EF4-FFF2-40B4-BE49-F238E27FC236}">
                      <a16:creationId xmlns:a16="http://schemas.microsoft.com/office/drawing/2014/main" id="{7E695B44-A364-488A-B119-B491F39D2578}"/>
                    </a:ext>
                  </a:extLst>
                </p14:cNvPr>
                <p14:cNvContentPartPr/>
                <p14:nvPr/>
              </p14:nvContentPartPr>
              <p14:xfrm>
                <a:off x="9432435" y="4846665"/>
                <a:ext cx="160560" cy="151560"/>
              </p14:xfrm>
            </p:contentPart>
          </mc:Choice>
          <mc:Fallback xmlns="">
            <p:pic>
              <p:nvPicPr>
                <p:cNvPr id="108" name="Ink 107">
                  <a:extLst>
                    <a:ext uri="{FF2B5EF4-FFF2-40B4-BE49-F238E27FC236}">
                      <a16:creationId xmlns:a16="http://schemas.microsoft.com/office/drawing/2014/main" id="{7E695B44-A364-488A-B119-B491F39D2578}"/>
                    </a:ext>
                  </a:extLst>
                </p:cNvPr>
                <p:cNvPicPr/>
                <p:nvPr/>
              </p:nvPicPr>
              <p:blipFill>
                <a:blip r:embed="rId169"/>
                <a:stretch>
                  <a:fillRect/>
                </a:stretch>
              </p:blipFill>
              <p:spPr>
                <a:xfrm>
                  <a:off x="9414795" y="4829025"/>
                  <a:ext cx="196200" cy="187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0">
              <p14:nvContentPartPr>
                <p14:cNvPr id="109" name="Ink 108">
                  <a:extLst>
                    <a:ext uri="{FF2B5EF4-FFF2-40B4-BE49-F238E27FC236}">
                      <a16:creationId xmlns:a16="http://schemas.microsoft.com/office/drawing/2014/main" id="{5C082616-AF72-42F1-8B28-F5439BF11781}"/>
                    </a:ext>
                  </a:extLst>
                </p14:cNvPr>
                <p14:cNvContentPartPr/>
                <p14:nvPr/>
              </p14:nvContentPartPr>
              <p14:xfrm>
                <a:off x="9692715" y="4868625"/>
                <a:ext cx="19800" cy="146520"/>
              </p14:xfrm>
            </p:contentPart>
          </mc:Choice>
          <mc:Fallback xmlns="">
            <p:pic>
              <p:nvPicPr>
                <p:cNvPr id="109" name="Ink 108">
                  <a:extLst>
                    <a:ext uri="{FF2B5EF4-FFF2-40B4-BE49-F238E27FC236}">
                      <a16:creationId xmlns:a16="http://schemas.microsoft.com/office/drawing/2014/main" id="{5C082616-AF72-42F1-8B28-F5439BF11781}"/>
                    </a:ext>
                  </a:extLst>
                </p:cNvPr>
                <p:cNvPicPr/>
                <p:nvPr/>
              </p:nvPicPr>
              <p:blipFill>
                <a:blip r:embed="rId171"/>
                <a:stretch>
                  <a:fillRect/>
                </a:stretch>
              </p:blipFill>
              <p:spPr>
                <a:xfrm>
                  <a:off x="9674715" y="4850625"/>
                  <a:ext cx="55440" cy="182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2">
              <p14:nvContentPartPr>
                <p14:cNvPr id="110" name="Ink 109">
                  <a:extLst>
                    <a:ext uri="{FF2B5EF4-FFF2-40B4-BE49-F238E27FC236}">
                      <a16:creationId xmlns:a16="http://schemas.microsoft.com/office/drawing/2014/main" id="{726EE6F5-42DD-45B9-A2A5-F412B7C31D6A}"/>
                    </a:ext>
                  </a:extLst>
                </p14:cNvPr>
                <p14:cNvContentPartPr/>
                <p14:nvPr/>
              </p14:nvContentPartPr>
              <p14:xfrm>
                <a:off x="9775515" y="4840185"/>
                <a:ext cx="287280" cy="154800"/>
              </p14:xfrm>
            </p:contentPart>
          </mc:Choice>
          <mc:Fallback xmlns="">
            <p:pic>
              <p:nvPicPr>
                <p:cNvPr id="110" name="Ink 109">
                  <a:extLst>
                    <a:ext uri="{FF2B5EF4-FFF2-40B4-BE49-F238E27FC236}">
                      <a16:creationId xmlns:a16="http://schemas.microsoft.com/office/drawing/2014/main" id="{726EE6F5-42DD-45B9-A2A5-F412B7C31D6A}"/>
                    </a:ext>
                  </a:extLst>
                </p:cNvPr>
                <p:cNvPicPr/>
                <p:nvPr/>
              </p:nvPicPr>
              <p:blipFill>
                <a:blip r:embed="rId173"/>
                <a:stretch>
                  <a:fillRect/>
                </a:stretch>
              </p:blipFill>
              <p:spPr>
                <a:xfrm>
                  <a:off x="9757515" y="4822545"/>
                  <a:ext cx="322920" cy="190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4">
              <p14:nvContentPartPr>
                <p14:cNvPr id="111" name="Ink 110">
                  <a:extLst>
                    <a:ext uri="{FF2B5EF4-FFF2-40B4-BE49-F238E27FC236}">
                      <a16:creationId xmlns:a16="http://schemas.microsoft.com/office/drawing/2014/main" id="{4D5F63A7-54FB-4D57-8BBA-21FBB837C5D6}"/>
                    </a:ext>
                  </a:extLst>
                </p14:cNvPr>
                <p14:cNvContentPartPr/>
                <p14:nvPr/>
              </p14:nvContentPartPr>
              <p14:xfrm>
                <a:off x="9705675" y="5078865"/>
                <a:ext cx="174600" cy="14040"/>
              </p14:xfrm>
            </p:contentPart>
          </mc:Choice>
          <mc:Fallback xmlns="">
            <p:pic>
              <p:nvPicPr>
                <p:cNvPr id="111" name="Ink 110">
                  <a:extLst>
                    <a:ext uri="{FF2B5EF4-FFF2-40B4-BE49-F238E27FC236}">
                      <a16:creationId xmlns:a16="http://schemas.microsoft.com/office/drawing/2014/main" id="{4D5F63A7-54FB-4D57-8BBA-21FBB837C5D6}"/>
                    </a:ext>
                  </a:extLst>
                </p:cNvPr>
                <p:cNvPicPr/>
                <p:nvPr/>
              </p:nvPicPr>
              <p:blipFill>
                <a:blip r:embed="rId175"/>
                <a:stretch>
                  <a:fillRect/>
                </a:stretch>
              </p:blipFill>
              <p:spPr>
                <a:xfrm>
                  <a:off x="9687675" y="5060865"/>
                  <a:ext cx="210240" cy="49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6">
              <p14:nvContentPartPr>
                <p14:cNvPr id="112" name="Ink 111">
                  <a:extLst>
                    <a:ext uri="{FF2B5EF4-FFF2-40B4-BE49-F238E27FC236}">
                      <a16:creationId xmlns:a16="http://schemas.microsoft.com/office/drawing/2014/main" id="{27EDFEDB-C4F1-4FD0-A930-638EF06F3E44}"/>
                    </a:ext>
                  </a:extLst>
                </p14:cNvPr>
                <p14:cNvContentPartPr/>
                <p14:nvPr/>
              </p14:nvContentPartPr>
              <p14:xfrm>
                <a:off x="9789195" y="4835865"/>
                <a:ext cx="93240" cy="84960"/>
              </p14:xfrm>
            </p:contentPart>
          </mc:Choice>
          <mc:Fallback xmlns="">
            <p:pic>
              <p:nvPicPr>
                <p:cNvPr id="112" name="Ink 111">
                  <a:extLst>
                    <a:ext uri="{FF2B5EF4-FFF2-40B4-BE49-F238E27FC236}">
                      <a16:creationId xmlns:a16="http://schemas.microsoft.com/office/drawing/2014/main" id="{27EDFEDB-C4F1-4FD0-A930-638EF06F3E44}"/>
                    </a:ext>
                  </a:extLst>
                </p:cNvPr>
                <p:cNvPicPr/>
                <p:nvPr/>
              </p:nvPicPr>
              <p:blipFill>
                <a:blip r:embed="rId177"/>
                <a:stretch>
                  <a:fillRect/>
                </a:stretch>
              </p:blipFill>
              <p:spPr>
                <a:xfrm>
                  <a:off x="9771195" y="4818225"/>
                  <a:ext cx="128880" cy="1206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77575419-FB59-4266-B116-B01EFE7A7628}"/>
              </a:ext>
            </a:extLst>
          </p:cNvPr>
          <p:cNvGrpSpPr/>
          <p:nvPr/>
        </p:nvGrpSpPr>
        <p:grpSpPr>
          <a:xfrm>
            <a:off x="6921795" y="568065"/>
            <a:ext cx="1242000" cy="246600"/>
            <a:chOff x="6921795" y="568065"/>
            <a:chExt cx="1242000" cy="2466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78">
              <p14:nvContentPartPr>
                <p14:cNvPr id="115" name="Ink 114">
                  <a:extLst>
                    <a:ext uri="{FF2B5EF4-FFF2-40B4-BE49-F238E27FC236}">
                      <a16:creationId xmlns:a16="http://schemas.microsoft.com/office/drawing/2014/main" id="{AA304B87-5CB6-49FC-AA18-4B15906865EE}"/>
                    </a:ext>
                  </a:extLst>
                </p14:cNvPr>
                <p14:cNvContentPartPr/>
                <p14:nvPr/>
              </p14:nvContentPartPr>
              <p14:xfrm>
                <a:off x="6921795" y="717465"/>
                <a:ext cx="239760" cy="16200"/>
              </p14:xfrm>
            </p:contentPart>
          </mc:Choice>
          <mc:Fallback xmlns="">
            <p:pic>
              <p:nvPicPr>
                <p:cNvPr id="115" name="Ink 114">
                  <a:extLst>
                    <a:ext uri="{FF2B5EF4-FFF2-40B4-BE49-F238E27FC236}">
                      <a16:creationId xmlns:a16="http://schemas.microsoft.com/office/drawing/2014/main" id="{AA304B87-5CB6-49FC-AA18-4B15906865EE}"/>
                    </a:ext>
                  </a:extLst>
                </p:cNvPr>
                <p:cNvPicPr/>
                <p:nvPr/>
              </p:nvPicPr>
              <p:blipFill>
                <a:blip r:embed="rId179"/>
                <a:stretch>
                  <a:fillRect/>
                </a:stretch>
              </p:blipFill>
              <p:spPr>
                <a:xfrm>
                  <a:off x="6904155" y="699465"/>
                  <a:ext cx="275400" cy="51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0">
              <p14:nvContentPartPr>
                <p14:cNvPr id="116" name="Ink 115">
                  <a:extLst>
                    <a:ext uri="{FF2B5EF4-FFF2-40B4-BE49-F238E27FC236}">
                      <a16:creationId xmlns:a16="http://schemas.microsoft.com/office/drawing/2014/main" id="{0E9BF4C4-27A3-402C-98CC-1219CF416A42}"/>
                    </a:ext>
                  </a:extLst>
                </p14:cNvPr>
                <p14:cNvContentPartPr/>
                <p14:nvPr/>
              </p14:nvContentPartPr>
              <p14:xfrm>
                <a:off x="7347675" y="568065"/>
                <a:ext cx="226080" cy="246600"/>
              </p14:xfrm>
            </p:contentPart>
          </mc:Choice>
          <mc:Fallback xmlns="">
            <p:pic>
              <p:nvPicPr>
                <p:cNvPr id="116" name="Ink 115">
                  <a:extLst>
                    <a:ext uri="{FF2B5EF4-FFF2-40B4-BE49-F238E27FC236}">
                      <a16:creationId xmlns:a16="http://schemas.microsoft.com/office/drawing/2014/main" id="{0E9BF4C4-27A3-402C-98CC-1219CF416A42}"/>
                    </a:ext>
                  </a:extLst>
                </p:cNvPr>
                <p:cNvPicPr/>
                <p:nvPr/>
              </p:nvPicPr>
              <p:blipFill>
                <a:blip r:embed="rId181"/>
                <a:stretch>
                  <a:fillRect/>
                </a:stretch>
              </p:blipFill>
              <p:spPr>
                <a:xfrm>
                  <a:off x="7329675" y="550065"/>
                  <a:ext cx="261720" cy="282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2">
              <p14:nvContentPartPr>
                <p14:cNvPr id="117" name="Ink 116">
                  <a:extLst>
                    <a:ext uri="{FF2B5EF4-FFF2-40B4-BE49-F238E27FC236}">
                      <a16:creationId xmlns:a16="http://schemas.microsoft.com/office/drawing/2014/main" id="{DE14AB66-226D-4B52-9156-1ED0B130395D}"/>
                    </a:ext>
                  </a:extLst>
                </p14:cNvPr>
                <p14:cNvContentPartPr/>
                <p14:nvPr/>
              </p14:nvContentPartPr>
              <p14:xfrm>
                <a:off x="7650435" y="594705"/>
                <a:ext cx="110520" cy="218160"/>
              </p14:xfrm>
            </p:contentPart>
          </mc:Choice>
          <mc:Fallback xmlns="">
            <p:pic>
              <p:nvPicPr>
                <p:cNvPr id="117" name="Ink 116">
                  <a:extLst>
                    <a:ext uri="{FF2B5EF4-FFF2-40B4-BE49-F238E27FC236}">
                      <a16:creationId xmlns:a16="http://schemas.microsoft.com/office/drawing/2014/main" id="{DE14AB66-226D-4B52-9156-1ED0B130395D}"/>
                    </a:ext>
                  </a:extLst>
                </p:cNvPr>
                <p:cNvPicPr/>
                <p:nvPr/>
              </p:nvPicPr>
              <p:blipFill>
                <a:blip r:embed="rId183"/>
                <a:stretch>
                  <a:fillRect/>
                </a:stretch>
              </p:blipFill>
              <p:spPr>
                <a:xfrm>
                  <a:off x="7632795" y="576705"/>
                  <a:ext cx="146160" cy="253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4">
              <p14:nvContentPartPr>
                <p14:cNvPr id="118" name="Ink 117">
                  <a:extLst>
                    <a:ext uri="{FF2B5EF4-FFF2-40B4-BE49-F238E27FC236}">
                      <a16:creationId xmlns:a16="http://schemas.microsoft.com/office/drawing/2014/main" id="{D671A58B-68C4-49BD-A4DE-1FF7A13103FC}"/>
                    </a:ext>
                  </a:extLst>
                </p14:cNvPr>
                <p14:cNvContentPartPr/>
                <p14:nvPr/>
              </p14:nvContentPartPr>
              <p14:xfrm>
                <a:off x="7796595" y="614145"/>
                <a:ext cx="367200" cy="167400"/>
              </p14:xfrm>
            </p:contentPart>
          </mc:Choice>
          <mc:Fallback xmlns="">
            <p:pic>
              <p:nvPicPr>
                <p:cNvPr id="118" name="Ink 117">
                  <a:extLst>
                    <a:ext uri="{FF2B5EF4-FFF2-40B4-BE49-F238E27FC236}">
                      <a16:creationId xmlns:a16="http://schemas.microsoft.com/office/drawing/2014/main" id="{D671A58B-68C4-49BD-A4DE-1FF7A13103FC}"/>
                    </a:ext>
                  </a:extLst>
                </p:cNvPr>
                <p:cNvPicPr/>
                <p:nvPr/>
              </p:nvPicPr>
              <p:blipFill>
                <a:blip r:embed="rId185"/>
                <a:stretch>
                  <a:fillRect/>
                </a:stretch>
              </p:blipFill>
              <p:spPr>
                <a:xfrm>
                  <a:off x="7778595" y="596145"/>
                  <a:ext cx="402840" cy="2030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B383F6B4-10F7-4A5E-AF42-A3B19B6E0B3B}"/>
              </a:ext>
            </a:extLst>
          </p:cNvPr>
          <p:cNvGrpSpPr/>
          <p:nvPr/>
        </p:nvGrpSpPr>
        <p:grpSpPr>
          <a:xfrm>
            <a:off x="8456115" y="545745"/>
            <a:ext cx="926640" cy="273600"/>
            <a:chOff x="8456115" y="545745"/>
            <a:chExt cx="926640" cy="2736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86">
              <p14:nvContentPartPr>
                <p14:cNvPr id="119" name="Ink 118">
                  <a:extLst>
                    <a:ext uri="{FF2B5EF4-FFF2-40B4-BE49-F238E27FC236}">
                      <a16:creationId xmlns:a16="http://schemas.microsoft.com/office/drawing/2014/main" id="{5899493C-9F75-4CF8-B96B-BD95C464292B}"/>
                    </a:ext>
                  </a:extLst>
                </p14:cNvPr>
                <p14:cNvContentPartPr/>
                <p14:nvPr/>
              </p14:nvContentPartPr>
              <p14:xfrm>
                <a:off x="8456115" y="545745"/>
                <a:ext cx="151200" cy="257400"/>
              </p14:xfrm>
            </p:contentPart>
          </mc:Choice>
          <mc:Fallback xmlns="">
            <p:pic>
              <p:nvPicPr>
                <p:cNvPr id="119" name="Ink 118">
                  <a:extLst>
                    <a:ext uri="{FF2B5EF4-FFF2-40B4-BE49-F238E27FC236}">
                      <a16:creationId xmlns:a16="http://schemas.microsoft.com/office/drawing/2014/main" id="{5899493C-9F75-4CF8-B96B-BD95C464292B}"/>
                    </a:ext>
                  </a:extLst>
                </p:cNvPr>
                <p:cNvPicPr/>
                <p:nvPr/>
              </p:nvPicPr>
              <p:blipFill>
                <a:blip r:embed="rId187"/>
                <a:stretch>
                  <a:fillRect/>
                </a:stretch>
              </p:blipFill>
              <p:spPr>
                <a:xfrm>
                  <a:off x="8438115" y="527745"/>
                  <a:ext cx="186840" cy="293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8">
              <p14:nvContentPartPr>
                <p14:cNvPr id="120" name="Ink 119">
                  <a:extLst>
                    <a:ext uri="{FF2B5EF4-FFF2-40B4-BE49-F238E27FC236}">
                      <a16:creationId xmlns:a16="http://schemas.microsoft.com/office/drawing/2014/main" id="{C2F82138-8984-4593-B8B6-E392419281C5}"/>
                    </a:ext>
                  </a:extLst>
                </p14:cNvPr>
                <p14:cNvContentPartPr/>
                <p14:nvPr/>
              </p14:nvContentPartPr>
              <p14:xfrm>
                <a:off x="8675715" y="561585"/>
                <a:ext cx="707040" cy="257760"/>
              </p14:xfrm>
            </p:contentPart>
          </mc:Choice>
          <mc:Fallback xmlns="">
            <p:pic>
              <p:nvPicPr>
                <p:cNvPr id="120" name="Ink 119">
                  <a:extLst>
                    <a:ext uri="{FF2B5EF4-FFF2-40B4-BE49-F238E27FC236}">
                      <a16:creationId xmlns:a16="http://schemas.microsoft.com/office/drawing/2014/main" id="{C2F82138-8984-4593-B8B6-E392419281C5}"/>
                    </a:ext>
                  </a:extLst>
                </p:cNvPr>
                <p:cNvPicPr/>
                <p:nvPr/>
              </p:nvPicPr>
              <p:blipFill>
                <a:blip r:embed="rId189"/>
                <a:stretch>
                  <a:fillRect/>
                </a:stretch>
              </p:blipFill>
              <p:spPr>
                <a:xfrm>
                  <a:off x="8657715" y="543585"/>
                  <a:ext cx="742680" cy="2934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E9929E7D-0043-42F6-B897-293A7BC5FE90}"/>
              </a:ext>
            </a:extLst>
          </p:cNvPr>
          <p:cNvGrpSpPr/>
          <p:nvPr/>
        </p:nvGrpSpPr>
        <p:grpSpPr>
          <a:xfrm>
            <a:off x="9626115" y="581745"/>
            <a:ext cx="524160" cy="257400"/>
            <a:chOff x="9626115" y="581745"/>
            <a:chExt cx="524160" cy="2574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90">
              <p14:nvContentPartPr>
                <p14:cNvPr id="121" name="Ink 120">
                  <a:extLst>
                    <a:ext uri="{FF2B5EF4-FFF2-40B4-BE49-F238E27FC236}">
                      <a16:creationId xmlns:a16="http://schemas.microsoft.com/office/drawing/2014/main" id="{ED997A7C-EF27-4835-ADEE-C17F28663FFA}"/>
                    </a:ext>
                  </a:extLst>
                </p14:cNvPr>
                <p14:cNvContentPartPr/>
                <p14:nvPr/>
              </p14:nvContentPartPr>
              <p14:xfrm>
                <a:off x="9626115" y="590385"/>
                <a:ext cx="219600" cy="248760"/>
              </p14:xfrm>
            </p:contentPart>
          </mc:Choice>
          <mc:Fallback xmlns="">
            <p:pic>
              <p:nvPicPr>
                <p:cNvPr id="121" name="Ink 120">
                  <a:extLst>
                    <a:ext uri="{FF2B5EF4-FFF2-40B4-BE49-F238E27FC236}">
                      <a16:creationId xmlns:a16="http://schemas.microsoft.com/office/drawing/2014/main" id="{ED997A7C-EF27-4835-ADEE-C17F28663FFA}"/>
                    </a:ext>
                  </a:extLst>
                </p:cNvPr>
                <p:cNvPicPr/>
                <p:nvPr/>
              </p:nvPicPr>
              <p:blipFill>
                <a:blip r:embed="rId191"/>
                <a:stretch>
                  <a:fillRect/>
                </a:stretch>
              </p:blipFill>
              <p:spPr>
                <a:xfrm>
                  <a:off x="9608115" y="572745"/>
                  <a:ext cx="255240" cy="284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92">
              <p14:nvContentPartPr>
                <p14:cNvPr id="122" name="Ink 121">
                  <a:extLst>
                    <a:ext uri="{FF2B5EF4-FFF2-40B4-BE49-F238E27FC236}">
                      <a16:creationId xmlns:a16="http://schemas.microsoft.com/office/drawing/2014/main" id="{423FA30A-D818-4B63-95D4-AAFFF5B1A6FB}"/>
                    </a:ext>
                  </a:extLst>
                </p14:cNvPr>
                <p14:cNvContentPartPr/>
                <p14:nvPr/>
              </p14:nvContentPartPr>
              <p14:xfrm>
                <a:off x="9953355" y="642585"/>
                <a:ext cx="63000" cy="186120"/>
              </p14:xfrm>
            </p:contentPart>
          </mc:Choice>
          <mc:Fallback xmlns="">
            <p:pic>
              <p:nvPicPr>
                <p:cNvPr id="122" name="Ink 121">
                  <a:extLst>
                    <a:ext uri="{FF2B5EF4-FFF2-40B4-BE49-F238E27FC236}">
                      <a16:creationId xmlns:a16="http://schemas.microsoft.com/office/drawing/2014/main" id="{423FA30A-D818-4B63-95D4-AAFFF5B1A6FB}"/>
                    </a:ext>
                  </a:extLst>
                </p:cNvPr>
                <p:cNvPicPr/>
                <p:nvPr/>
              </p:nvPicPr>
              <p:blipFill>
                <a:blip r:embed="rId193"/>
                <a:stretch>
                  <a:fillRect/>
                </a:stretch>
              </p:blipFill>
              <p:spPr>
                <a:xfrm>
                  <a:off x="9935355" y="624585"/>
                  <a:ext cx="98640" cy="221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94">
              <p14:nvContentPartPr>
                <p14:cNvPr id="123" name="Ink 122">
                  <a:extLst>
                    <a:ext uri="{FF2B5EF4-FFF2-40B4-BE49-F238E27FC236}">
                      <a16:creationId xmlns:a16="http://schemas.microsoft.com/office/drawing/2014/main" id="{6597AC6B-99B4-4410-8992-2247E10B0A4D}"/>
                    </a:ext>
                  </a:extLst>
                </p14:cNvPr>
                <p14:cNvContentPartPr/>
                <p14:nvPr/>
              </p14:nvContentPartPr>
              <p14:xfrm>
                <a:off x="9994395" y="581745"/>
                <a:ext cx="155880" cy="131400"/>
              </p14:xfrm>
            </p:contentPart>
          </mc:Choice>
          <mc:Fallback xmlns="">
            <p:pic>
              <p:nvPicPr>
                <p:cNvPr id="123" name="Ink 122">
                  <a:extLst>
                    <a:ext uri="{FF2B5EF4-FFF2-40B4-BE49-F238E27FC236}">
                      <a16:creationId xmlns:a16="http://schemas.microsoft.com/office/drawing/2014/main" id="{6597AC6B-99B4-4410-8992-2247E10B0A4D}"/>
                    </a:ext>
                  </a:extLst>
                </p:cNvPr>
                <p:cNvPicPr/>
                <p:nvPr/>
              </p:nvPicPr>
              <p:blipFill>
                <a:blip r:embed="rId195"/>
                <a:stretch>
                  <a:fillRect/>
                </a:stretch>
              </p:blipFill>
              <p:spPr>
                <a:xfrm>
                  <a:off x="9976395" y="563745"/>
                  <a:ext cx="191520" cy="16704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196">
            <p14:nvContentPartPr>
              <p14:cNvPr id="2" name="Ink 1">
                <a:extLst>
                  <a:ext uri="{FF2B5EF4-FFF2-40B4-BE49-F238E27FC236}">
                    <a16:creationId xmlns:a16="http://schemas.microsoft.com/office/drawing/2014/main" id="{7AEEC599-171B-4A3C-8836-5D9ED67F53D2}"/>
                  </a:ext>
                </a:extLst>
              </p14:cNvPr>
              <p14:cNvContentPartPr/>
              <p14:nvPr/>
            </p14:nvContentPartPr>
            <p14:xfrm>
              <a:off x="2190240" y="1763640"/>
              <a:ext cx="7662600" cy="3893400"/>
            </p14:xfrm>
          </p:contentPart>
        </mc:Choice>
        <mc:Fallback>
          <p:pic>
            <p:nvPicPr>
              <p:cNvPr id="2" name="Ink 1">
                <a:extLst>
                  <a:ext uri="{FF2B5EF4-FFF2-40B4-BE49-F238E27FC236}">
                    <a16:creationId xmlns:a16="http://schemas.microsoft.com/office/drawing/2014/main" id="{7AEEC599-171B-4A3C-8836-5D9ED67F53D2}"/>
                  </a:ext>
                </a:extLst>
              </p:cNvPr>
              <p:cNvPicPr/>
              <p:nvPr/>
            </p:nvPicPr>
            <p:blipFill>
              <a:blip r:embed="rId197"/>
              <a:stretch>
                <a:fillRect/>
              </a:stretch>
            </p:blipFill>
            <p:spPr>
              <a:xfrm>
                <a:off x="2180880" y="1754280"/>
                <a:ext cx="7681320" cy="39121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2530393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04D3CEB-822D-4E1D-AAD3-FB9CEC833D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04D3CEB-822D-4E1D-AAD3-FB9CEC833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70DF75B6-9B00-4F04-9D5D-D259FD3BEC3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437" y="119062"/>
            <a:ext cx="8191841" cy="5938838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1FA659E5-C7CF-4B96-855A-9124B65DF12E}"/>
              </a:ext>
            </a:extLst>
          </p:cNvPr>
          <p:cNvGrpSpPr/>
          <p:nvPr/>
        </p:nvGrpSpPr>
        <p:grpSpPr>
          <a:xfrm>
            <a:off x="843915" y="5494665"/>
            <a:ext cx="167040" cy="264240"/>
            <a:chOff x="843915" y="5494665"/>
            <a:chExt cx="167040" cy="2642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">
              <p14:nvContentPartPr>
                <p14:cNvPr id="8" name="Ink 7">
                  <a:extLst>
                    <a:ext uri="{FF2B5EF4-FFF2-40B4-BE49-F238E27FC236}">
                      <a16:creationId xmlns:a16="http://schemas.microsoft.com/office/drawing/2014/main" id="{6715BA5A-9382-4DE6-9A54-70DB38FAF2D9}"/>
                    </a:ext>
                  </a:extLst>
                </p14:cNvPr>
                <p14:cNvContentPartPr/>
                <p14:nvPr/>
              </p14:nvContentPartPr>
              <p14:xfrm>
                <a:off x="942555" y="5494665"/>
                <a:ext cx="61200" cy="263160"/>
              </p14:xfrm>
            </p:contentPart>
          </mc:Choice>
          <mc:Fallback xmlns="">
            <p:pic>
              <p:nvPicPr>
                <p:cNvPr id="8" name="Ink 7">
                  <a:extLst>
                    <a:ext uri="{FF2B5EF4-FFF2-40B4-BE49-F238E27FC236}">
                      <a16:creationId xmlns:a16="http://schemas.microsoft.com/office/drawing/2014/main" id="{6715BA5A-9382-4DE6-9A54-70DB38FAF2D9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924555" y="5476665"/>
                  <a:ext cx="96840" cy="298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">
              <p14:nvContentPartPr>
                <p14:cNvPr id="9" name="Ink 8">
                  <a:extLst>
                    <a:ext uri="{FF2B5EF4-FFF2-40B4-BE49-F238E27FC236}">
                      <a16:creationId xmlns:a16="http://schemas.microsoft.com/office/drawing/2014/main" id="{72055A63-4378-4714-ABD0-DC69D2BA15EE}"/>
                    </a:ext>
                  </a:extLst>
                </p14:cNvPr>
                <p14:cNvContentPartPr/>
                <p14:nvPr/>
              </p14:nvContentPartPr>
              <p14:xfrm>
                <a:off x="843915" y="5648745"/>
                <a:ext cx="167040" cy="110160"/>
              </p14:xfrm>
            </p:contentPart>
          </mc:Choice>
          <mc:Fallback xmlns="">
            <p:pic>
              <p:nvPicPr>
                <p:cNvPr id="9" name="Ink 8">
                  <a:extLst>
                    <a:ext uri="{FF2B5EF4-FFF2-40B4-BE49-F238E27FC236}">
                      <a16:creationId xmlns:a16="http://schemas.microsoft.com/office/drawing/2014/main" id="{72055A63-4378-4714-ABD0-DC69D2BA15EE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825915" y="5631105"/>
                  <a:ext cx="202680" cy="1458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697CAF6-8B79-44A6-8B4D-68FCDC7B0BE9}"/>
              </a:ext>
            </a:extLst>
          </p:cNvPr>
          <p:cNvGrpSpPr/>
          <p:nvPr/>
        </p:nvGrpSpPr>
        <p:grpSpPr>
          <a:xfrm>
            <a:off x="482475" y="6052665"/>
            <a:ext cx="779040" cy="168840"/>
            <a:chOff x="482475" y="6052665"/>
            <a:chExt cx="779040" cy="1688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0">
              <p14:nvContentPartPr>
                <p14:cNvPr id="11" name="Ink 10">
                  <a:extLst>
                    <a:ext uri="{FF2B5EF4-FFF2-40B4-BE49-F238E27FC236}">
                      <a16:creationId xmlns:a16="http://schemas.microsoft.com/office/drawing/2014/main" id="{855EF77D-46EC-46D8-BFF4-DF44AABBBF8E}"/>
                    </a:ext>
                  </a:extLst>
                </p14:cNvPr>
                <p14:cNvContentPartPr/>
                <p14:nvPr/>
              </p14:nvContentPartPr>
              <p14:xfrm>
                <a:off x="482475" y="6073545"/>
                <a:ext cx="571680" cy="147960"/>
              </p14:xfrm>
            </p:contentPart>
          </mc:Choice>
          <mc:Fallback xmlns="">
            <p:pic>
              <p:nvPicPr>
                <p:cNvPr id="11" name="Ink 10">
                  <a:extLst>
                    <a:ext uri="{FF2B5EF4-FFF2-40B4-BE49-F238E27FC236}">
                      <a16:creationId xmlns:a16="http://schemas.microsoft.com/office/drawing/2014/main" id="{855EF77D-46EC-46D8-BFF4-DF44AABBBF8E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464475" y="6055905"/>
                  <a:ext cx="607320" cy="183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DEF98E69-8A7A-4EA9-9DD1-B50020B8761A}"/>
                    </a:ext>
                  </a:extLst>
                </p14:cNvPr>
                <p14:cNvContentPartPr/>
                <p14:nvPr/>
              </p14:nvContentPartPr>
              <p14:xfrm>
                <a:off x="1193115" y="6052665"/>
                <a:ext cx="68400" cy="134280"/>
              </p14:xfrm>
            </p:contentPart>
          </mc:Choice>
          <mc:Fallback xmlns=""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DEF98E69-8A7A-4EA9-9DD1-B50020B8761A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1175475" y="6034665"/>
                  <a:ext cx="104040" cy="169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">
              <p14:nvContentPartPr>
                <p14:cNvPr id="13" name="Ink 12">
                  <a:extLst>
                    <a:ext uri="{FF2B5EF4-FFF2-40B4-BE49-F238E27FC236}">
                      <a16:creationId xmlns:a16="http://schemas.microsoft.com/office/drawing/2014/main" id="{CAF51DD2-A994-4F94-94F9-35C0A9765A7E}"/>
                    </a:ext>
                  </a:extLst>
                </p14:cNvPr>
                <p14:cNvContentPartPr/>
                <p14:nvPr/>
              </p14:nvContentPartPr>
              <p14:xfrm>
                <a:off x="1156035" y="6086145"/>
                <a:ext cx="93240" cy="110880"/>
              </p14:xfrm>
            </p:contentPart>
          </mc:Choice>
          <mc:Fallback xmlns="">
            <p:pic>
              <p:nvPicPr>
                <p:cNvPr id="13" name="Ink 12">
                  <a:extLst>
                    <a:ext uri="{FF2B5EF4-FFF2-40B4-BE49-F238E27FC236}">
                      <a16:creationId xmlns:a16="http://schemas.microsoft.com/office/drawing/2014/main" id="{CAF51DD2-A994-4F94-94F9-35C0A9765A7E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1138035" y="6068505"/>
                  <a:ext cx="128880" cy="14652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16">
            <p14:nvContentPartPr>
              <p14:cNvPr id="18" name="Ink 17">
                <a:extLst>
                  <a:ext uri="{FF2B5EF4-FFF2-40B4-BE49-F238E27FC236}">
                    <a16:creationId xmlns:a16="http://schemas.microsoft.com/office/drawing/2014/main" id="{05EF76F0-1317-4353-B8E5-FDFA876B26A0}"/>
                  </a:ext>
                </a:extLst>
              </p14:cNvPr>
              <p14:cNvContentPartPr/>
              <p14:nvPr/>
            </p14:nvContentPartPr>
            <p14:xfrm>
              <a:off x="2315595" y="6031785"/>
              <a:ext cx="17640" cy="24480"/>
            </p14:xfrm>
          </p:contentPart>
        </mc:Choice>
        <mc:Fallback xmlns="">
          <p:pic>
            <p:nvPicPr>
              <p:cNvPr id="18" name="Ink 17">
                <a:extLst>
                  <a:ext uri="{FF2B5EF4-FFF2-40B4-BE49-F238E27FC236}">
                    <a16:creationId xmlns:a16="http://schemas.microsoft.com/office/drawing/2014/main" id="{05EF76F0-1317-4353-B8E5-FDFA876B26A0}"/>
                  </a:ext>
                </a:extLst>
              </p:cNvPr>
              <p:cNvPicPr/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2297955" y="6014145"/>
                <a:ext cx="53280" cy="60120"/>
              </a:xfrm>
              <a:prstGeom prst="rect">
                <a:avLst/>
              </a:prstGeom>
            </p:spPr>
          </p:pic>
        </mc:Fallback>
      </mc:AlternateContent>
      <p:grpSp>
        <p:nvGrpSpPr>
          <p:cNvPr id="27" name="Group 26">
            <a:extLst>
              <a:ext uri="{FF2B5EF4-FFF2-40B4-BE49-F238E27FC236}">
                <a16:creationId xmlns:a16="http://schemas.microsoft.com/office/drawing/2014/main" id="{9B03C391-ABBB-43C3-949F-12A8694254E9}"/>
              </a:ext>
            </a:extLst>
          </p:cNvPr>
          <p:cNvGrpSpPr/>
          <p:nvPr/>
        </p:nvGrpSpPr>
        <p:grpSpPr>
          <a:xfrm>
            <a:off x="180075" y="6335265"/>
            <a:ext cx="1213920" cy="228960"/>
            <a:chOff x="180075" y="6335265"/>
            <a:chExt cx="1213920" cy="2289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8">
              <p14:nvContentPartPr>
                <p14:cNvPr id="20" name="Ink 19">
                  <a:extLst>
                    <a:ext uri="{FF2B5EF4-FFF2-40B4-BE49-F238E27FC236}">
                      <a16:creationId xmlns:a16="http://schemas.microsoft.com/office/drawing/2014/main" id="{19FD5BEC-4BBD-4910-BCAE-04E842691F6E}"/>
                    </a:ext>
                  </a:extLst>
                </p14:cNvPr>
                <p14:cNvContentPartPr/>
                <p14:nvPr/>
              </p14:nvContentPartPr>
              <p14:xfrm>
                <a:off x="180075" y="6335265"/>
                <a:ext cx="156960" cy="172080"/>
              </p14:xfrm>
            </p:contentPart>
          </mc:Choice>
          <mc:Fallback xmlns="">
            <p:pic>
              <p:nvPicPr>
                <p:cNvPr id="20" name="Ink 19">
                  <a:extLst>
                    <a:ext uri="{FF2B5EF4-FFF2-40B4-BE49-F238E27FC236}">
                      <a16:creationId xmlns:a16="http://schemas.microsoft.com/office/drawing/2014/main" id="{19FD5BEC-4BBD-4910-BCAE-04E842691F6E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162075" y="6317625"/>
                  <a:ext cx="192600" cy="207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">
              <p14:nvContentPartPr>
                <p14:cNvPr id="21" name="Ink 20">
                  <a:extLst>
                    <a:ext uri="{FF2B5EF4-FFF2-40B4-BE49-F238E27FC236}">
                      <a16:creationId xmlns:a16="http://schemas.microsoft.com/office/drawing/2014/main" id="{E6CE9372-93A8-47F4-BCA4-C2E2AC05D70D}"/>
                    </a:ext>
                  </a:extLst>
                </p14:cNvPr>
                <p14:cNvContentPartPr/>
                <p14:nvPr/>
              </p14:nvContentPartPr>
              <p14:xfrm>
                <a:off x="358275" y="6445785"/>
                <a:ext cx="138240" cy="57600"/>
              </p14:xfrm>
            </p:contentPart>
          </mc:Choice>
          <mc:Fallback xmlns="">
            <p:pic>
              <p:nvPicPr>
                <p:cNvPr id="21" name="Ink 20">
                  <a:extLst>
                    <a:ext uri="{FF2B5EF4-FFF2-40B4-BE49-F238E27FC236}">
                      <a16:creationId xmlns:a16="http://schemas.microsoft.com/office/drawing/2014/main" id="{E6CE9372-93A8-47F4-BCA4-C2E2AC05D70D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340275" y="6427785"/>
                  <a:ext cx="173880" cy="93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">
              <p14:nvContentPartPr>
                <p14:cNvPr id="22" name="Ink 21">
                  <a:extLst>
                    <a:ext uri="{FF2B5EF4-FFF2-40B4-BE49-F238E27FC236}">
                      <a16:creationId xmlns:a16="http://schemas.microsoft.com/office/drawing/2014/main" id="{99961820-2050-415A-804B-6CC0FC3F7B8E}"/>
                    </a:ext>
                  </a:extLst>
                </p14:cNvPr>
                <p14:cNvContentPartPr/>
                <p14:nvPr/>
              </p14:nvContentPartPr>
              <p14:xfrm>
                <a:off x="529275" y="6370905"/>
                <a:ext cx="122400" cy="144360"/>
              </p14:xfrm>
            </p:contentPart>
          </mc:Choice>
          <mc:Fallback xmlns="">
            <p:pic>
              <p:nvPicPr>
                <p:cNvPr id="22" name="Ink 21">
                  <a:extLst>
                    <a:ext uri="{FF2B5EF4-FFF2-40B4-BE49-F238E27FC236}">
                      <a16:creationId xmlns:a16="http://schemas.microsoft.com/office/drawing/2014/main" id="{99961820-2050-415A-804B-6CC0FC3F7B8E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511635" y="6352905"/>
                  <a:ext cx="158040" cy="180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4">
              <p14:nvContentPartPr>
                <p14:cNvPr id="23" name="Ink 22">
                  <a:extLst>
                    <a:ext uri="{FF2B5EF4-FFF2-40B4-BE49-F238E27FC236}">
                      <a16:creationId xmlns:a16="http://schemas.microsoft.com/office/drawing/2014/main" id="{27310EEC-F218-4C31-8571-75D22E27BBBE}"/>
                    </a:ext>
                  </a:extLst>
                </p14:cNvPr>
                <p14:cNvContentPartPr/>
                <p14:nvPr/>
              </p14:nvContentPartPr>
              <p14:xfrm>
                <a:off x="796395" y="6379185"/>
                <a:ext cx="25920" cy="142200"/>
              </p14:xfrm>
            </p:contentPart>
          </mc:Choice>
          <mc:Fallback xmlns="">
            <p:pic>
              <p:nvPicPr>
                <p:cNvPr id="23" name="Ink 22">
                  <a:extLst>
                    <a:ext uri="{FF2B5EF4-FFF2-40B4-BE49-F238E27FC236}">
                      <a16:creationId xmlns:a16="http://schemas.microsoft.com/office/drawing/2014/main" id="{27310EEC-F218-4C31-8571-75D22E27BBBE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778755" y="6361185"/>
                  <a:ext cx="61560" cy="177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6">
              <p14:nvContentPartPr>
                <p14:cNvPr id="24" name="Ink 23">
                  <a:extLst>
                    <a:ext uri="{FF2B5EF4-FFF2-40B4-BE49-F238E27FC236}">
                      <a16:creationId xmlns:a16="http://schemas.microsoft.com/office/drawing/2014/main" id="{D56E6070-CC1F-4BB1-810C-762016FDAC8C}"/>
                    </a:ext>
                  </a:extLst>
                </p14:cNvPr>
                <p14:cNvContentPartPr/>
                <p14:nvPr/>
              </p14:nvContentPartPr>
              <p14:xfrm>
                <a:off x="803235" y="6349305"/>
                <a:ext cx="150120" cy="179280"/>
              </p14:xfrm>
            </p:contentPart>
          </mc:Choice>
          <mc:Fallback xmlns="">
            <p:pic>
              <p:nvPicPr>
                <p:cNvPr id="24" name="Ink 23">
                  <a:extLst>
                    <a:ext uri="{FF2B5EF4-FFF2-40B4-BE49-F238E27FC236}">
                      <a16:creationId xmlns:a16="http://schemas.microsoft.com/office/drawing/2014/main" id="{D56E6070-CC1F-4BB1-810C-762016FDAC8C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785235" y="6331665"/>
                  <a:ext cx="185760" cy="214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8">
              <p14:nvContentPartPr>
                <p14:cNvPr id="25" name="Ink 24">
                  <a:extLst>
                    <a:ext uri="{FF2B5EF4-FFF2-40B4-BE49-F238E27FC236}">
                      <a16:creationId xmlns:a16="http://schemas.microsoft.com/office/drawing/2014/main" id="{D23908CF-8C71-4119-A401-5DBDF6FFA5A8}"/>
                    </a:ext>
                  </a:extLst>
                </p14:cNvPr>
                <p14:cNvContentPartPr/>
                <p14:nvPr/>
              </p14:nvContentPartPr>
              <p14:xfrm>
                <a:off x="893235" y="6411225"/>
                <a:ext cx="382680" cy="103320"/>
              </p14:xfrm>
            </p:contentPart>
          </mc:Choice>
          <mc:Fallback xmlns="">
            <p:pic>
              <p:nvPicPr>
                <p:cNvPr id="25" name="Ink 24">
                  <a:extLst>
                    <a:ext uri="{FF2B5EF4-FFF2-40B4-BE49-F238E27FC236}">
                      <a16:creationId xmlns:a16="http://schemas.microsoft.com/office/drawing/2014/main" id="{D23908CF-8C71-4119-A401-5DBDF6FFA5A8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875235" y="6393225"/>
                  <a:ext cx="418320" cy="138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0">
              <p14:nvContentPartPr>
                <p14:cNvPr id="26" name="Ink 25">
                  <a:extLst>
                    <a:ext uri="{FF2B5EF4-FFF2-40B4-BE49-F238E27FC236}">
                      <a16:creationId xmlns:a16="http://schemas.microsoft.com/office/drawing/2014/main" id="{F1E32468-BA52-46C3-9385-5C74984EBB04}"/>
                    </a:ext>
                  </a:extLst>
                </p14:cNvPr>
                <p14:cNvContentPartPr/>
                <p14:nvPr/>
              </p14:nvContentPartPr>
              <p14:xfrm>
                <a:off x="1304355" y="6375225"/>
                <a:ext cx="89640" cy="189000"/>
              </p14:xfrm>
            </p:contentPart>
          </mc:Choice>
          <mc:Fallback xmlns="">
            <p:pic>
              <p:nvPicPr>
                <p:cNvPr id="26" name="Ink 25">
                  <a:extLst>
                    <a:ext uri="{FF2B5EF4-FFF2-40B4-BE49-F238E27FC236}">
                      <a16:creationId xmlns:a16="http://schemas.microsoft.com/office/drawing/2014/main" id="{F1E32468-BA52-46C3-9385-5C74984EBB04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1286355" y="6357585"/>
                  <a:ext cx="125280" cy="22464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32">
            <p14:nvContentPartPr>
              <p14:cNvPr id="53" name="Ink 52">
                <a:extLst>
                  <a:ext uri="{FF2B5EF4-FFF2-40B4-BE49-F238E27FC236}">
                    <a16:creationId xmlns:a16="http://schemas.microsoft.com/office/drawing/2014/main" id="{72E5D9C4-EF71-43D3-9B07-A0C4808BD498}"/>
                  </a:ext>
                </a:extLst>
              </p14:cNvPr>
              <p14:cNvContentPartPr/>
              <p14:nvPr/>
            </p14:nvContentPartPr>
            <p14:xfrm>
              <a:off x="5149515" y="6228705"/>
              <a:ext cx="19800" cy="23040"/>
            </p14:xfrm>
          </p:contentPart>
        </mc:Choice>
        <mc:Fallback xmlns="">
          <p:pic>
            <p:nvPicPr>
              <p:cNvPr id="53" name="Ink 52">
                <a:extLst>
                  <a:ext uri="{FF2B5EF4-FFF2-40B4-BE49-F238E27FC236}">
                    <a16:creationId xmlns:a16="http://schemas.microsoft.com/office/drawing/2014/main" id="{72E5D9C4-EF71-43D3-9B07-A0C4808BD498}"/>
                  </a:ext>
                </a:extLst>
              </p:cNvPr>
              <p:cNvPicPr/>
              <p:nvPr/>
            </p:nvPicPr>
            <p:blipFill>
              <a:blip r:embed="rId33"/>
              <a:stretch>
                <a:fillRect/>
              </a:stretch>
            </p:blipFill>
            <p:spPr>
              <a:xfrm>
                <a:off x="5131875" y="6211065"/>
                <a:ext cx="55440" cy="58680"/>
              </a:xfrm>
              <a:prstGeom prst="rect">
                <a:avLst/>
              </a:prstGeom>
            </p:spPr>
          </p:pic>
        </mc:Fallback>
      </mc:AlternateContent>
      <p:grpSp>
        <p:nvGrpSpPr>
          <p:cNvPr id="71" name="Group 70">
            <a:extLst>
              <a:ext uri="{FF2B5EF4-FFF2-40B4-BE49-F238E27FC236}">
                <a16:creationId xmlns:a16="http://schemas.microsoft.com/office/drawing/2014/main" id="{A9587140-E3FE-4665-B9AF-AA5433F5767F}"/>
              </a:ext>
            </a:extLst>
          </p:cNvPr>
          <p:cNvGrpSpPr/>
          <p:nvPr/>
        </p:nvGrpSpPr>
        <p:grpSpPr>
          <a:xfrm>
            <a:off x="2250435" y="4829745"/>
            <a:ext cx="5330880" cy="1755000"/>
            <a:chOff x="2250435" y="4829745"/>
            <a:chExt cx="5330880" cy="17550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34">
              <p14:nvContentPartPr>
                <p14:cNvPr id="28" name="Ink 27">
                  <a:extLst>
                    <a:ext uri="{FF2B5EF4-FFF2-40B4-BE49-F238E27FC236}">
                      <a16:creationId xmlns:a16="http://schemas.microsoft.com/office/drawing/2014/main" id="{649AF58C-DDCB-4068-A250-74856FC64E2E}"/>
                    </a:ext>
                  </a:extLst>
                </p14:cNvPr>
                <p14:cNvContentPartPr/>
                <p14:nvPr/>
              </p14:nvContentPartPr>
              <p14:xfrm>
                <a:off x="2250435" y="4829745"/>
                <a:ext cx="703800" cy="441000"/>
              </p14:xfrm>
            </p:contentPart>
          </mc:Choice>
          <mc:Fallback xmlns="">
            <p:pic>
              <p:nvPicPr>
                <p:cNvPr id="28" name="Ink 27">
                  <a:extLst>
                    <a:ext uri="{FF2B5EF4-FFF2-40B4-BE49-F238E27FC236}">
                      <a16:creationId xmlns:a16="http://schemas.microsoft.com/office/drawing/2014/main" id="{649AF58C-DDCB-4068-A250-74856FC64E2E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2232795" y="4811745"/>
                  <a:ext cx="739440" cy="476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6">
              <p14:nvContentPartPr>
                <p14:cNvPr id="29" name="Ink 28">
                  <a:extLst>
                    <a:ext uri="{FF2B5EF4-FFF2-40B4-BE49-F238E27FC236}">
                      <a16:creationId xmlns:a16="http://schemas.microsoft.com/office/drawing/2014/main" id="{6D0EBF84-A84C-426E-A582-F1C94D0E21B8}"/>
                    </a:ext>
                  </a:extLst>
                </p14:cNvPr>
                <p14:cNvContentPartPr/>
                <p14:nvPr/>
              </p14:nvContentPartPr>
              <p14:xfrm>
                <a:off x="2548875" y="5287305"/>
                <a:ext cx="60120" cy="811080"/>
              </p14:xfrm>
            </p:contentPart>
          </mc:Choice>
          <mc:Fallback xmlns="">
            <p:pic>
              <p:nvPicPr>
                <p:cNvPr id="29" name="Ink 28">
                  <a:extLst>
                    <a:ext uri="{FF2B5EF4-FFF2-40B4-BE49-F238E27FC236}">
                      <a16:creationId xmlns:a16="http://schemas.microsoft.com/office/drawing/2014/main" id="{6D0EBF84-A84C-426E-A582-F1C94D0E21B8}"/>
                    </a:ext>
                  </a:extLst>
                </p:cNvPr>
                <p:cNvPicPr/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2531235" y="5269665"/>
                  <a:ext cx="95760" cy="846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8">
              <p14:nvContentPartPr>
                <p14:cNvPr id="30" name="Ink 29">
                  <a:extLst>
                    <a:ext uri="{FF2B5EF4-FFF2-40B4-BE49-F238E27FC236}">
                      <a16:creationId xmlns:a16="http://schemas.microsoft.com/office/drawing/2014/main" id="{0DBAD2EC-67D6-4891-B906-57DCEB5E06CD}"/>
                    </a:ext>
                  </a:extLst>
                </p14:cNvPr>
                <p14:cNvContentPartPr/>
                <p14:nvPr/>
              </p14:nvContentPartPr>
              <p14:xfrm>
                <a:off x="2549235" y="6001905"/>
                <a:ext cx="155520" cy="79920"/>
              </p14:xfrm>
            </p:contentPart>
          </mc:Choice>
          <mc:Fallback xmlns="">
            <p:pic>
              <p:nvPicPr>
                <p:cNvPr id="30" name="Ink 29">
                  <a:extLst>
                    <a:ext uri="{FF2B5EF4-FFF2-40B4-BE49-F238E27FC236}">
                      <a16:creationId xmlns:a16="http://schemas.microsoft.com/office/drawing/2014/main" id="{0DBAD2EC-67D6-4891-B906-57DCEB5E06CD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2531595" y="5984265"/>
                  <a:ext cx="191160" cy="115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0">
              <p14:nvContentPartPr>
                <p14:cNvPr id="32" name="Ink 31">
                  <a:extLst>
                    <a:ext uri="{FF2B5EF4-FFF2-40B4-BE49-F238E27FC236}">
                      <a16:creationId xmlns:a16="http://schemas.microsoft.com/office/drawing/2014/main" id="{9254828E-5F4C-4667-9AB9-A1AA7C327F4D}"/>
                    </a:ext>
                  </a:extLst>
                </p14:cNvPr>
                <p14:cNvContentPartPr/>
                <p14:nvPr/>
              </p14:nvContentPartPr>
              <p14:xfrm>
                <a:off x="2476875" y="6305025"/>
                <a:ext cx="44640" cy="192960"/>
              </p14:xfrm>
            </p:contentPart>
          </mc:Choice>
          <mc:Fallback xmlns="">
            <p:pic>
              <p:nvPicPr>
                <p:cNvPr id="32" name="Ink 31">
                  <a:extLst>
                    <a:ext uri="{FF2B5EF4-FFF2-40B4-BE49-F238E27FC236}">
                      <a16:creationId xmlns:a16="http://schemas.microsoft.com/office/drawing/2014/main" id="{9254828E-5F4C-4667-9AB9-A1AA7C327F4D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2458875" y="6287025"/>
                  <a:ext cx="80280" cy="228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2">
              <p14:nvContentPartPr>
                <p14:cNvPr id="33" name="Ink 32">
                  <a:extLst>
                    <a:ext uri="{FF2B5EF4-FFF2-40B4-BE49-F238E27FC236}">
                      <a16:creationId xmlns:a16="http://schemas.microsoft.com/office/drawing/2014/main" id="{344C6D92-16F4-4F93-983B-4DCB273BA72E}"/>
                    </a:ext>
                  </a:extLst>
                </p14:cNvPr>
                <p14:cNvContentPartPr/>
                <p14:nvPr/>
              </p14:nvContentPartPr>
              <p14:xfrm>
                <a:off x="2478315" y="6326625"/>
                <a:ext cx="152280" cy="120960"/>
              </p14:xfrm>
            </p:contentPart>
          </mc:Choice>
          <mc:Fallback xmlns="">
            <p:pic>
              <p:nvPicPr>
                <p:cNvPr id="33" name="Ink 32">
                  <a:extLst>
                    <a:ext uri="{FF2B5EF4-FFF2-40B4-BE49-F238E27FC236}">
                      <a16:creationId xmlns:a16="http://schemas.microsoft.com/office/drawing/2014/main" id="{344C6D92-16F4-4F93-983B-4DCB273BA72E}"/>
                    </a:ext>
                  </a:extLst>
                </p:cNvPr>
                <p:cNvPicPr/>
                <p:nvPr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2460675" y="6308985"/>
                  <a:ext cx="187920" cy="156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4">
              <p14:nvContentPartPr>
                <p14:cNvPr id="34" name="Ink 33">
                  <a:extLst>
                    <a:ext uri="{FF2B5EF4-FFF2-40B4-BE49-F238E27FC236}">
                      <a16:creationId xmlns:a16="http://schemas.microsoft.com/office/drawing/2014/main" id="{6673FF7A-B725-45F7-8E9A-DAE308273BBA}"/>
                    </a:ext>
                  </a:extLst>
                </p14:cNvPr>
                <p14:cNvContentPartPr/>
                <p14:nvPr/>
              </p14:nvContentPartPr>
              <p14:xfrm>
                <a:off x="2691795" y="6329145"/>
                <a:ext cx="176400" cy="160200"/>
              </p14:xfrm>
            </p:contentPart>
          </mc:Choice>
          <mc:Fallback xmlns="">
            <p:pic>
              <p:nvPicPr>
                <p:cNvPr id="34" name="Ink 33">
                  <a:extLst>
                    <a:ext uri="{FF2B5EF4-FFF2-40B4-BE49-F238E27FC236}">
                      <a16:creationId xmlns:a16="http://schemas.microsoft.com/office/drawing/2014/main" id="{6673FF7A-B725-45F7-8E9A-DAE308273BBA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2673795" y="6311505"/>
                  <a:ext cx="212040" cy="195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6">
              <p14:nvContentPartPr>
                <p14:cNvPr id="35" name="Ink 34">
                  <a:extLst>
                    <a:ext uri="{FF2B5EF4-FFF2-40B4-BE49-F238E27FC236}">
                      <a16:creationId xmlns:a16="http://schemas.microsoft.com/office/drawing/2014/main" id="{A9823244-8419-44FD-B70E-AE82A19D636D}"/>
                    </a:ext>
                  </a:extLst>
                </p14:cNvPr>
                <p14:cNvContentPartPr/>
                <p14:nvPr/>
              </p14:nvContentPartPr>
              <p14:xfrm>
                <a:off x="2824635" y="6290265"/>
                <a:ext cx="19080" cy="5400"/>
              </p14:xfrm>
            </p:contentPart>
          </mc:Choice>
          <mc:Fallback xmlns="">
            <p:pic>
              <p:nvPicPr>
                <p:cNvPr id="35" name="Ink 34">
                  <a:extLst>
                    <a:ext uri="{FF2B5EF4-FFF2-40B4-BE49-F238E27FC236}">
                      <a16:creationId xmlns:a16="http://schemas.microsoft.com/office/drawing/2014/main" id="{A9823244-8419-44FD-B70E-AE82A19D636D}"/>
                    </a:ext>
                  </a:extLst>
                </p:cNvPr>
                <p:cNvPicPr/>
                <p:nvPr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2806995" y="6272625"/>
                  <a:ext cx="54720" cy="41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8">
              <p14:nvContentPartPr>
                <p14:cNvPr id="36" name="Ink 35">
                  <a:extLst>
                    <a:ext uri="{FF2B5EF4-FFF2-40B4-BE49-F238E27FC236}">
                      <a16:creationId xmlns:a16="http://schemas.microsoft.com/office/drawing/2014/main" id="{2EFA355E-79D3-4FCE-8536-3FF7F01F8917}"/>
                    </a:ext>
                  </a:extLst>
                </p14:cNvPr>
                <p14:cNvContentPartPr/>
                <p14:nvPr/>
              </p14:nvContentPartPr>
              <p14:xfrm>
                <a:off x="2940195" y="6332025"/>
                <a:ext cx="67680" cy="146160"/>
              </p14:xfrm>
            </p:contentPart>
          </mc:Choice>
          <mc:Fallback xmlns="">
            <p:pic>
              <p:nvPicPr>
                <p:cNvPr id="36" name="Ink 35">
                  <a:extLst>
                    <a:ext uri="{FF2B5EF4-FFF2-40B4-BE49-F238E27FC236}">
                      <a16:creationId xmlns:a16="http://schemas.microsoft.com/office/drawing/2014/main" id="{2EFA355E-79D3-4FCE-8536-3FF7F01F8917}"/>
                    </a:ext>
                  </a:extLst>
                </p:cNvPr>
                <p:cNvPicPr/>
                <p:nvPr/>
              </p:nvPicPr>
              <p:blipFill>
                <a:blip r:embed="rId49"/>
                <a:stretch>
                  <a:fillRect/>
                </a:stretch>
              </p:blipFill>
              <p:spPr>
                <a:xfrm>
                  <a:off x="2922555" y="6314025"/>
                  <a:ext cx="103320" cy="181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0">
              <p14:nvContentPartPr>
                <p14:cNvPr id="38" name="Ink 37">
                  <a:extLst>
                    <a:ext uri="{FF2B5EF4-FFF2-40B4-BE49-F238E27FC236}">
                      <a16:creationId xmlns:a16="http://schemas.microsoft.com/office/drawing/2014/main" id="{6484A987-02A4-4E1A-BDAA-1DA96A905E7A}"/>
                    </a:ext>
                  </a:extLst>
                </p14:cNvPr>
                <p14:cNvContentPartPr/>
                <p14:nvPr/>
              </p14:nvContentPartPr>
              <p14:xfrm>
                <a:off x="2895555" y="6338505"/>
                <a:ext cx="96480" cy="246240"/>
              </p14:xfrm>
            </p:contentPart>
          </mc:Choice>
          <mc:Fallback xmlns="">
            <p:pic>
              <p:nvPicPr>
                <p:cNvPr id="38" name="Ink 37">
                  <a:extLst>
                    <a:ext uri="{FF2B5EF4-FFF2-40B4-BE49-F238E27FC236}">
                      <a16:creationId xmlns:a16="http://schemas.microsoft.com/office/drawing/2014/main" id="{6484A987-02A4-4E1A-BDAA-1DA96A905E7A}"/>
                    </a:ext>
                  </a:extLst>
                </p:cNvPr>
                <p:cNvPicPr/>
                <p:nvPr/>
              </p:nvPicPr>
              <p:blipFill>
                <a:blip r:embed="rId51"/>
                <a:stretch>
                  <a:fillRect/>
                </a:stretch>
              </p:blipFill>
              <p:spPr>
                <a:xfrm>
                  <a:off x="2877555" y="6320505"/>
                  <a:ext cx="132120" cy="281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2">
              <p14:nvContentPartPr>
                <p14:cNvPr id="39" name="Ink 38">
                  <a:extLst>
                    <a:ext uri="{FF2B5EF4-FFF2-40B4-BE49-F238E27FC236}">
                      <a16:creationId xmlns:a16="http://schemas.microsoft.com/office/drawing/2014/main" id="{D07B8491-CE7A-4311-AAD8-1B0141458B76}"/>
                    </a:ext>
                  </a:extLst>
                </p14:cNvPr>
                <p14:cNvContentPartPr/>
                <p14:nvPr/>
              </p14:nvContentPartPr>
              <p14:xfrm>
                <a:off x="3062955" y="6298905"/>
                <a:ext cx="120600" cy="175320"/>
              </p14:xfrm>
            </p:contentPart>
          </mc:Choice>
          <mc:Fallback xmlns="">
            <p:pic>
              <p:nvPicPr>
                <p:cNvPr id="39" name="Ink 38">
                  <a:extLst>
                    <a:ext uri="{FF2B5EF4-FFF2-40B4-BE49-F238E27FC236}">
                      <a16:creationId xmlns:a16="http://schemas.microsoft.com/office/drawing/2014/main" id="{D07B8491-CE7A-4311-AAD8-1B0141458B76}"/>
                    </a:ext>
                  </a:extLst>
                </p:cNvPr>
                <p:cNvPicPr/>
                <p:nvPr/>
              </p:nvPicPr>
              <p:blipFill>
                <a:blip r:embed="rId53"/>
                <a:stretch>
                  <a:fillRect/>
                </a:stretch>
              </p:blipFill>
              <p:spPr>
                <a:xfrm>
                  <a:off x="3045315" y="6280905"/>
                  <a:ext cx="156240" cy="210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4">
              <p14:nvContentPartPr>
                <p14:cNvPr id="40" name="Ink 39">
                  <a:extLst>
                    <a:ext uri="{FF2B5EF4-FFF2-40B4-BE49-F238E27FC236}">
                      <a16:creationId xmlns:a16="http://schemas.microsoft.com/office/drawing/2014/main" id="{D402C2D6-F949-43DE-A586-C88F489FB364}"/>
                    </a:ext>
                  </a:extLst>
                </p14:cNvPr>
                <p14:cNvContentPartPr/>
                <p14:nvPr/>
              </p14:nvContentPartPr>
              <p14:xfrm>
                <a:off x="3213435" y="6274785"/>
                <a:ext cx="79200" cy="165600"/>
              </p14:xfrm>
            </p:contentPart>
          </mc:Choice>
          <mc:Fallback xmlns="">
            <p:pic>
              <p:nvPicPr>
                <p:cNvPr id="40" name="Ink 39">
                  <a:extLst>
                    <a:ext uri="{FF2B5EF4-FFF2-40B4-BE49-F238E27FC236}">
                      <a16:creationId xmlns:a16="http://schemas.microsoft.com/office/drawing/2014/main" id="{D402C2D6-F949-43DE-A586-C88F489FB364}"/>
                    </a:ext>
                  </a:extLst>
                </p:cNvPr>
                <p:cNvPicPr/>
                <p:nvPr/>
              </p:nvPicPr>
              <p:blipFill>
                <a:blip r:embed="rId55"/>
                <a:stretch>
                  <a:fillRect/>
                </a:stretch>
              </p:blipFill>
              <p:spPr>
                <a:xfrm>
                  <a:off x="3195795" y="6257145"/>
                  <a:ext cx="114840" cy="201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6">
              <p14:nvContentPartPr>
                <p14:cNvPr id="41" name="Ink 40">
                  <a:extLst>
                    <a:ext uri="{FF2B5EF4-FFF2-40B4-BE49-F238E27FC236}">
                      <a16:creationId xmlns:a16="http://schemas.microsoft.com/office/drawing/2014/main" id="{B5D336B0-6047-47F9-8060-55E0AA840B97}"/>
                    </a:ext>
                  </a:extLst>
                </p14:cNvPr>
                <p14:cNvContentPartPr/>
                <p14:nvPr/>
              </p14:nvContentPartPr>
              <p14:xfrm>
                <a:off x="3349875" y="6337785"/>
                <a:ext cx="75960" cy="69120"/>
              </p14:xfrm>
            </p:contentPart>
          </mc:Choice>
          <mc:Fallback xmlns="">
            <p:pic>
              <p:nvPicPr>
                <p:cNvPr id="41" name="Ink 40">
                  <a:extLst>
                    <a:ext uri="{FF2B5EF4-FFF2-40B4-BE49-F238E27FC236}">
                      <a16:creationId xmlns:a16="http://schemas.microsoft.com/office/drawing/2014/main" id="{B5D336B0-6047-47F9-8060-55E0AA840B97}"/>
                    </a:ext>
                  </a:extLst>
                </p:cNvPr>
                <p:cNvPicPr/>
                <p:nvPr/>
              </p:nvPicPr>
              <p:blipFill>
                <a:blip r:embed="rId57"/>
                <a:stretch>
                  <a:fillRect/>
                </a:stretch>
              </p:blipFill>
              <p:spPr>
                <a:xfrm>
                  <a:off x="3331875" y="6319785"/>
                  <a:ext cx="111600" cy="104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8">
              <p14:nvContentPartPr>
                <p14:cNvPr id="43" name="Ink 42">
                  <a:extLst>
                    <a:ext uri="{FF2B5EF4-FFF2-40B4-BE49-F238E27FC236}">
                      <a16:creationId xmlns:a16="http://schemas.microsoft.com/office/drawing/2014/main" id="{230A6693-F907-4678-B99B-55E7D8055D7B}"/>
                    </a:ext>
                  </a:extLst>
                </p14:cNvPr>
                <p14:cNvContentPartPr/>
                <p14:nvPr/>
              </p14:nvContentPartPr>
              <p14:xfrm>
                <a:off x="3451755" y="6290625"/>
                <a:ext cx="327240" cy="113760"/>
              </p14:xfrm>
            </p:contentPart>
          </mc:Choice>
          <mc:Fallback xmlns="">
            <p:pic>
              <p:nvPicPr>
                <p:cNvPr id="43" name="Ink 42">
                  <a:extLst>
                    <a:ext uri="{FF2B5EF4-FFF2-40B4-BE49-F238E27FC236}">
                      <a16:creationId xmlns:a16="http://schemas.microsoft.com/office/drawing/2014/main" id="{230A6693-F907-4678-B99B-55E7D8055D7B}"/>
                    </a:ext>
                  </a:extLst>
                </p:cNvPr>
                <p:cNvPicPr/>
                <p:nvPr/>
              </p:nvPicPr>
              <p:blipFill>
                <a:blip r:embed="rId59"/>
                <a:stretch>
                  <a:fillRect/>
                </a:stretch>
              </p:blipFill>
              <p:spPr>
                <a:xfrm>
                  <a:off x="3434115" y="6272625"/>
                  <a:ext cx="362880" cy="149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0">
              <p14:nvContentPartPr>
                <p14:cNvPr id="44" name="Ink 43">
                  <a:extLst>
                    <a:ext uri="{FF2B5EF4-FFF2-40B4-BE49-F238E27FC236}">
                      <a16:creationId xmlns:a16="http://schemas.microsoft.com/office/drawing/2014/main" id="{B549DA31-2E93-48F4-80AB-BC9191EA7EE1}"/>
                    </a:ext>
                  </a:extLst>
                </p14:cNvPr>
                <p14:cNvContentPartPr/>
                <p14:nvPr/>
              </p14:nvContentPartPr>
              <p14:xfrm>
                <a:off x="3784755" y="6322305"/>
                <a:ext cx="97560" cy="64080"/>
              </p14:xfrm>
            </p:contentPart>
          </mc:Choice>
          <mc:Fallback xmlns="">
            <p:pic>
              <p:nvPicPr>
                <p:cNvPr id="44" name="Ink 43">
                  <a:extLst>
                    <a:ext uri="{FF2B5EF4-FFF2-40B4-BE49-F238E27FC236}">
                      <a16:creationId xmlns:a16="http://schemas.microsoft.com/office/drawing/2014/main" id="{B549DA31-2E93-48F4-80AB-BC9191EA7EE1}"/>
                    </a:ext>
                  </a:extLst>
                </p:cNvPr>
                <p:cNvPicPr/>
                <p:nvPr/>
              </p:nvPicPr>
              <p:blipFill>
                <a:blip r:embed="rId61"/>
                <a:stretch>
                  <a:fillRect/>
                </a:stretch>
              </p:blipFill>
              <p:spPr>
                <a:xfrm>
                  <a:off x="3766755" y="6304665"/>
                  <a:ext cx="133200" cy="99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2">
              <p14:nvContentPartPr>
                <p14:cNvPr id="45" name="Ink 44">
                  <a:extLst>
                    <a:ext uri="{FF2B5EF4-FFF2-40B4-BE49-F238E27FC236}">
                      <a16:creationId xmlns:a16="http://schemas.microsoft.com/office/drawing/2014/main" id="{5D856ECA-DE0F-4F87-8CD4-402C594502BB}"/>
                    </a:ext>
                  </a:extLst>
                </p14:cNvPr>
                <p14:cNvContentPartPr/>
                <p14:nvPr/>
              </p14:nvContentPartPr>
              <p14:xfrm>
                <a:off x="3946755" y="6247425"/>
                <a:ext cx="90000" cy="128160"/>
              </p14:xfrm>
            </p:contentPart>
          </mc:Choice>
          <mc:Fallback xmlns="">
            <p:pic>
              <p:nvPicPr>
                <p:cNvPr id="45" name="Ink 44">
                  <a:extLst>
                    <a:ext uri="{FF2B5EF4-FFF2-40B4-BE49-F238E27FC236}">
                      <a16:creationId xmlns:a16="http://schemas.microsoft.com/office/drawing/2014/main" id="{5D856ECA-DE0F-4F87-8CD4-402C594502BB}"/>
                    </a:ext>
                  </a:extLst>
                </p:cNvPr>
                <p:cNvPicPr/>
                <p:nvPr/>
              </p:nvPicPr>
              <p:blipFill>
                <a:blip r:embed="rId63"/>
                <a:stretch>
                  <a:fillRect/>
                </a:stretch>
              </p:blipFill>
              <p:spPr>
                <a:xfrm>
                  <a:off x="3929115" y="6229785"/>
                  <a:ext cx="125640" cy="163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4">
              <p14:nvContentPartPr>
                <p14:cNvPr id="46" name="Ink 45">
                  <a:extLst>
                    <a:ext uri="{FF2B5EF4-FFF2-40B4-BE49-F238E27FC236}">
                      <a16:creationId xmlns:a16="http://schemas.microsoft.com/office/drawing/2014/main" id="{6ADA537E-0EF4-4904-8FC9-C1FD3C1B8310}"/>
                    </a:ext>
                  </a:extLst>
                </p14:cNvPr>
                <p14:cNvContentPartPr/>
                <p14:nvPr/>
              </p14:nvContentPartPr>
              <p14:xfrm>
                <a:off x="4185075" y="6245625"/>
                <a:ext cx="72720" cy="127800"/>
              </p14:xfrm>
            </p:contentPart>
          </mc:Choice>
          <mc:Fallback xmlns="">
            <p:pic>
              <p:nvPicPr>
                <p:cNvPr id="46" name="Ink 45">
                  <a:extLst>
                    <a:ext uri="{FF2B5EF4-FFF2-40B4-BE49-F238E27FC236}">
                      <a16:creationId xmlns:a16="http://schemas.microsoft.com/office/drawing/2014/main" id="{6ADA537E-0EF4-4904-8FC9-C1FD3C1B8310}"/>
                    </a:ext>
                  </a:extLst>
                </p:cNvPr>
                <p:cNvPicPr/>
                <p:nvPr/>
              </p:nvPicPr>
              <p:blipFill>
                <a:blip r:embed="rId65"/>
                <a:stretch>
                  <a:fillRect/>
                </a:stretch>
              </p:blipFill>
              <p:spPr>
                <a:xfrm>
                  <a:off x="4167435" y="6227985"/>
                  <a:ext cx="108360" cy="163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6">
              <p14:nvContentPartPr>
                <p14:cNvPr id="47" name="Ink 46">
                  <a:extLst>
                    <a:ext uri="{FF2B5EF4-FFF2-40B4-BE49-F238E27FC236}">
                      <a16:creationId xmlns:a16="http://schemas.microsoft.com/office/drawing/2014/main" id="{E6125E71-7E22-4A20-B912-D54FFDFCD72C}"/>
                    </a:ext>
                  </a:extLst>
                </p14:cNvPr>
                <p14:cNvContentPartPr/>
                <p14:nvPr/>
              </p14:nvContentPartPr>
              <p14:xfrm>
                <a:off x="4331595" y="6178665"/>
                <a:ext cx="128520" cy="191160"/>
              </p14:xfrm>
            </p:contentPart>
          </mc:Choice>
          <mc:Fallback xmlns="">
            <p:pic>
              <p:nvPicPr>
                <p:cNvPr id="47" name="Ink 46">
                  <a:extLst>
                    <a:ext uri="{FF2B5EF4-FFF2-40B4-BE49-F238E27FC236}">
                      <a16:creationId xmlns:a16="http://schemas.microsoft.com/office/drawing/2014/main" id="{E6125E71-7E22-4A20-B912-D54FFDFCD72C}"/>
                    </a:ext>
                  </a:extLst>
                </p:cNvPr>
                <p:cNvPicPr/>
                <p:nvPr/>
              </p:nvPicPr>
              <p:blipFill>
                <a:blip r:embed="rId67"/>
                <a:stretch>
                  <a:fillRect/>
                </a:stretch>
              </p:blipFill>
              <p:spPr>
                <a:xfrm>
                  <a:off x="4313955" y="6160665"/>
                  <a:ext cx="164160" cy="226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8">
              <p14:nvContentPartPr>
                <p14:cNvPr id="48" name="Ink 47">
                  <a:extLst>
                    <a:ext uri="{FF2B5EF4-FFF2-40B4-BE49-F238E27FC236}">
                      <a16:creationId xmlns:a16="http://schemas.microsoft.com/office/drawing/2014/main" id="{F32476B6-65F0-4E14-8057-99CBBFE57114}"/>
                    </a:ext>
                  </a:extLst>
                </p14:cNvPr>
                <p14:cNvContentPartPr/>
                <p14:nvPr/>
              </p14:nvContentPartPr>
              <p14:xfrm>
                <a:off x="4310715" y="6298545"/>
                <a:ext cx="274680" cy="115920"/>
              </p14:xfrm>
            </p:contentPart>
          </mc:Choice>
          <mc:Fallback xmlns="">
            <p:pic>
              <p:nvPicPr>
                <p:cNvPr id="48" name="Ink 47">
                  <a:extLst>
                    <a:ext uri="{FF2B5EF4-FFF2-40B4-BE49-F238E27FC236}">
                      <a16:creationId xmlns:a16="http://schemas.microsoft.com/office/drawing/2014/main" id="{F32476B6-65F0-4E14-8057-99CBBFE57114}"/>
                    </a:ext>
                  </a:extLst>
                </p:cNvPr>
                <p:cNvPicPr/>
                <p:nvPr/>
              </p:nvPicPr>
              <p:blipFill>
                <a:blip r:embed="rId69"/>
                <a:stretch>
                  <a:fillRect/>
                </a:stretch>
              </p:blipFill>
              <p:spPr>
                <a:xfrm>
                  <a:off x="4293075" y="6280905"/>
                  <a:ext cx="310320" cy="151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0">
              <p14:nvContentPartPr>
                <p14:cNvPr id="49" name="Ink 48">
                  <a:extLst>
                    <a:ext uri="{FF2B5EF4-FFF2-40B4-BE49-F238E27FC236}">
                      <a16:creationId xmlns:a16="http://schemas.microsoft.com/office/drawing/2014/main" id="{F4C0EEB4-C029-48D5-8477-4A9AA8E3B7F1}"/>
                    </a:ext>
                  </a:extLst>
                </p14:cNvPr>
                <p14:cNvContentPartPr/>
                <p14:nvPr/>
              </p14:nvContentPartPr>
              <p14:xfrm>
                <a:off x="4549755" y="6228705"/>
                <a:ext cx="170640" cy="185760"/>
              </p14:xfrm>
            </p:contentPart>
          </mc:Choice>
          <mc:Fallback xmlns="">
            <p:pic>
              <p:nvPicPr>
                <p:cNvPr id="49" name="Ink 48">
                  <a:extLst>
                    <a:ext uri="{FF2B5EF4-FFF2-40B4-BE49-F238E27FC236}">
                      <a16:creationId xmlns:a16="http://schemas.microsoft.com/office/drawing/2014/main" id="{F4C0EEB4-C029-48D5-8477-4A9AA8E3B7F1}"/>
                    </a:ext>
                  </a:extLst>
                </p:cNvPr>
                <p:cNvPicPr/>
                <p:nvPr/>
              </p:nvPicPr>
              <p:blipFill>
                <a:blip r:embed="rId71"/>
                <a:stretch>
                  <a:fillRect/>
                </a:stretch>
              </p:blipFill>
              <p:spPr>
                <a:xfrm>
                  <a:off x="4532115" y="6211065"/>
                  <a:ext cx="206280" cy="221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2">
              <p14:nvContentPartPr>
                <p14:cNvPr id="55" name="Ink 54">
                  <a:extLst>
                    <a:ext uri="{FF2B5EF4-FFF2-40B4-BE49-F238E27FC236}">
                      <a16:creationId xmlns:a16="http://schemas.microsoft.com/office/drawing/2014/main" id="{7F0F5FA0-802A-4322-86AC-A991DD668F7A}"/>
                    </a:ext>
                  </a:extLst>
                </p14:cNvPr>
                <p14:cNvContentPartPr/>
                <p14:nvPr/>
              </p14:nvContentPartPr>
              <p14:xfrm>
                <a:off x="4644795" y="6260745"/>
                <a:ext cx="583200" cy="126720"/>
              </p14:xfrm>
            </p:contentPart>
          </mc:Choice>
          <mc:Fallback xmlns="">
            <p:pic>
              <p:nvPicPr>
                <p:cNvPr id="55" name="Ink 54">
                  <a:extLst>
                    <a:ext uri="{FF2B5EF4-FFF2-40B4-BE49-F238E27FC236}">
                      <a16:creationId xmlns:a16="http://schemas.microsoft.com/office/drawing/2014/main" id="{7F0F5FA0-802A-4322-86AC-A991DD668F7A}"/>
                    </a:ext>
                  </a:extLst>
                </p:cNvPr>
                <p:cNvPicPr/>
                <p:nvPr/>
              </p:nvPicPr>
              <p:blipFill>
                <a:blip r:embed="rId73"/>
                <a:stretch>
                  <a:fillRect/>
                </a:stretch>
              </p:blipFill>
              <p:spPr>
                <a:xfrm>
                  <a:off x="4626795" y="6242745"/>
                  <a:ext cx="618840" cy="162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4">
              <p14:nvContentPartPr>
                <p14:cNvPr id="56" name="Ink 55">
                  <a:extLst>
                    <a:ext uri="{FF2B5EF4-FFF2-40B4-BE49-F238E27FC236}">
                      <a16:creationId xmlns:a16="http://schemas.microsoft.com/office/drawing/2014/main" id="{032A16B2-A7EF-40CF-9067-5BB482E2C05C}"/>
                    </a:ext>
                  </a:extLst>
                </p14:cNvPr>
                <p14:cNvContentPartPr/>
                <p14:nvPr/>
              </p14:nvContentPartPr>
              <p14:xfrm>
                <a:off x="5372355" y="6307185"/>
                <a:ext cx="56160" cy="101160"/>
              </p14:xfrm>
            </p:contentPart>
          </mc:Choice>
          <mc:Fallback xmlns="">
            <p:pic>
              <p:nvPicPr>
                <p:cNvPr id="56" name="Ink 55">
                  <a:extLst>
                    <a:ext uri="{FF2B5EF4-FFF2-40B4-BE49-F238E27FC236}">
                      <a16:creationId xmlns:a16="http://schemas.microsoft.com/office/drawing/2014/main" id="{032A16B2-A7EF-40CF-9067-5BB482E2C05C}"/>
                    </a:ext>
                  </a:extLst>
                </p:cNvPr>
                <p:cNvPicPr/>
                <p:nvPr/>
              </p:nvPicPr>
              <p:blipFill>
                <a:blip r:embed="rId75"/>
                <a:stretch>
                  <a:fillRect/>
                </a:stretch>
              </p:blipFill>
              <p:spPr>
                <a:xfrm>
                  <a:off x="5354715" y="6289185"/>
                  <a:ext cx="91800" cy="136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6">
              <p14:nvContentPartPr>
                <p14:cNvPr id="57" name="Ink 56">
                  <a:extLst>
                    <a:ext uri="{FF2B5EF4-FFF2-40B4-BE49-F238E27FC236}">
                      <a16:creationId xmlns:a16="http://schemas.microsoft.com/office/drawing/2014/main" id="{54A33C7B-AFAF-4E79-A4E5-F199656AC9FA}"/>
                    </a:ext>
                  </a:extLst>
                </p14:cNvPr>
                <p14:cNvContentPartPr/>
                <p14:nvPr/>
              </p14:nvContentPartPr>
              <p14:xfrm>
                <a:off x="5405115" y="6220425"/>
                <a:ext cx="27000" cy="18360"/>
              </p14:xfrm>
            </p:contentPart>
          </mc:Choice>
          <mc:Fallback xmlns="">
            <p:pic>
              <p:nvPicPr>
                <p:cNvPr id="57" name="Ink 56">
                  <a:extLst>
                    <a:ext uri="{FF2B5EF4-FFF2-40B4-BE49-F238E27FC236}">
                      <a16:creationId xmlns:a16="http://schemas.microsoft.com/office/drawing/2014/main" id="{54A33C7B-AFAF-4E79-A4E5-F199656AC9FA}"/>
                    </a:ext>
                  </a:extLst>
                </p:cNvPr>
                <p:cNvPicPr/>
                <p:nvPr/>
              </p:nvPicPr>
              <p:blipFill>
                <a:blip r:embed="rId77"/>
                <a:stretch>
                  <a:fillRect/>
                </a:stretch>
              </p:blipFill>
              <p:spPr>
                <a:xfrm>
                  <a:off x="5387475" y="6202425"/>
                  <a:ext cx="62640" cy="54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8">
              <p14:nvContentPartPr>
                <p14:cNvPr id="58" name="Ink 57">
                  <a:extLst>
                    <a:ext uri="{FF2B5EF4-FFF2-40B4-BE49-F238E27FC236}">
                      <a16:creationId xmlns:a16="http://schemas.microsoft.com/office/drawing/2014/main" id="{2AAD5517-4987-41F5-937E-C442E82E6748}"/>
                    </a:ext>
                  </a:extLst>
                </p14:cNvPr>
                <p14:cNvContentPartPr/>
                <p14:nvPr/>
              </p14:nvContentPartPr>
              <p14:xfrm>
                <a:off x="5575395" y="6223665"/>
                <a:ext cx="416160" cy="199800"/>
              </p14:xfrm>
            </p:contentPart>
          </mc:Choice>
          <mc:Fallback xmlns="">
            <p:pic>
              <p:nvPicPr>
                <p:cNvPr id="58" name="Ink 57">
                  <a:extLst>
                    <a:ext uri="{FF2B5EF4-FFF2-40B4-BE49-F238E27FC236}">
                      <a16:creationId xmlns:a16="http://schemas.microsoft.com/office/drawing/2014/main" id="{2AAD5517-4987-41F5-937E-C442E82E6748}"/>
                    </a:ext>
                  </a:extLst>
                </p:cNvPr>
                <p:cNvPicPr/>
                <p:nvPr/>
              </p:nvPicPr>
              <p:blipFill>
                <a:blip r:embed="rId79"/>
                <a:stretch>
                  <a:fillRect/>
                </a:stretch>
              </p:blipFill>
              <p:spPr>
                <a:xfrm>
                  <a:off x="5557755" y="6206025"/>
                  <a:ext cx="451800" cy="235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0">
              <p14:nvContentPartPr>
                <p14:cNvPr id="59" name="Ink 58">
                  <a:extLst>
                    <a:ext uri="{FF2B5EF4-FFF2-40B4-BE49-F238E27FC236}">
                      <a16:creationId xmlns:a16="http://schemas.microsoft.com/office/drawing/2014/main" id="{8EEEFA18-1D1D-4013-9AD0-BF20C8512972}"/>
                    </a:ext>
                  </a:extLst>
                </p14:cNvPr>
                <p14:cNvContentPartPr/>
                <p14:nvPr/>
              </p14:nvContentPartPr>
              <p14:xfrm>
                <a:off x="5993355" y="6275145"/>
                <a:ext cx="217080" cy="89280"/>
              </p14:xfrm>
            </p:contentPart>
          </mc:Choice>
          <mc:Fallback xmlns="">
            <p:pic>
              <p:nvPicPr>
                <p:cNvPr id="59" name="Ink 58">
                  <a:extLst>
                    <a:ext uri="{FF2B5EF4-FFF2-40B4-BE49-F238E27FC236}">
                      <a16:creationId xmlns:a16="http://schemas.microsoft.com/office/drawing/2014/main" id="{8EEEFA18-1D1D-4013-9AD0-BF20C8512972}"/>
                    </a:ext>
                  </a:extLst>
                </p:cNvPr>
                <p:cNvPicPr/>
                <p:nvPr/>
              </p:nvPicPr>
              <p:blipFill>
                <a:blip r:embed="rId81"/>
                <a:stretch>
                  <a:fillRect/>
                </a:stretch>
              </p:blipFill>
              <p:spPr>
                <a:xfrm>
                  <a:off x="5975715" y="6257505"/>
                  <a:ext cx="252720" cy="124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2">
              <p14:nvContentPartPr>
                <p14:cNvPr id="62" name="Ink 61">
                  <a:extLst>
                    <a:ext uri="{FF2B5EF4-FFF2-40B4-BE49-F238E27FC236}">
                      <a16:creationId xmlns:a16="http://schemas.microsoft.com/office/drawing/2014/main" id="{64A0C1B4-DE2D-475D-8C58-1A6D679D7BA5}"/>
                    </a:ext>
                  </a:extLst>
                </p14:cNvPr>
                <p14:cNvContentPartPr/>
                <p14:nvPr/>
              </p14:nvContentPartPr>
              <p14:xfrm>
                <a:off x="6232035" y="6202425"/>
                <a:ext cx="137160" cy="200880"/>
              </p14:xfrm>
            </p:contentPart>
          </mc:Choice>
          <mc:Fallback xmlns="">
            <p:pic>
              <p:nvPicPr>
                <p:cNvPr id="62" name="Ink 61">
                  <a:extLst>
                    <a:ext uri="{FF2B5EF4-FFF2-40B4-BE49-F238E27FC236}">
                      <a16:creationId xmlns:a16="http://schemas.microsoft.com/office/drawing/2014/main" id="{64A0C1B4-DE2D-475D-8C58-1A6D679D7BA5}"/>
                    </a:ext>
                  </a:extLst>
                </p:cNvPr>
                <p:cNvPicPr/>
                <p:nvPr/>
              </p:nvPicPr>
              <p:blipFill>
                <a:blip r:embed="rId83"/>
                <a:stretch>
                  <a:fillRect/>
                </a:stretch>
              </p:blipFill>
              <p:spPr>
                <a:xfrm>
                  <a:off x="6214035" y="6184425"/>
                  <a:ext cx="172800" cy="236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4">
              <p14:nvContentPartPr>
                <p14:cNvPr id="63" name="Ink 62">
                  <a:extLst>
                    <a:ext uri="{FF2B5EF4-FFF2-40B4-BE49-F238E27FC236}">
                      <a16:creationId xmlns:a16="http://schemas.microsoft.com/office/drawing/2014/main" id="{EC58A091-971A-4501-93EA-21DB0C0F159F}"/>
                    </a:ext>
                  </a:extLst>
                </p14:cNvPr>
                <p14:cNvContentPartPr/>
                <p14:nvPr/>
              </p14:nvContentPartPr>
              <p14:xfrm>
                <a:off x="6520395" y="6245625"/>
                <a:ext cx="128880" cy="162000"/>
              </p14:xfrm>
            </p:contentPart>
          </mc:Choice>
          <mc:Fallback xmlns="">
            <p:pic>
              <p:nvPicPr>
                <p:cNvPr id="63" name="Ink 62">
                  <a:extLst>
                    <a:ext uri="{FF2B5EF4-FFF2-40B4-BE49-F238E27FC236}">
                      <a16:creationId xmlns:a16="http://schemas.microsoft.com/office/drawing/2014/main" id="{EC58A091-971A-4501-93EA-21DB0C0F159F}"/>
                    </a:ext>
                  </a:extLst>
                </p:cNvPr>
                <p:cNvPicPr/>
                <p:nvPr/>
              </p:nvPicPr>
              <p:blipFill>
                <a:blip r:embed="rId85"/>
                <a:stretch>
                  <a:fillRect/>
                </a:stretch>
              </p:blipFill>
              <p:spPr>
                <a:xfrm>
                  <a:off x="6502755" y="6227985"/>
                  <a:ext cx="164520" cy="197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6">
              <p14:nvContentPartPr>
                <p14:cNvPr id="67" name="Ink 66">
                  <a:extLst>
                    <a:ext uri="{FF2B5EF4-FFF2-40B4-BE49-F238E27FC236}">
                      <a16:creationId xmlns:a16="http://schemas.microsoft.com/office/drawing/2014/main" id="{50017E53-0251-436E-A131-8073CCDD39D9}"/>
                    </a:ext>
                  </a:extLst>
                </p14:cNvPr>
                <p14:cNvContentPartPr/>
                <p14:nvPr/>
              </p14:nvContentPartPr>
              <p14:xfrm>
                <a:off x="6625515" y="6272985"/>
                <a:ext cx="127800" cy="258480"/>
              </p14:xfrm>
            </p:contentPart>
          </mc:Choice>
          <mc:Fallback xmlns="">
            <p:pic>
              <p:nvPicPr>
                <p:cNvPr id="67" name="Ink 66">
                  <a:extLst>
                    <a:ext uri="{FF2B5EF4-FFF2-40B4-BE49-F238E27FC236}">
                      <a16:creationId xmlns:a16="http://schemas.microsoft.com/office/drawing/2014/main" id="{50017E53-0251-436E-A131-8073CCDD39D9}"/>
                    </a:ext>
                  </a:extLst>
                </p:cNvPr>
                <p:cNvPicPr/>
                <p:nvPr/>
              </p:nvPicPr>
              <p:blipFill>
                <a:blip r:embed="rId87"/>
                <a:stretch>
                  <a:fillRect/>
                </a:stretch>
              </p:blipFill>
              <p:spPr>
                <a:xfrm>
                  <a:off x="6607875" y="6254985"/>
                  <a:ext cx="163440" cy="294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8">
              <p14:nvContentPartPr>
                <p14:cNvPr id="68" name="Ink 67">
                  <a:extLst>
                    <a:ext uri="{FF2B5EF4-FFF2-40B4-BE49-F238E27FC236}">
                      <a16:creationId xmlns:a16="http://schemas.microsoft.com/office/drawing/2014/main" id="{9D79F789-1E46-46B2-8380-BFACDC90D6A4}"/>
                    </a:ext>
                  </a:extLst>
                </p14:cNvPr>
                <p14:cNvContentPartPr/>
                <p14:nvPr/>
              </p14:nvContentPartPr>
              <p14:xfrm>
                <a:off x="6872835" y="6271545"/>
                <a:ext cx="509760" cy="160200"/>
              </p14:xfrm>
            </p:contentPart>
          </mc:Choice>
          <mc:Fallback xmlns="">
            <p:pic>
              <p:nvPicPr>
                <p:cNvPr id="68" name="Ink 67">
                  <a:extLst>
                    <a:ext uri="{FF2B5EF4-FFF2-40B4-BE49-F238E27FC236}">
                      <a16:creationId xmlns:a16="http://schemas.microsoft.com/office/drawing/2014/main" id="{9D79F789-1E46-46B2-8380-BFACDC90D6A4}"/>
                    </a:ext>
                  </a:extLst>
                </p:cNvPr>
                <p:cNvPicPr/>
                <p:nvPr/>
              </p:nvPicPr>
              <p:blipFill>
                <a:blip r:embed="rId89"/>
                <a:stretch>
                  <a:fillRect/>
                </a:stretch>
              </p:blipFill>
              <p:spPr>
                <a:xfrm>
                  <a:off x="6854835" y="6253905"/>
                  <a:ext cx="545400" cy="195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0">
              <p14:nvContentPartPr>
                <p14:cNvPr id="69" name="Ink 68">
                  <a:extLst>
                    <a:ext uri="{FF2B5EF4-FFF2-40B4-BE49-F238E27FC236}">
                      <a16:creationId xmlns:a16="http://schemas.microsoft.com/office/drawing/2014/main" id="{6DF045F6-F31D-49FD-AEDF-4931FC8C5CF8}"/>
                    </a:ext>
                  </a:extLst>
                </p14:cNvPr>
                <p14:cNvContentPartPr/>
                <p14:nvPr/>
              </p14:nvContentPartPr>
              <p14:xfrm>
                <a:off x="7424715" y="6286665"/>
                <a:ext cx="156600" cy="161280"/>
              </p14:xfrm>
            </p:contentPart>
          </mc:Choice>
          <mc:Fallback xmlns="">
            <p:pic>
              <p:nvPicPr>
                <p:cNvPr id="69" name="Ink 68">
                  <a:extLst>
                    <a:ext uri="{FF2B5EF4-FFF2-40B4-BE49-F238E27FC236}">
                      <a16:creationId xmlns:a16="http://schemas.microsoft.com/office/drawing/2014/main" id="{6DF045F6-F31D-49FD-AEDF-4931FC8C5CF8}"/>
                    </a:ext>
                  </a:extLst>
                </p:cNvPr>
                <p:cNvPicPr/>
                <p:nvPr/>
              </p:nvPicPr>
              <p:blipFill>
                <a:blip r:embed="rId91"/>
                <a:stretch>
                  <a:fillRect/>
                </a:stretch>
              </p:blipFill>
              <p:spPr>
                <a:xfrm>
                  <a:off x="7406715" y="6268665"/>
                  <a:ext cx="192240" cy="196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2">
              <p14:nvContentPartPr>
                <p14:cNvPr id="70" name="Ink 69">
                  <a:extLst>
                    <a:ext uri="{FF2B5EF4-FFF2-40B4-BE49-F238E27FC236}">
                      <a16:creationId xmlns:a16="http://schemas.microsoft.com/office/drawing/2014/main" id="{7852BD38-2C40-4B71-AE71-15CBD64DDBF9}"/>
                    </a:ext>
                  </a:extLst>
                </p14:cNvPr>
                <p14:cNvContentPartPr/>
                <p14:nvPr/>
              </p14:nvContentPartPr>
              <p14:xfrm>
                <a:off x="7411035" y="6311865"/>
                <a:ext cx="168480" cy="128160"/>
              </p14:xfrm>
            </p:contentPart>
          </mc:Choice>
          <mc:Fallback xmlns="">
            <p:pic>
              <p:nvPicPr>
                <p:cNvPr id="70" name="Ink 69">
                  <a:extLst>
                    <a:ext uri="{FF2B5EF4-FFF2-40B4-BE49-F238E27FC236}">
                      <a16:creationId xmlns:a16="http://schemas.microsoft.com/office/drawing/2014/main" id="{7852BD38-2C40-4B71-AE71-15CBD64DDBF9}"/>
                    </a:ext>
                  </a:extLst>
                </p:cNvPr>
                <p:cNvPicPr/>
                <p:nvPr/>
              </p:nvPicPr>
              <p:blipFill>
                <a:blip r:embed="rId93"/>
                <a:stretch>
                  <a:fillRect/>
                </a:stretch>
              </p:blipFill>
              <p:spPr>
                <a:xfrm>
                  <a:off x="7393035" y="6293865"/>
                  <a:ext cx="204120" cy="1638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2FC1C42E-D102-4266-9120-C90668225B88}"/>
              </a:ext>
            </a:extLst>
          </p:cNvPr>
          <p:cNvGrpSpPr/>
          <p:nvPr/>
        </p:nvGrpSpPr>
        <p:grpSpPr>
          <a:xfrm>
            <a:off x="7120875" y="5287305"/>
            <a:ext cx="1177560" cy="380520"/>
            <a:chOff x="7120875" y="5287305"/>
            <a:chExt cx="1177560" cy="3805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94">
              <p14:nvContentPartPr>
                <p14:cNvPr id="72" name="Ink 71">
                  <a:extLst>
                    <a:ext uri="{FF2B5EF4-FFF2-40B4-BE49-F238E27FC236}">
                      <a16:creationId xmlns:a16="http://schemas.microsoft.com/office/drawing/2014/main" id="{959EB9B9-0DAA-47B0-8F73-2C020D9FBE28}"/>
                    </a:ext>
                  </a:extLst>
                </p14:cNvPr>
                <p14:cNvContentPartPr/>
                <p14:nvPr/>
              </p14:nvContentPartPr>
              <p14:xfrm>
                <a:off x="7120875" y="5616345"/>
                <a:ext cx="142200" cy="51480"/>
              </p14:xfrm>
            </p:contentPart>
          </mc:Choice>
          <mc:Fallback xmlns="">
            <p:pic>
              <p:nvPicPr>
                <p:cNvPr id="72" name="Ink 71">
                  <a:extLst>
                    <a:ext uri="{FF2B5EF4-FFF2-40B4-BE49-F238E27FC236}">
                      <a16:creationId xmlns:a16="http://schemas.microsoft.com/office/drawing/2014/main" id="{959EB9B9-0DAA-47B0-8F73-2C020D9FBE28}"/>
                    </a:ext>
                  </a:extLst>
                </p:cNvPr>
                <p:cNvPicPr/>
                <p:nvPr/>
              </p:nvPicPr>
              <p:blipFill>
                <a:blip r:embed="rId95"/>
                <a:stretch>
                  <a:fillRect/>
                </a:stretch>
              </p:blipFill>
              <p:spPr>
                <a:xfrm>
                  <a:off x="7102875" y="5598705"/>
                  <a:ext cx="177840" cy="87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6">
              <p14:nvContentPartPr>
                <p14:cNvPr id="73" name="Ink 72">
                  <a:extLst>
                    <a:ext uri="{FF2B5EF4-FFF2-40B4-BE49-F238E27FC236}">
                      <a16:creationId xmlns:a16="http://schemas.microsoft.com/office/drawing/2014/main" id="{248BB56B-329B-43CB-9770-69C03867A711}"/>
                    </a:ext>
                  </a:extLst>
                </p14:cNvPr>
                <p14:cNvContentPartPr/>
                <p14:nvPr/>
              </p14:nvContentPartPr>
              <p14:xfrm>
                <a:off x="7359195" y="5490345"/>
                <a:ext cx="72360" cy="132120"/>
              </p14:xfrm>
            </p:contentPart>
          </mc:Choice>
          <mc:Fallback xmlns="">
            <p:pic>
              <p:nvPicPr>
                <p:cNvPr id="73" name="Ink 72">
                  <a:extLst>
                    <a:ext uri="{FF2B5EF4-FFF2-40B4-BE49-F238E27FC236}">
                      <a16:creationId xmlns:a16="http://schemas.microsoft.com/office/drawing/2014/main" id="{248BB56B-329B-43CB-9770-69C03867A711}"/>
                    </a:ext>
                  </a:extLst>
                </p:cNvPr>
                <p:cNvPicPr/>
                <p:nvPr/>
              </p:nvPicPr>
              <p:blipFill>
                <a:blip r:embed="rId97"/>
                <a:stretch>
                  <a:fillRect/>
                </a:stretch>
              </p:blipFill>
              <p:spPr>
                <a:xfrm>
                  <a:off x="7341195" y="5472345"/>
                  <a:ext cx="108000" cy="167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8">
              <p14:nvContentPartPr>
                <p14:cNvPr id="74" name="Ink 73">
                  <a:extLst>
                    <a:ext uri="{FF2B5EF4-FFF2-40B4-BE49-F238E27FC236}">
                      <a16:creationId xmlns:a16="http://schemas.microsoft.com/office/drawing/2014/main" id="{B5F60F68-F129-4100-8061-D54E8852DFA6}"/>
                    </a:ext>
                  </a:extLst>
                </p14:cNvPr>
                <p14:cNvContentPartPr/>
                <p14:nvPr/>
              </p14:nvContentPartPr>
              <p14:xfrm>
                <a:off x="7341195" y="5351385"/>
                <a:ext cx="236520" cy="197280"/>
              </p14:xfrm>
            </p:contentPart>
          </mc:Choice>
          <mc:Fallback xmlns="">
            <p:pic>
              <p:nvPicPr>
                <p:cNvPr id="74" name="Ink 73">
                  <a:extLst>
                    <a:ext uri="{FF2B5EF4-FFF2-40B4-BE49-F238E27FC236}">
                      <a16:creationId xmlns:a16="http://schemas.microsoft.com/office/drawing/2014/main" id="{B5F60F68-F129-4100-8061-D54E8852DFA6}"/>
                    </a:ext>
                  </a:extLst>
                </p:cNvPr>
                <p:cNvPicPr/>
                <p:nvPr/>
              </p:nvPicPr>
              <p:blipFill>
                <a:blip r:embed="rId99"/>
                <a:stretch>
                  <a:fillRect/>
                </a:stretch>
              </p:blipFill>
              <p:spPr>
                <a:xfrm>
                  <a:off x="7323195" y="5333745"/>
                  <a:ext cx="272160" cy="232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0">
              <p14:nvContentPartPr>
                <p14:cNvPr id="75" name="Ink 74">
                  <a:extLst>
                    <a:ext uri="{FF2B5EF4-FFF2-40B4-BE49-F238E27FC236}">
                      <a16:creationId xmlns:a16="http://schemas.microsoft.com/office/drawing/2014/main" id="{9AF80F5E-7241-4AA3-8409-61925926A91A}"/>
                    </a:ext>
                  </a:extLst>
                </p14:cNvPr>
                <p14:cNvContentPartPr/>
                <p14:nvPr/>
              </p14:nvContentPartPr>
              <p14:xfrm>
                <a:off x="7540275" y="5394945"/>
                <a:ext cx="352800" cy="122760"/>
              </p14:xfrm>
            </p:contentPart>
          </mc:Choice>
          <mc:Fallback xmlns="">
            <p:pic>
              <p:nvPicPr>
                <p:cNvPr id="75" name="Ink 74">
                  <a:extLst>
                    <a:ext uri="{FF2B5EF4-FFF2-40B4-BE49-F238E27FC236}">
                      <a16:creationId xmlns:a16="http://schemas.microsoft.com/office/drawing/2014/main" id="{9AF80F5E-7241-4AA3-8409-61925926A91A}"/>
                    </a:ext>
                  </a:extLst>
                </p:cNvPr>
                <p:cNvPicPr/>
                <p:nvPr/>
              </p:nvPicPr>
              <p:blipFill>
                <a:blip r:embed="rId101"/>
                <a:stretch>
                  <a:fillRect/>
                </a:stretch>
              </p:blipFill>
              <p:spPr>
                <a:xfrm>
                  <a:off x="7522275" y="5377305"/>
                  <a:ext cx="388440" cy="158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2">
              <p14:nvContentPartPr>
                <p14:cNvPr id="76" name="Ink 75">
                  <a:extLst>
                    <a:ext uri="{FF2B5EF4-FFF2-40B4-BE49-F238E27FC236}">
                      <a16:creationId xmlns:a16="http://schemas.microsoft.com/office/drawing/2014/main" id="{B23BE032-4D3D-4DB0-AF7B-173E00F0C7F7}"/>
                    </a:ext>
                  </a:extLst>
                </p14:cNvPr>
                <p14:cNvContentPartPr/>
                <p14:nvPr/>
              </p14:nvContentPartPr>
              <p14:xfrm>
                <a:off x="7890195" y="5405025"/>
                <a:ext cx="97920" cy="91800"/>
              </p14:xfrm>
            </p:contentPart>
          </mc:Choice>
          <mc:Fallback xmlns="">
            <p:pic>
              <p:nvPicPr>
                <p:cNvPr id="76" name="Ink 75">
                  <a:extLst>
                    <a:ext uri="{FF2B5EF4-FFF2-40B4-BE49-F238E27FC236}">
                      <a16:creationId xmlns:a16="http://schemas.microsoft.com/office/drawing/2014/main" id="{B23BE032-4D3D-4DB0-AF7B-173E00F0C7F7}"/>
                    </a:ext>
                  </a:extLst>
                </p:cNvPr>
                <p:cNvPicPr/>
                <p:nvPr/>
              </p:nvPicPr>
              <p:blipFill>
                <a:blip r:embed="rId103"/>
                <a:stretch>
                  <a:fillRect/>
                </a:stretch>
              </p:blipFill>
              <p:spPr>
                <a:xfrm>
                  <a:off x="7872195" y="5387385"/>
                  <a:ext cx="133560" cy="127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4">
              <p14:nvContentPartPr>
                <p14:cNvPr id="77" name="Ink 76">
                  <a:extLst>
                    <a:ext uri="{FF2B5EF4-FFF2-40B4-BE49-F238E27FC236}">
                      <a16:creationId xmlns:a16="http://schemas.microsoft.com/office/drawing/2014/main" id="{CE948D93-7A61-4D29-AFA2-5C22311A96AB}"/>
                    </a:ext>
                  </a:extLst>
                </p14:cNvPr>
                <p14:cNvContentPartPr/>
                <p14:nvPr/>
              </p14:nvContentPartPr>
              <p14:xfrm>
                <a:off x="8059035" y="5330145"/>
                <a:ext cx="122760" cy="167400"/>
              </p14:xfrm>
            </p:contentPart>
          </mc:Choice>
          <mc:Fallback xmlns="">
            <p:pic>
              <p:nvPicPr>
                <p:cNvPr id="77" name="Ink 76">
                  <a:extLst>
                    <a:ext uri="{FF2B5EF4-FFF2-40B4-BE49-F238E27FC236}">
                      <a16:creationId xmlns:a16="http://schemas.microsoft.com/office/drawing/2014/main" id="{CE948D93-7A61-4D29-AFA2-5C22311A96AB}"/>
                    </a:ext>
                  </a:extLst>
                </p:cNvPr>
                <p:cNvPicPr/>
                <p:nvPr/>
              </p:nvPicPr>
              <p:blipFill>
                <a:blip r:embed="rId105"/>
                <a:stretch>
                  <a:fillRect/>
                </a:stretch>
              </p:blipFill>
              <p:spPr>
                <a:xfrm>
                  <a:off x="8041035" y="5312505"/>
                  <a:ext cx="158400" cy="203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6">
              <p14:nvContentPartPr>
                <p14:cNvPr id="78" name="Ink 77">
                  <a:extLst>
                    <a:ext uri="{FF2B5EF4-FFF2-40B4-BE49-F238E27FC236}">
                      <a16:creationId xmlns:a16="http://schemas.microsoft.com/office/drawing/2014/main" id="{CF87B32D-166E-4FC1-8E03-DD95384A87E3}"/>
                    </a:ext>
                  </a:extLst>
                </p14:cNvPr>
                <p14:cNvContentPartPr/>
                <p14:nvPr/>
              </p14:nvContentPartPr>
              <p14:xfrm>
                <a:off x="8041035" y="5287305"/>
                <a:ext cx="257400" cy="72000"/>
              </p14:xfrm>
            </p:contentPart>
          </mc:Choice>
          <mc:Fallback xmlns="">
            <p:pic>
              <p:nvPicPr>
                <p:cNvPr id="78" name="Ink 77">
                  <a:extLst>
                    <a:ext uri="{FF2B5EF4-FFF2-40B4-BE49-F238E27FC236}">
                      <a16:creationId xmlns:a16="http://schemas.microsoft.com/office/drawing/2014/main" id="{CF87B32D-166E-4FC1-8E03-DD95384A87E3}"/>
                    </a:ext>
                  </a:extLst>
                </p:cNvPr>
                <p:cNvPicPr/>
                <p:nvPr/>
              </p:nvPicPr>
              <p:blipFill>
                <a:blip r:embed="rId107"/>
                <a:stretch>
                  <a:fillRect/>
                </a:stretch>
              </p:blipFill>
              <p:spPr>
                <a:xfrm>
                  <a:off x="8023035" y="5269305"/>
                  <a:ext cx="293040" cy="10764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108">
            <p14:nvContentPartPr>
              <p14:cNvPr id="2" name="Ink 1">
                <a:extLst>
                  <a:ext uri="{FF2B5EF4-FFF2-40B4-BE49-F238E27FC236}">
                    <a16:creationId xmlns:a16="http://schemas.microsoft.com/office/drawing/2014/main" id="{33C4A1BC-D91B-4824-B16B-166F644BDA8A}"/>
                  </a:ext>
                </a:extLst>
              </p14:cNvPr>
              <p14:cNvContentPartPr/>
              <p14:nvPr/>
            </p14:nvContentPartPr>
            <p14:xfrm>
              <a:off x="664560" y="4152600"/>
              <a:ext cx="6454440" cy="1297080"/>
            </p14:xfrm>
          </p:contentPart>
        </mc:Choice>
        <mc:Fallback>
          <p:pic>
            <p:nvPicPr>
              <p:cNvPr id="2" name="Ink 1">
                <a:extLst>
                  <a:ext uri="{FF2B5EF4-FFF2-40B4-BE49-F238E27FC236}">
                    <a16:creationId xmlns:a16="http://schemas.microsoft.com/office/drawing/2014/main" id="{33C4A1BC-D91B-4824-B16B-166F644BDA8A}"/>
                  </a:ext>
                </a:extLst>
              </p:cNvPr>
              <p:cNvPicPr/>
              <p:nvPr/>
            </p:nvPicPr>
            <p:blipFill>
              <a:blip r:embed="rId109"/>
              <a:stretch>
                <a:fillRect/>
              </a:stretch>
            </p:blipFill>
            <p:spPr>
              <a:xfrm>
                <a:off x="655200" y="4143240"/>
                <a:ext cx="6473160" cy="13158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0089257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04D3CEB-822D-4E1D-AAD3-FB9CEC833D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04D3CEB-822D-4E1D-AAD3-FB9CEC833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B6D7C925-CB6F-4FDB-BA9B-52DF551723D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1599333" cy="6524625"/>
          </a:xfrm>
          <a:prstGeom prst="rect">
            <a:avLst/>
          </a:prstGeom>
        </p:spPr>
      </p:pic>
      <p:grpSp>
        <p:nvGrpSpPr>
          <p:cNvPr id="65" name="Group 64">
            <a:extLst>
              <a:ext uri="{FF2B5EF4-FFF2-40B4-BE49-F238E27FC236}">
                <a16:creationId xmlns:a16="http://schemas.microsoft.com/office/drawing/2014/main" id="{B2D71B4D-7918-48BC-BA4F-696B32DA3EEC}"/>
              </a:ext>
            </a:extLst>
          </p:cNvPr>
          <p:cNvGrpSpPr/>
          <p:nvPr/>
        </p:nvGrpSpPr>
        <p:grpSpPr>
          <a:xfrm>
            <a:off x="32835" y="1421985"/>
            <a:ext cx="2938680" cy="1419840"/>
            <a:chOff x="32835" y="1421985"/>
            <a:chExt cx="2938680" cy="14198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6">
              <p14:nvContentPartPr>
                <p14:cNvPr id="10" name="Ink 9">
                  <a:extLst>
                    <a:ext uri="{FF2B5EF4-FFF2-40B4-BE49-F238E27FC236}">
                      <a16:creationId xmlns:a16="http://schemas.microsoft.com/office/drawing/2014/main" id="{A194E98B-8E18-43D3-8438-2080222795D1}"/>
                    </a:ext>
                  </a:extLst>
                </p14:cNvPr>
                <p14:cNvContentPartPr/>
                <p14:nvPr/>
              </p14:nvContentPartPr>
              <p14:xfrm>
                <a:off x="135075" y="1463745"/>
                <a:ext cx="22680" cy="245880"/>
              </p14:xfrm>
            </p:contentPart>
          </mc:Choice>
          <mc:Fallback xmlns="">
            <p:pic>
              <p:nvPicPr>
                <p:cNvPr id="10" name="Ink 9">
                  <a:extLst>
                    <a:ext uri="{FF2B5EF4-FFF2-40B4-BE49-F238E27FC236}">
                      <a16:creationId xmlns:a16="http://schemas.microsoft.com/office/drawing/2014/main" id="{A194E98B-8E18-43D3-8438-2080222795D1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117075" y="1446105"/>
                  <a:ext cx="58320" cy="281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">
              <p14:nvContentPartPr>
                <p14:cNvPr id="11" name="Ink 10">
                  <a:extLst>
                    <a:ext uri="{FF2B5EF4-FFF2-40B4-BE49-F238E27FC236}">
                      <a16:creationId xmlns:a16="http://schemas.microsoft.com/office/drawing/2014/main" id="{B7DA3A62-AAB5-46FE-B197-C509459B480B}"/>
                    </a:ext>
                  </a:extLst>
                </p14:cNvPr>
                <p14:cNvContentPartPr/>
                <p14:nvPr/>
              </p14:nvContentPartPr>
              <p14:xfrm>
                <a:off x="32835" y="1421985"/>
                <a:ext cx="366840" cy="290880"/>
              </p14:xfrm>
            </p:contentPart>
          </mc:Choice>
          <mc:Fallback xmlns="">
            <p:pic>
              <p:nvPicPr>
                <p:cNvPr id="11" name="Ink 10">
                  <a:extLst>
                    <a:ext uri="{FF2B5EF4-FFF2-40B4-BE49-F238E27FC236}">
                      <a16:creationId xmlns:a16="http://schemas.microsoft.com/office/drawing/2014/main" id="{B7DA3A62-AAB5-46FE-B197-C509459B480B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14835" y="1403985"/>
                  <a:ext cx="402480" cy="326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E3BFF265-7D53-4CBE-98E3-36E2D395297D}"/>
                    </a:ext>
                  </a:extLst>
                </p14:cNvPr>
                <p14:cNvContentPartPr/>
                <p14:nvPr/>
              </p14:nvContentPartPr>
              <p14:xfrm>
                <a:off x="491475" y="1608105"/>
                <a:ext cx="92520" cy="110520"/>
              </p14:xfrm>
            </p:contentPart>
          </mc:Choice>
          <mc:Fallback xmlns=""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E3BFF265-7D53-4CBE-98E3-36E2D395297D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473475" y="1590465"/>
                  <a:ext cx="128160" cy="146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">
              <p14:nvContentPartPr>
                <p14:cNvPr id="17" name="Ink 16">
                  <a:extLst>
                    <a:ext uri="{FF2B5EF4-FFF2-40B4-BE49-F238E27FC236}">
                      <a16:creationId xmlns:a16="http://schemas.microsoft.com/office/drawing/2014/main" id="{827436B5-AB4B-4468-A34C-638190D53D86}"/>
                    </a:ext>
                  </a:extLst>
                </p14:cNvPr>
                <p14:cNvContentPartPr/>
                <p14:nvPr/>
              </p14:nvContentPartPr>
              <p14:xfrm>
                <a:off x="892515" y="1535385"/>
                <a:ext cx="114840" cy="186120"/>
              </p14:xfrm>
            </p:contentPart>
          </mc:Choice>
          <mc:Fallback xmlns="">
            <p:pic>
              <p:nvPicPr>
                <p:cNvPr id="17" name="Ink 16">
                  <a:extLst>
                    <a:ext uri="{FF2B5EF4-FFF2-40B4-BE49-F238E27FC236}">
                      <a16:creationId xmlns:a16="http://schemas.microsoft.com/office/drawing/2014/main" id="{827436B5-AB4B-4468-A34C-638190D53D86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874515" y="1517385"/>
                  <a:ext cx="150480" cy="221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">
              <p14:nvContentPartPr>
                <p14:cNvPr id="18" name="Ink 17">
                  <a:extLst>
                    <a:ext uri="{FF2B5EF4-FFF2-40B4-BE49-F238E27FC236}">
                      <a16:creationId xmlns:a16="http://schemas.microsoft.com/office/drawing/2014/main" id="{ED4D2E56-A318-4788-B8A6-B0D47EBD5287}"/>
                    </a:ext>
                  </a:extLst>
                </p14:cNvPr>
                <p14:cNvContentPartPr/>
                <p14:nvPr/>
              </p14:nvContentPartPr>
              <p14:xfrm>
                <a:off x="1038675" y="1551945"/>
                <a:ext cx="128160" cy="200160"/>
              </p14:xfrm>
            </p:contentPart>
          </mc:Choice>
          <mc:Fallback xmlns="">
            <p:pic>
              <p:nvPicPr>
                <p:cNvPr id="18" name="Ink 17">
                  <a:extLst>
                    <a:ext uri="{FF2B5EF4-FFF2-40B4-BE49-F238E27FC236}">
                      <a16:creationId xmlns:a16="http://schemas.microsoft.com/office/drawing/2014/main" id="{ED4D2E56-A318-4788-B8A6-B0D47EBD5287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1020675" y="1533945"/>
                  <a:ext cx="163800" cy="235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">
              <p14:nvContentPartPr>
                <p14:cNvPr id="19" name="Ink 18">
                  <a:extLst>
                    <a:ext uri="{FF2B5EF4-FFF2-40B4-BE49-F238E27FC236}">
                      <a16:creationId xmlns:a16="http://schemas.microsoft.com/office/drawing/2014/main" id="{24930F1E-D0EF-4C7C-B133-D4CEDE33A5E5}"/>
                    </a:ext>
                  </a:extLst>
                </p14:cNvPr>
                <p14:cNvContentPartPr/>
                <p14:nvPr/>
              </p14:nvContentPartPr>
              <p14:xfrm>
                <a:off x="1217955" y="1627905"/>
                <a:ext cx="145440" cy="216000"/>
              </p14:xfrm>
            </p:contentPart>
          </mc:Choice>
          <mc:Fallback xmlns="">
            <p:pic>
              <p:nvPicPr>
                <p:cNvPr id="19" name="Ink 18">
                  <a:extLst>
                    <a:ext uri="{FF2B5EF4-FFF2-40B4-BE49-F238E27FC236}">
                      <a16:creationId xmlns:a16="http://schemas.microsoft.com/office/drawing/2014/main" id="{24930F1E-D0EF-4C7C-B133-D4CEDE33A5E5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1199955" y="1610265"/>
                  <a:ext cx="181080" cy="251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">
              <p14:nvContentPartPr>
                <p14:cNvPr id="20" name="Ink 19">
                  <a:extLst>
                    <a:ext uri="{FF2B5EF4-FFF2-40B4-BE49-F238E27FC236}">
                      <a16:creationId xmlns:a16="http://schemas.microsoft.com/office/drawing/2014/main" id="{5665CB25-AA41-4ABC-8A24-C1D694679930}"/>
                    </a:ext>
                  </a:extLst>
                </p14:cNvPr>
                <p14:cNvContentPartPr/>
                <p14:nvPr/>
              </p14:nvContentPartPr>
              <p14:xfrm>
                <a:off x="1425315" y="1663545"/>
                <a:ext cx="136440" cy="87840"/>
              </p14:xfrm>
            </p:contentPart>
          </mc:Choice>
          <mc:Fallback xmlns="">
            <p:pic>
              <p:nvPicPr>
                <p:cNvPr id="20" name="Ink 19">
                  <a:extLst>
                    <a:ext uri="{FF2B5EF4-FFF2-40B4-BE49-F238E27FC236}">
                      <a16:creationId xmlns:a16="http://schemas.microsoft.com/office/drawing/2014/main" id="{5665CB25-AA41-4ABC-8A24-C1D694679930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1407315" y="1645905"/>
                  <a:ext cx="172080" cy="123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">
              <p14:nvContentPartPr>
                <p14:cNvPr id="21" name="Ink 20">
                  <a:extLst>
                    <a:ext uri="{FF2B5EF4-FFF2-40B4-BE49-F238E27FC236}">
                      <a16:creationId xmlns:a16="http://schemas.microsoft.com/office/drawing/2014/main" id="{C8752DDC-598B-4AE1-A830-B3AD2562A998}"/>
                    </a:ext>
                  </a:extLst>
                </p14:cNvPr>
                <p14:cNvContentPartPr/>
                <p14:nvPr/>
              </p14:nvContentPartPr>
              <p14:xfrm>
                <a:off x="1608915" y="1615305"/>
                <a:ext cx="177840" cy="183600"/>
              </p14:xfrm>
            </p:contentPart>
          </mc:Choice>
          <mc:Fallback xmlns="">
            <p:pic>
              <p:nvPicPr>
                <p:cNvPr id="21" name="Ink 20">
                  <a:extLst>
                    <a:ext uri="{FF2B5EF4-FFF2-40B4-BE49-F238E27FC236}">
                      <a16:creationId xmlns:a16="http://schemas.microsoft.com/office/drawing/2014/main" id="{C8752DDC-598B-4AE1-A830-B3AD2562A998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1590915" y="1597305"/>
                  <a:ext cx="213480" cy="219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">
              <p14:nvContentPartPr>
                <p14:cNvPr id="22" name="Ink 21">
                  <a:extLst>
                    <a:ext uri="{FF2B5EF4-FFF2-40B4-BE49-F238E27FC236}">
                      <a16:creationId xmlns:a16="http://schemas.microsoft.com/office/drawing/2014/main" id="{E024ED3C-6122-4F89-BBEE-52C16D7DE52A}"/>
                    </a:ext>
                  </a:extLst>
                </p14:cNvPr>
                <p14:cNvContentPartPr/>
                <p14:nvPr/>
              </p14:nvContentPartPr>
              <p14:xfrm>
                <a:off x="1710795" y="1720425"/>
                <a:ext cx="158040" cy="115560"/>
              </p14:xfrm>
            </p:contentPart>
          </mc:Choice>
          <mc:Fallback xmlns="">
            <p:pic>
              <p:nvPicPr>
                <p:cNvPr id="22" name="Ink 21">
                  <a:extLst>
                    <a:ext uri="{FF2B5EF4-FFF2-40B4-BE49-F238E27FC236}">
                      <a16:creationId xmlns:a16="http://schemas.microsoft.com/office/drawing/2014/main" id="{E024ED3C-6122-4F89-BBEE-52C16D7DE52A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1693155" y="1702785"/>
                  <a:ext cx="193680" cy="151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4">
              <p14:nvContentPartPr>
                <p14:cNvPr id="23" name="Ink 22">
                  <a:extLst>
                    <a:ext uri="{FF2B5EF4-FFF2-40B4-BE49-F238E27FC236}">
                      <a16:creationId xmlns:a16="http://schemas.microsoft.com/office/drawing/2014/main" id="{204CC35C-8F10-40C2-92C8-9A2F4D5D10BB}"/>
                    </a:ext>
                  </a:extLst>
                </p14:cNvPr>
                <p14:cNvContentPartPr/>
                <p14:nvPr/>
              </p14:nvContentPartPr>
              <p14:xfrm>
                <a:off x="1872435" y="1664265"/>
                <a:ext cx="304200" cy="152280"/>
              </p14:xfrm>
            </p:contentPart>
          </mc:Choice>
          <mc:Fallback xmlns="">
            <p:pic>
              <p:nvPicPr>
                <p:cNvPr id="23" name="Ink 22">
                  <a:extLst>
                    <a:ext uri="{FF2B5EF4-FFF2-40B4-BE49-F238E27FC236}">
                      <a16:creationId xmlns:a16="http://schemas.microsoft.com/office/drawing/2014/main" id="{204CC35C-8F10-40C2-92C8-9A2F4D5D10BB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1854435" y="1646625"/>
                  <a:ext cx="339840" cy="187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6">
              <p14:nvContentPartPr>
                <p14:cNvPr id="24" name="Ink 23">
                  <a:extLst>
                    <a:ext uri="{FF2B5EF4-FFF2-40B4-BE49-F238E27FC236}">
                      <a16:creationId xmlns:a16="http://schemas.microsoft.com/office/drawing/2014/main" id="{6AED0C78-548E-4DE6-BD58-B6E0607C7735}"/>
                    </a:ext>
                  </a:extLst>
                </p14:cNvPr>
                <p14:cNvContentPartPr/>
                <p14:nvPr/>
              </p14:nvContentPartPr>
              <p14:xfrm>
                <a:off x="2350875" y="1709265"/>
                <a:ext cx="7200" cy="98640"/>
              </p14:xfrm>
            </p:contentPart>
          </mc:Choice>
          <mc:Fallback xmlns="">
            <p:pic>
              <p:nvPicPr>
                <p:cNvPr id="24" name="Ink 23">
                  <a:extLst>
                    <a:ext uri="{FF2B5EF4-FFF2-40B4-BE49-F238E27FC236}">
                      <a16:creationId xmlns:a16="http://schemas.microsoft.com/office/drawing/2014/main" id="{6AED0C78-548E-4DE6-BD58-B6E0607C7735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2333235" y="1691625"/>
                  <a:ext cx="42840" cy="134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8">
              <p14:nvContentPartPr>
                <p14:cNvPr id="25" name="Ink 24">
                  <a:extLst>
                    <a:ext uri="{FF2B5EF4-FFF2-40B4-BE49-F238E27FC236}">
                      <a16:creationId xmlns:a16="http://schemas.microsoft.com/office/drawing/2014/main" id="{E32195CE-0E45-4065-8618-31EF7D69B5EA}"/>
                    </a:ext>
                  </a:extLst>
                </p14:cNvPr>
                <p14:cNvContentPartPr/>
                <p14:nvPr/>
              </p14:nvContentPartPr>
              <p14:xfrm>
                <a:off x="2386155" y="1621425"/>
                <a:ext cx="5040" cy="64440"/>
              </p14:xfrm>
            </p:contentPart>
          </mc:Choice>
          <mc:Fallback xmlns="">
            <p:pic>
              <p:nvPicPr>
                <p:cNvPr id="25" name="Ink 24">
                  <a:extLst>
                    <a:ext uri="{FF2B5EF4-FFF2-40B4-BE49-F238E27FC236}">
                      <a16:creationId xmlns:a16="http://schemas.microsoft.com/office/drawing/2014/main" id="{E32195CE-0E45-4065-8618-31EF7D69B5EA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2368155" y="1603425"/>
                  <a:ext cx="40680" cy="100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0">
              <p14:nvContentPartPr>
                <p14:cNvPr id="26" name="Ink 25">
                  <a:extLst>
                    <a:ext uri="{FF2B5EF4-FFF2-40B4-BE49-F238E27FC236}">
                      <a16:creationId xmlns:a16="http://schemas.microsoft.com/office/drawing/2014/main" id="{A264B67A-C32F-47AC-8885-6C08DA70A396}"/>
                    </a:ext>
                  </a:extLst>
                </p14:cNvPr>
                <p14:cNvContentPartPr/>
                <p14:nvPr/>
              </p14:nvContentPartPr>
              <p14:xfrm>
                <a:off x="2441235" y="1647705"/>
                <a:ext cx="295920" cy="219600"/>
              </p14:xfrm>
            </p:contentPart>
          </mc:Choice>
          <mc:Fallback xmlns="">
            <p:pic>
              <p:nvPicPr>
                <p:cNvPr id="26" name="Ink 25">
                  <a:extLst>
                    <a:ext uri="{FF2B5EF4-FFF2-40B4-BE49-F238E27FC236}">
                      <a16:creationId xmlns:a16="http://schemas.microsoft.com/office/drawing/2014/main" id="{A264B67A-C32F-47AC-8885-6C08DA70A396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2423235" y="1630065"/>
                  <a:ext cx="331560" cy="255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2">
              <p14:nvContentPartPr>
                <p14:cNvPr id="27" name="Ink 26">
                  <a:extLst>
                    <a:ext uri="{FF2B5EF4-FFF2-40B4-BE49-F238E27FC236}">
                      <a16:creationId xmlns:a16="http://schemas.microsoft.com/office/drawing/2014/main" id="{DC21C667-63DB-483A-8AA7-45057A9F4FB3}"/>
                    </a:ext>
                  </a:extLst>
                </p14:cNvPr>
                <p14:cNvContentPartPr/>
                <p14:nvPr/>
              </p14:nvContentPartPr>
              <p14:xfrm>
                <a:off x="2680995" y="1725465"/>
                <a:ext cx="290520" cy="102960"/>
              </p14:xfrm>
            </p:contentPart>
          </mc:Choice>
          <mc:Fallback xmlns="">
            <p:pic>
              <p:nvPicPr>
                <p:cNvPr id="27" name="Ink 26">
                  <a:extLst>
                    <a:ext uri="{FF2B5EF4-FFF2-40B4-BE49-F238E27FC236}">
                      <a16:creationId xmlns:a16="http://schemas.microsoft.com/office/drawing/2014/main" id="{DC21C667-63DB-483A-8AA7-45057A9F4FB3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2663355" y="1707825"/>
                  <a:ext cx="326160" cy="138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4">
              <p14:nvContentPartPr>
                <p14:cNvPr id="29" name="Ink 28">
                  <a:extLst>
                    <a:ext uri="{FF2B5EF4-FFF2-40B4-BE49-F238E27FC236}">
                      <a16:creationId xmlns:a16="http://schemas.microsoft.com/office/drawing/2014/main" id="{71EF699D-CFEA-4094-A652-87EE6EC2432F}"/>
                    </a:ext>
                  </a:extLst>
                </p14:cNvPr>
                <p14:cNvContentPartPr/>
                <p14:nvPr/>
              </p14:nvContentPartPr>
              <p14:xfrm>
                <a:off x="120675" y="1873425"/>
                <a:ext cx="158760" cy="343080"/>
              </p14:xfrm>
            </p:contentPart>
          </mc:Choice>
          <mc:Fallback xmlns="">
            <p:pic>
              <p:nvPicPr>
                <p:cNvPr id="29" name="Ink 28">
                  <a:extLst>
                    <a:ext uri="{FF2B5EF4-FFF2-40B4-BE49-F238E27FC236}">
                      <a16:creationId xmlns:a16="http://schemas.microsoft.com/office/drawing/2014/main" id="{71EF699D-CFEA-4094-A652-87EE6EC2432F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102675" y="1855425"/>
                  <a:ext cx="194400" cy="378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6">
              <p14:nvContentPartPr>
                <p14:cNvPr id="30" name="Ink 29">
                  <a:extLst>
                    <a:ext uri="{FF2B5EF4-FFF2-40B4-BE49-F238E27FC236}">
                      <a16:creationId xmlns:a16="http://schemas.microsoft.com/office/drawing/2014/main" id="{07CC6CAA-A0F4-4D1A-AE0A-ED7D40F21114}"/>
                    </a:ext>
                  </a:extLst>
                </p14:cNvPr>
                <p14:cNvContentPartPr/>
                <p14:nvPr/>
              </p14:nvContentPartPr>
              <p14:xfrm>
                <a:off x="76035" y="2057385"/>
                <a:ext cx="251640" cy="132120"/>
              </p14:xfrm>
            </p:contentPart>
          </mc:Choice>
          <mc:Fallback xmlns="">
            <p:pic>
              <p:nvPicPr>
                <p:cNvPr id="30" name="Ink 29">
                  <a:extLst>
                    <a:ext uri="{FF2B5EF4-FFF2-40B4-BE49-F238E27FC236}">
                      <a16:creationId xmlns:a16="http://schemas.microsoft.com/office/drawing/2014/main" id="{07CC6CAA-A0F4-4D1A-AE0A-ED7D40F21114}"/>
                    </a:ext>
                  </a:extLst>
                </p:cNvPr>
                <p:cNvPicPr/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58395" y="2039385"/>
                  <a:ext cx="287280" cy="167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8">
              <p14:nvContentPartPr>
                <p14:cNvPr id="31" name="Ink 30">
                  <a:extLst>
                    <a:ext uri="{FF2B5EF4-FFF2-40B4-BE49-F238E27FC236}">
                      <a16:creationId xmlns:a16="http://schemas.microsoft.com/office/drawing/2014/main" id="{1510D52A-64F3-4179-A8D3-913689E411AF}"/>
                    </a:ext>
                  </a:extLst>
                </p14:cNvPr>
                <p14:cNvContentPartPr/>
                <p14:nvPr/>
              </p14:nvContentPartPr>
              <p14:xfrm>
                <a:off x="312195" y="2018505"/>
                <a:ext cx="28080" cy="55800"/>
              </p14:xfrm>
            </p:contentPart>
          </mc:Choice>
          <mc:Fallback xmlns="">
            <p:pic>
              <p:nvPicPr>
                <p:cNvPr id="31" name="Ink 30">
                  <a:extLst>
                    <a:ext uri="{FF2B5EF4-FFF2-40B4-BE49-F238E27FC236}">
                      <a16:creationId xmlns:a16="http://schemas.microsoft.com/office/drawing/2014/main" id="{1510D52A-64F3-4179-A8D3-913689E411AF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294555" y="2000865"/>
                  <a:ext cx="63720" cy="91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0">
              <p14:nvContentPartPr>
                <p14:cNvPr id="32" name="Ink 31">
                  <a:extLst>
                    <a:ext uri="{FF2B5EF4-FFF2-40B4-BE49-F238E27FC236}">
                      <a16:creationId xmlns:a16="http://schemas.microsoft.com/office/drawing/2014/main" id="{7041084D-FC65-4E28-95E7-4D98E797716C}"/>
                    </a:ext>
                  </a:extLst>
                </p14:cNvPr>
                <p14:cNvContentPartPr/>
                <p14:nvPr/>
              </p14:nvContentPartPr>
              <p14:xfrm>
                <a:off x="384915" y="2050185"/>
                <a:ext cx="138240" cy="152280"/>
              </p14:xfrm>
            </p:contentPart>
          </mc:Choice>
          <mc:Fallback xmlns="">
            <p:pic>
              <p:nvPicPr>
                <p:cNvPr id="32" name="Ink 31">
                  <a:extLst>
                    <a:ext uri="{FF2B5EF4-FFF2-40B4-BE49-F238E27FC236}">
                      <a16:creationId xmlns:a16="http://schemas.microsoft.com/office/drawing/2014/main" id="{7041084D-FC65-4E28-95E7-4D98E797716C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366915" y="2032185"/>
                  <a:ext cx="173880" cy="187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2">
              <p14:nvContentPartPr>
                <p14:cNvPr id="33" name="Ink 32">
                  <a:extLst>
                    <a:ext uri="{FF2B5EF4-FFF2-40B4-BE49-F238E27FC236}">
                      <a16:creationId xmlns:a16="http://schemas.microsoft.com/office/drawing/2014/main" id="{B8C9AE40-5B95-4695-B3AA-C551E2B1F889}"/>
                    </a:ext>
                  </a:extLst>
                </p14:cNvPr>
                <p14:cNvContentPartPr/>
                <p14:nvPr/>
              </p14:nvContentPartPr>
              <p14:xfrm>
                <a:off x="555915" y="2053785"/>
                <a:ext cx="109440" cy="182160"/>
              </p14:xfrm>
            </p:contentPart>
          </mc:Choice>
          <mc:Fallback xmlns="">
            <p:pic>
              <p:nvPicPr>
                <p:cNvPr id="33" name="Ink 32">
                  <a:extLst>
                    <a:ext uri="{FF2B5EF4-FFF2-40B4-BE49-F238E27FC236}">
                      <a16:creationId xmlns:a16="http://schemas.microsoft.com/office/drawing/2014/main" id="{B8C9AE40-5B95-4695-B3AA-C551E2B1F889}"/>
                    </a:ext>
                  </a:extLst>
                </p:cNvPr>
                <p:cNvPicPr/>
                <p:nvPr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538275" y="2035785"/>
                  <a:ext cx="145080" cy="217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4">
              <p14:nvContentPartPr>
                <p14:cNvPr id="35" name="Ink 34">
                  <a:extLst>
                    <a:ext uri="{FF2B5EF4-FFF2-40B4-BE49-F238E27FC236}">
                      <a16:creationId xmlns:a16="http://schemas.microsoft.com/office/drawing/2014/main" id="{CAD7EC96-6B04-4F15-B04A-5E799E8B83FA}"/>
                    </a:ext>
                  </a:extLst>
                </p14:cNvPr>
                <p14:cNvContentPartPr/>
                <p14:nvPr/>
              </p14:nvContentPartPr>
              <p14:xfrm>
                <a:off x="878835" y="2080785"/>
                <a:ext cx="329400" cy="145080"/>
              </p14:xfrm>
            </p:contentPart>
          </mc:Choice>
          <mc:Fallback xmlns="">
            <p:pic>
              <p:nvPicPr>
                <p:cNvPr id="35" name="Ink 34">
                  <a:extLst>
                    <a:ext uri="{FF2B5EF4-FFF2-40B4-BE49-F238E27FC236}">
                      <a16:creationId xmlns:a16="http://schemas.microsoft.com/office/drawing/2014/main" id="{CAD7EC96-6B04-4F15-B04A-5E799E8B83FA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860835" y="2062785"/>
                  <a:ext cx="365040" cy="180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6">
              <p14:nvContentPartPr>
                <p14:cNvPr id="36" name="Ink 35">
                  <a:extLst>
                    <a:ext uri="{FF2B5EF4-FFF2-40B4-BE49-F238E27FC236}">
                      <a16:creationId xmlns:a16="http://schemas.microsoft.com/office/drawing/2014/main" id="{921C5DEF-71F2-4BE8-BEA5-1134C3FD5192}"/>
                    </a:ext>
                  </a:extLst>
                </p14:cNvPr>
                <p14:cNvContentPartPr/>
                <p14:nvPr/>
              </p14:nvContentPartPr>
              <p14:xfrm>
                <a:off x="1266915" y="2116425"/>
                <a:ext cx="162360" cy="144720"/>
              </p14:xfrm>
            </p:contentPart>
          </mc:Choice>
          <mc:Fallback xmlns="">
            <p:pic>
              <p:nvPicPr>
                <p:cNvPr id="36" name="Ink 35">
                  <a:extLst>
                    <a:ext uri="{FF2B5EF4-FFF2-40B4-BE49-F238E27FC236}">
                      <a16:creationId xmlns:a16="http://schemas.microsoft.com/office/drawing/2014/main" id="{921C5DEF-71F2-4BE8-BEA5-1134C3FD5192}"/>
                    </a:ext>
                  </a:extLst>
                </p:cNvPr>
                <p:cNvPicPr/>
                <p:nvPr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1248915" y="2098425"/>
                  <a:ext cx="198000" cy="180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8">
              <p14:nvContentPartPr>
                <p14:cNvPr id="37" name="Ink 36">
                  <a:extLst>
                    <a:ext uri="{FF2B5EF4-FFF2-40B4-BE49-F238E27FC236}">
                      <a16:creationId xmlns:a16="http://schemas.microsoft.com/office/drawing/2014/main" id="{60C90287-52F6-414F-9AEA-D07EE5CAAAB1}"/>
                    </a:ext>
                  </a:extLst>
                </p14:cNvPr>
                <p14:cNvContentPartPr/>
                <p14:nvPr/>
              </p14:nvContentPartPr>
              <p14:xfrm>
                <a:off x="1452675" y="2063145"/>
                <a:ext cx="45360" cy="231480"/>
              </p14:xfrm>
            </p:contentPart>
          </mc:Choice>
          <mc:Fallback xmlns="">
            <p:pic>
              <p:nvPicPr>
                <p:cNvPr id="37" name="Ink 36">
                  <a:extLst>
                    <a:ext uri="{FF2B5EF4-FFF2-40B4-BE49-F238E27FC236}">
                      <a16:creationId xmlns:a16="http://schemas.microsoft.com/office/drawing/2014/main" id="{60C90287-52F6-414F-9AEA-D07EE5CAAAB1}"/>
                    </a:ext>
                  </a:extLst>
                </p:cNvPr>
                <p:cNvPicPr/>
                <p:nvPr/>
              </p:nvPicPr>
              <p:blipFill>
                <a:blip r:embed="rId49"/>
                <a:stretch>
                  <a:fillRect/>
                </a:stretch>
              </p:blipFill>
              <p:spPr>
                <a:xfrm>
                  <a:off x="1434675" y="2045145"/>
                  <a:ext cx="81000" cy="267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0">
              <p14:nvContentPartPr>
                <p14:cNvPr id="38" name="Ink 37">
                  <a:extLst>
                    <a:ext uri="{FF2B5EF4-FFF2-40B4-BE49-F238E27FC236}">
                      <a16:creationId xmlns:a16="http://schemas.microsoft.com/office/drawing/2014/main" id="{4E873426-26A1-4892-9096-6B486515DEB6}"/>
                    </a:ext>
                  </a:extLst>
                </p14:cNvPr>
                <p14:cNvContentPartPr/>
                <p14:nvPr/>
              </p14:nvContentPartPr>
              <p14:xfrm>
                <a:off x="1584435" y="2152065"/>
                <a:ext cx="195120" cy="194400"/>
              </p14:xfrm>
            </p:contentPart>
          </mc:Choice>
          <mc:Fallback xmlns="">
            <p:pic>
              <p:nvPicPr>
                <p:cNvPr id="38" name="Ink 37">
                  <a:extLst>
                    <a:ext uri="{FF2B5EF4-FFF2-40B4-BE49-F238E27FC236}">
                      <a16:creationId xmlns:a16="http://schemas.microsoft.com/office/drawing/2014/main" id="{4E873426-26A1-4892-9096-6B486515DEB6}"/>
                    </a:ext>
                  </a:extLst>
                </p:cNvPr>
                <p:cNvPicPr/>
                <p:nvPr/>
              </p:nvPicPr>
              <p:blipFill>
                <a:blip r:embed="rId51"/>
                <a:stretch>
                  <a:fillRect/>
                </a:stretch>
              </p:blipFill>
              <p:spPr>
                <a:xfrm>
                  <a:off x="1566435" y="2134425"/>
                  <a:ext cx="230760" cy="230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2">
              <p14:nvContentPartPr>
                <p14:cNvPr id="39" name="Ink 38">
                  <a:extLst>
                    <a:ext uri="{FF2B5EF4-FFF2-40B4-BE49-F238E27FC236}">
                      <a16:creationId xmlns:a16="http://schemas.microsoft.com/office/drawing/2014/main" id="{158087A6-3E32-46C7-9824-9BC338B80886}"/>
                    </a:ext>
                  </a:extLst>
                </p14:cNvPr>
                <p14:cNvContentPartPr/>
                <p14:nvPr/>
              </p14:nvContentPartPr>
              <p14:xfrm>
                <a:off x="1931475" y="2158545"/>
                <a:ext cx="130680" cy="186840"/>
              </p14:xfrm>
            </p:contentPart>
          </mc:Choice>
          <mc:Fallback xmlns="">
            <p:pic>
              <p:nvPicPr>
                <p:cNvPr id="39" name="Ink 38">
                  <a:extLst>
                    <a:ext uri="{FF2B5EF4-FFF2-40B4-BE49-F238E27FC236}">
                      <a16:creationId xmlns:a16="http://schemas.microsoft.com/office/drawing/2014/main" id="{158087A6-3E32-46C7-9824-9BC338B80886}"/>
                    </a:ext>
                  </a:extLst>
                </p:cNvPr>
                <p:cNvPicPr/>
                <p:nvPr/>
              </p:nvPicPr>
              <p:blipFill>
                <a:blip r:embed="rId53"/>
                <a:stretch>
                  <a:fillRect/>
                </a:stretch>
              </p:blipFill>
              <p:spPr>
                <a:xfrm>
                  <a:off x="1913475" y="2140545"/>
                  <a:ext cx="166320" cy="222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4">
              <p14:nvContentPartPr>
                <p14:cNvPr id="40" name="Ink 39">
                  <a:extLst>
                    <a:ext uri="{FF2B5EF4-FFF2-40B4-BE49-F238E27FC236}">
                      <a16:creationId xmlns:a16="http://schemas.microsoft.com/office/drawing/2014/main" id="{0A7D0F7B-82E9-4E7E-98F9-A412EC5D31C6}"/>
                    </a:ext>
                  </a:extLst>
                </p14:cNvPr>
                <p14:cNvContentPartPr/>
                <p14:nvPr/>
              </p14:nvContentPartPr>
              <p14:xfrm>
                <a:off x="2118675" y="2222625"/>
                <a:ext cx="41400" cy="95040"/>
              </p14:xfrm>
            </p:contentPart>
          </mc:Choice>
          <mc:Fallback xmlns="">
            <p:pic>
              <p:nvPicPr>
                <p:cNvPr id="40" name="Ink 39">
                  <a:extLst>
                    <a:ext uri="{FF2B5EF4-FFF2-40B4-BE49-F238E27FC236}">
                      <a16:creationId xmlns:a16="http://schemas.microsoft.com/office/drawing/2014/main" id="{0A7D0F7B-82E9-4E7E-98F9-A412EC5D31C6}"/>
                    </a:ext>
                  </a:extLst>
                </p:cNvPr>
                <p:cNvPicPr/>
                <p:nvPr/>
              </p:nvPicPr>
              <p:blipFill>
                <a:blip r:embed="rId55"/>
                <a:stretch>
                  <a:fillRect/>
                </a:stretch>
              </p:blipFill>
              <p:spPr>
                <a:xfrm>
                  <a:off x="2100675" y="2204625"/>
                  <a:ext cx="77040" cy="130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6">
              <p14:nvContentPartPr>
                <p14:cNvPr id="41" name="Ink 40">
                  <a:extLst>
                    <a:ext uri="{FF2B5EF4-FFF2-40B4-BE49-F238E27FC236}">
                      <a16:creationId xmlns:a16="http://schemas.microsoft.com/office/drawing/2014/main" id="{B1BFA5D8-E996-4AEA-B0D6-19A4490565E5}"/>
                    </a:ext>
                  </a:extLst>
                </p14:cNvPr>
                <p14:cNvContentPartPr/>
                <p14:nvPr/>
              </p14:nvContentPartPr>
              <p14:xfrm>
                <a:off x="2175555" y="2143785"/>
                <a:ext cx="315360" cy="216000"/>
              </p14:xfrm>
            </p:contentPart>
          </mc:Choice>
          <mc:Fallback xmlns="">
            <p:pic>
              <p:nvPicPr>
                <p:cNvPr id="41" name="Ink 40">
                  <a:extLst>
                    <a:ext uri="{FF2B5EF4-FFF2-40B4-BE49-F238E27FC236}">
                      <a16:creationId xmlns:a16="http://schemas.microsoft.com/office/drawing/2014/main" id="{B1BFA5D8-E996-4AEA-B0D6-19A4490565E5}"/>
                    </a:ext>
                  </a:extLst>
                </p:cNvPr>
                <p:cNvPicPr/>
                <p:nvPr/>
              </p:nvPicPr>
              <p:blipFill>
                <a:blip r:embed="rId57"/>
                <a:stretch>
                  <a:fillRect/>
                </a:stretch>
              </p:blipFill>
              <p:spPr>
                <a:xfrm>
                  <a:off x="2157915" y="2126145"/>
                  <a:ext cx="351000" cy="251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8">
              <p14:nvContentPartPr>
                <p14:cNvPr id="42" name="Ink 41">
                  <a:extLst>
                    <a:ext uri="{FF2B5EF4-FFF2-40B4-BE49-F238E27FC236}">
                      <a16:creationId xmlns:a16="http://schemas.microsoft.com/office/drawing/2014/main" id="{35ADEA8F-5760-4563-8BC1-83FE72DBD8EC}"/>
                    </a:ext>
                  </a:extLst>
                </p14:cNvPr>
                <p14:cNvContentPartPr/>
                <p14:nvPr/>
              </p14:nvContentPartPr>
              <p14:xfrm>
                <a:off x="2473995" y="2135505"/>
                <a:ext cx="113040" cy="236880"/>
              </p14:xfrm>
            </p:contentPart>
          </mc:Choice>
          <mc:Fallback xmlns="">
            <p:pic>
              <p:nvPicPr>
                <p:cNvPr id="42" name="Ink 41">
                  <a:extLst>
                    <a:ext uri="{FF2B5EF4-FFF2-40B4-BE49-F238E27FC236}">
                      <a16:creationId xmlns:a16="http://schemas.microsoft.com/office/drawing/2014/main" id="{35ADEA8F-5760-4563-8BC1-83FE72DBD8EC}"/>
                    </a:ext>
                  </a:extLst>
                </p:cNvPr>
                <p:cNvPicPr/>
                <p:nvPr/>
              </p:nvPicPr>
              <p:blipFill>
                <a:blip r:embed="rId59"/>
                <a:stretch>
                  <a:fillRect/>
                </a:stretch>
              </p:blipFill>
              <p:spPr>
                <a:xfrm>
                  <a:off x="2456355" y="2117865"/>
                  <a:ext cx="148680" cy="272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0">
              <p14:nvContentPartPr>
                <p14:cNvPr id="43" name="Ink 42">
                  <a:extLst>
                    <a:ext uri="{FF2B5EF4-FFF2-40B4-BE49-F238E27FC236}">
                      <a16:creationId xmlns:a16="http://schemas.microsoft.com/office/drawing/2014/main" id="{0A8B8CE6-9A0C-4C1D-AE3B-E9EC83123FDF}"/>
                    </a:ext>
                  </a:extLst>
                </p14:cNvPr>
                <p14:cNvContentPartPr/>
                <p14:nvPr/>
              </p14:nvContentPartPr>
              <p14:xfrm>
                <a:off x="2637075" y="2263305"/>
                <a:ext cx="75960" cy="100440"/>
              </p14:xfrm>
            </p:contentPart>
          </mc:Choice>
          <mc:Fallback xmlns="">
            <p:pic>
              <p:nvPicPr>
                <p:cNvPr id="43" name="Ink 42">
                  <a:extLst>
                    <a:ext uri="{FF2B5EF4-FFF2-40B4-BE49-F238E27FC236}">
                      <a16:creationId xmlns:a16="http://schemas.microsoft.com/office/drawing/2014/main" id="{0A8B8CE6-9A0C-4C1D-AE3B-E9EC83123FDF}"/>
                    </a:ext>
                  </a:extLst>
                </p:cNvPr>
                <p:cNvPicPr/>
                <p:nvPr/>
              </p:nvPicPr>
              <p:blipFill>
                <a:blip r:embed="rId61"/>
                <a:stretch>
                  <a:fillRect/>
                </a:stretch>
              </p:blipFill>
              <p:spPr>
                <a:xfrm>
                  <a:off x="2619075" y="2245665"/>
                  <a:ext cx="111600" cy="136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2">
              <p14:nvContentPartPr>
                <p14:cNvPr id="44" name="Ink 43">
                  <a:extLst>
                    <a:ext uri="{FF2B5EF4-FFF2-40B4-BE49-F238E27FC236}">
                      <a16:creationId xmlns:a16="http://schemas.microsoft.com/office/drawing/2014/main" id="{D7B2FF42-309F-4327-9FC1-E558A9DBF22A}"/>
                    </a:ext>
                  </a:extLst>
                </p14:cNvPr>
                <p14:cNvContentPartPr/>
                <p14:nvPr/>
              </p14:nvContentPartPr>
              <p14:xfrm>
                <a:off x="2777835" y="2277345"/>
                <a:ext cx="113760" cy="60840"/>
              </p14:xfrm>
            </p:contentPart>
          </mc:Choice>
          <mc:Fallback xmlns="">
            <p:pic>
              <p:nvPicPr>
                <p:cNvPr id="44" name="Ink 43">
                  <a:extLst>
                    <a:ext uri="{FF2B5EF4-FFF2-40B4-BE49-F238E27FC236}">
                      <a16:creationId xmlns:a16="http://schemas.microsoft.com/office/drawing/2014/main" id="{D7B2FF42-309F-4327-9FC1-E558A9DBF22A}"/>
                    </a:ext>
                  </a:extLst>
                </p:cNvPr>
                <p:cNvPicPr/>
                <p:nvPr/>
              </p:nvPicPr>
              <p:blipFill>
                <a:blip r:embed="rId63"/>
                <a:stretch>
                  <a:fillRect/>
                </a:stretch>
              </p:blipFill>
              <p:spPr>
                <a:xfrm>
                  <a:off x="2760195" y="2259705"/>
                  <a:ext cx="149400" cy="96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4">
              <p14:nvContentPartPr>
                <p14:cNvPr id="45" name="Ink 44">
                  <a:extLst>
                    <a:ext uri="{FF2B5EF4-FFF2-40B4-BE49-F238E27FC236}">
                      <a16:creationId xmlns:a16="http://schemas.microsoft.com/office/drawing/2014/main" id="{B828A95C-AE02-4993-8097-BAFFE9544941}"/>
                    </a:ext>
                  </a:extLst>
                </p14:cNvPr>
                <p14:cNvContentPartPr/>
                <p14:nvPr/>
              </p14:nvContentPartPr>
              <p14:xfrm>
                <a:off x="98715" y="2379945"/>
                <a:ext cx="37800" cy="240480"/>
              </p14:xfrm>
            </p:contentPart>
          </mc:Choice>
          <mc:Fallback xmlns="">
            <p:pic>
              <p:nvPicPr>
                <p:cNvPr id="45" name="Ink 44">
                  <a:extLst>
                    <a:ext uri="{FF2B5EF4-FFF2-40B4-BE49-F238E27FC236}">
                      <a16:creationId xmlns:a16="http://schemas.microsoft.com/office/drawing/2014/main" id="{B828A95C-AE02-4993-8097-BAFFE9544941}"/>
                    </a:ext>
                  </a:extLst>
                </p:cNvPr>
                <p:cNvPicPr/>
                <p:nvPr/>
              </p:nvPicPr>
              <p:blipFill>
                <a:blip r:embed="rId65"/>
                <a:stretch>
                  <a:fillRect/>
                </a:stretch>
              </p:blipFill>
              <p:spPr>
                <a:xfrm>
                  <a:off x="81075" y="2362305"/>
                  <a:ext cx="73440" cy="276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6">
              <p14:nvContentPartPr>
                <p14:cNvPr id="46" name="Ink 45">
                  <a:extLst>
                    <a:ext uri="{FF2B5EF4-FFF2-40B4-BE49-F238E27FC236}">
                      <a16:creationId xmlns:a16="http://schemas.microsoft.com/office/drawing/2014/main" id="{EDF2F4EE-0614-4651-8D7F-F7056AA436F9}"/>
                    </a:ext>
                  </a:extLst>
                </p14:cNvPr>
                <p14:cNvContentPartPr/>
                <p14:nvPr/>
              </p14:nvContentPartPr>
              <p14:xfrm>
                <a:off x="56235" y="2470665"/>
                <a:ext cx="306720" cy="103320"/>
              </p14:xfrm>
            </p:contentPart>
          </mc:Choice>
          <mc:Fallback xmlns="">
            <p:pic>
              <p:nvPicPr>
                <p:cNvPr id="46" name="Ink 45">
                  <a:extLst>
                    <a:ext uri="{FF2B5EF4-FFF2-40B4-BE49-F238E27FC236}">
                      <a16:creationId xmlns:a16="http://schemas.microsoft.com/office/drawing/2014/main" id="{EDF2F4EE-0614-4651-8D7F-F7056AA436F9}"/>
                    </a:ext>
                  </a:extLst>
                </p:cNvPr>
                <p:cNvPicPr/>
                <p:nvPr/>
              </p:nvPicPr>
              <p:blipFill>
                <a:blip r:embed="rId67"/>
                <a:stretch>
                  <a:fillRect/>
                </a:stretch>
              </p:blipFill>
              <p:spPr>
                <a:xfrm>
                  <a:off x="38235" y="2452665"/>
                  <a:ext cx="342360" cy="138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8">
              <p14:nvContentPartPr>
                <p14:cNvPr id="47" name="Ink 46">
                  <a:extLst>
                    <a:ext uri="{FF2B5EF4-FFF2-40B4-BE49-F238E27FC236}">
                      <a16:creationId xmlns:a16="http://schemas.microsoft.com/office/drawing/2014/main" id="{5A1DC7AF-32F3-4C3C-9A79-386E82AE55B1}"/>
                    </a:ext>
                  </a:extLst>
                </p14:cNvPr>
                <p14:cNvContentPartPr/>
                <p14:nvPr/>
              </p14:nvContentPartPr>
              <p14:xfrm>
                <a:off x="603795" y="2480025"/>
                <a:ext cx="35280" cy="188640"/>
              </p14:xfrm>
            </p:contentPart>
          </mc:Choice>
          <mc:Fallback xmlns="">
            <p:pic>
              <p:nvPicPr>
                <p:cNvPr id="47" name="Ink 46">
                  <a:extLst>
                    <a:ext uri="{FF2B5EF4-FFF2-40B4-BE49-F238E27FC236}">
                      <a16:creationId xmlns:a16="http://schemas.microsoft.com/office/drawing/2014/main" id="{5A1DC7AF-32F3-4C3C-9A79-386E82AE55B1}"/>
                    </a:ext>
                  </a:extLst>
                </p:cNvPr>
                <p:cNvPicPr/>
                <p:nvPr/>
              </p:nvPicPr>
              <p:blipFill>
                <a:blip r:embed="rId69"/>
                <a:stretch>
                  <a:fillRect/>
                </a:stretch>
              </p:blipFill>
              <p:spPr>
                <a:xfrm>
                  <a:off x="586155" y="2462025"/>
                  <a:ext cx="70920" cy="224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0">
              <p14:nvContentPartPr>
                <p14:cNvPr id="48" name="Ink 47">
                  <a:extLst>
                    <a:ext uri="{FF2B5EF4-FFF2-40B4-BE49-F238E27FC236}">
                      <a16:creationId xmlns:a16="http://schemas.microsoft.com/office/drawing/2014/main" id="{179339B7-4F15-49F2-9AF4-CCC9B46AB41A}"/>
                    </a:ext>
                  </a:extLst>
                </p14:cNvPr>
                <p14:cNvContentPartPr/>
                <p14:nvPr/>
              </p14:nvContentPartPr>
              <p14:xfrm>
                <a:off x="577875" y="2470305"/>
                <a:ext cx="66600" cy="53640"/>
              </p14:xfrm>
            </p:contentPart>
          </mc:Choice>
          <mc:Fallback xmlns="">
            <p:pic>
              <p:nvPicPr>
                <p:cNvPr id="48" name="Ink 47">
                  <a:extLst>
                    <a:ext uri="{FF2B5EF4-FFF2-40B4-BE49-F238E27FC236}">
                      <a16:creationId xmlns:a16="http://schemas.microsoft.com/office/drawing/2014/main" id="{179339B7-4F15-49F2-9AF4-CCC9B46AB41A}"/>
                    </a:ext>
                  </a:extLst>
                </p:cNvPr>
                <p:cNvPicPr/>
                <p:nvPr/>
              </p:nvPicPr>
              <p:blipFill>
                <a:blip r:embed="rId71"/>
                <a:stretch>
                  <a:fillRect/>
                </a:stretch>
              </p:blipFill>
              <p:spPr>
                <a:xfrm>
                  <a:off x="559875" y="2452665"/>
                  <a:ext cx="102240" cy="89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2">
              <p14:nvContentPartPr>
                <p14:cNvPr id="49" name="Ink 48">
                  <a:extLst>
                    <a:ext uri="{FF2B5EF4-FFF2-40B4-BE49-F238E27FC236}">
                      <a16:creationId xmlns:a16="http://schemas.microsoft.com/office/drawing/2014/main" id="{DC05390C-AC67-4366-9F4B-F73E47BF1201}"/>
                    </a:ext>
                  </a:extLst>
                </p14:cNvPr>
                <p14:cNvContentPartPr/>
                <p14:nvPr/>
              </p14:nvContentPartPr>
              <p14:xfrm>
                <a:off x="534315" y="2656785"/>
                <a:ext cx="162720" cy="43920"/>
              </p14:xfrm>
            </p:contentPart>
          </mc:Choice>
          <mc:Fallback xmlns="">
            <p:pic>
              <p:nvPicPr>
                <p:cNvPr id="49" name="Ink 48">
                  <a:extLst>
                    <a:ext uri="{FF2B5EF4-FFF2-40B4-BE49-F238E27FC236}">
                      <a16:creationId xmlns:a16="http://schemas.microsoft.com/office/drawing/2014/main" id="{DC05390C-AC67-4366-9F4B-F73E47BF1201}"/>
                    </a:ext>
                  </a:extLst>
                </p:cNvPr>
                <p:cNvPicPr/>
                <p:nvPr/>
              </p:nvPicPr>
              <p:blipFill>
                <a:blip r:embed="rId73"/>
                <a:stretch>
                  <a:fillRect/>
                </a:stretch>
              </p:blipFill>
              <p:spPr>
                <a:xfrm>
                  <a:off x="516675" y="2638785"/>
                  <a:ext cx="198360" cy="79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4">
              <p14:nvContentPartPr>
                <p14:cNvPr id="50" name="Ink 49">
                  <a:extLst>
                    <a:ext uri="{FF2B5EF4-FFF2-40B4-BE49-F238E27FC236}">
                      <a16:creationId xmlns:a16="http://schemas.microsoft.com/office/drawing/2014/main" id="{83911708-22AA-4821-803A-7F60944DC3A0}"/>
                    </a:ext>
                  </a:extLst>
                </p14:cNvPr>
                <p14:cNvContentPartPr/>
                <p14:nvPr/>
              </p14:nvContentPartPr>
              <p14:xfrm>
                <a:off x="541155" y="2481825"/>
                <a:ext cx="64440" cy="24480"/>
              </p14:xfrm>
            </p:contentPart>
          </mc:Choice>
          <mc:Fallback xmlns="">
            <p:pic>
              <p:nvPicPr>
                <p:cNvPr id="50" name="Ink 49">
                  <a:extLst>
                    <a:ext uri="{FF2B5EF4-FFF2-40B4-BE49-F238E27FC236}">
                      <a16:creationId xmlns:a16="http://schemas.microsoft.com/office/drawing/2014/main" id="{83911708-22AA-4821-803A-7F60944DC3A0}"/>
                    </a:ext>
                  </a:extLst>
                </p:cNvPr>
                <p:cNvPicPr/>
                <p:nvPr/>
              </p:nvPicPr>
              <p:blipFill>
                <a:blip r:embed="rId75"/>
                <a:stretch>
                  <a:fillRect/>
                </a:stretch>
              </p:blipFill>
              <p:spPr>
                <a:xfrm>
                  <a:off x="523155" y="2463825"/>
                  <a:ext cx="100080" cy="60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6">
              <p14:nvContentPartPr>
                <p14:cNvPr id="51" name="Ink 50">
                  <a:extLst>
                    <a:ext uri="{FF2B5EF4-FFF2-40B4-BE49-F238E27FC236}">
                      <a16:creationId xmlns:a16="http://schemas.microsoft.com/office/drawing/2014/main" id="{1660F598-DE37-4D92-A7BA-85E87AE1B239}"/>
                    </a:ext>
                  </a:extLst>
                </p14:cNvPr>
                <p14:cNvContentPartPr/>
                <p14:nvPr/>
              </p14:nvContentPartPr>
              <p14:xfrm>
                <a:off x="852915" y="2567865"/>
                <a:ext cx="180720" cy="169560"/>
              </p14:xfrm>
            </p:contentPart>
          </mc:Choice>
          <mc:Fallback xmlns="">
            <p:pic>
              <p:nvPicPr>
                <p:cNvPr id="51" name="Ink 50">
                  <a:extLst>
                    <a:ext uri="{FF2B5EF4-FFF2-40B4-BE49-F238E27FC236}">
                      <a16:creationId xmlns:a16="http://schemas.microsoft.com/office/drawing/2014/main" id="{1660F598-DE37-4D92-A7BA-85E87AE1B239}"/>
                    </a:ext>
                  </a:extLst>
                </p:cNvPr>
                <p:cNvPicPr/>
                <p:nvPr/>
              </p:nvPicPr>
              <p:blipFill>
                <a:blip r:embed="rId77"/>
                <a:stretch>
                  <a:fillRect/>
                </a:stretch>
              </p:blipFill>
              <p:spPr>
                <a:xfrm>
                  <a:off x="834915" y="2550225"/>
                  <a:ext cx="216360" cy="205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8">
              <p14:nvContentPartPr>
                <p14:cNvPr id="52" name="Ink 51">
                  <a:extLst>
                    <a:ext uri="{FF2B5EF4-FFF2-40B4-BE49-F238E27FC236}">
                      <a16:creationId xmlns:a16="http://schemas.microsoft.com/office/drawing/2014/main" id="{0EA5336F-CC15-4A49-9974-7C57293E185F}"/>
                    </a:ext>
                  </a:extLst>
                </p14:cNvPr>
                <p14:cNvContentPartPr/>
                <p14:nvPr/>
              </p14:nvContentPartPr>
              <p14:xfrm>
                <a:off x="1098435" y="2552385"/>
                <a:ext cx="105480" cy="219600"/>
              </p14:xfrm>
            </p:contentPart>
          </mc:Choice>
          <mc:Fallback xmlns="">
            <p:pic>
              <p:nvPicPr>
                <p:cNvPr id="52" name="Ink 51">
                  <a:extLst>
                    <a:ext uri="{FF2B5EF4-FFF2-40B4-BE49-F238E27FC236}">
                      <a16:creationId xmlns:a16="http://schemas.microsoft.com/office/drawing/2014/main" id="{0EA5336F-CC15-4A49-9974-7C57293E185F}"/>
                    </a:ext>
                  </a:extLst>
                </p:cNvPr>
                <p:cNvPicPr/>
                <p:nvPr/>
              </p:nvPicPr>
              <p:blipFill>
                <a:blip r:embed="rId79"/>
                <a:stretch>
                  <a:fillRect/>
                </a:stretch>
              </p:blipFill>
              <p:spPr>
                <a:xfrm>
                  <a:off x="1080435" y="2534385"/>
                  <a:ext cx="141120" cy="255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0">
              <p14:nvContentPartPr>
                <p14:cNvPr id="53" name="Ink 52">
                  <a:extLst>
                    <a:ext uri="{FF2B5EF4-FFF2-40B4-BE49-F238E27FC236}">
                      <a16:creationId xmlns:a16="http://schemas.microsoft.com/office/drawing/2014/main" id="{4525B8DC-4A4B-46D2-A83C-755E581BCC22}"/>
                    </a:ext>
                  </a:extLst>
                </p14:cNvPr>
                <p14:cNvContentPartPr/>
                <p14:nvPr/>
              </p14:nvContentPartPr>
              <p14:xfrm>
                <a:off x="1257555" y="2585865"/>
                <a:ext cx="39960" cy="188280"/>
              </p14:xfrm>
            </p:contentPart>
          </mc:Choice>
          <mc:Fallback xmlns="">
            <p:pic>
              <p:nvPicPr>
                <p:cNvPr id="53" name="Ink 52">
                  <a:extLst>
                    <a:ext uri="{FF2B5EF4-FFF2-40B4-BE49-F238E27FC236}">
                      <a16:creationId xmlns:a16="http://schemas.microsoft.com/office/drawing/2014/main" id="{4525B8DC-4A4B-46D2-A83C-755E581BCC22}"/>
                    </a:ext>
                  </a:extLst>
                </p:cNvPr>
                <p:cNvPicPr/>
                <p:nvPr/>
              </p:nvPicPr>
              <p:blipFill>
                <a:blip r:embed="rId81"/>
                <a:stretch>
                  <a:fillRect/>
                </a:stretch>
              </p:blipFill>
              <p:spPr>
                <a:xfrm>
                  <a:off x="1239555" y="2568225"/>
                  <a:ext cx="75600" cy="223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2">
              <p14:nvContentPartPr>
                <p14:cNvPr id="54" name="Ink 53">
                  <a:extLst>
                    <a:ext uri="{FF2B5EF4-FFF2-40B4-BE49-F238E27FC236}">
                      <a16:creationId xmlns:a16="http://schemas.microsoft.com/office/drawing/2014/main" id="{72286FC9-1C0B-468D-9C40-477FA6968A2D}"/>
                    </a:ext>
                  </a:extLst>
                </p14:cNvPr>
                <p14:cNvContentPartPr/>
                <p14:nvPr/>
              </p14:nvContentPartPr>
              <p14:xfrm>
                <a:off x="1375635" y="2655705"/>
                <a:ext cx="280440" cy="159840"/>
              </p14:xfrm>
            </p:contentPart>
          </mc:Choice>
          <mc:Fallback xmlns="">
            <p:pic>
              <p:nvPicPr>
                <p:cNvPr id="54" name="Ink 53">
                  <a:extLst>
                    <a:ext uri="{FF2B5EF4-FFF2-40B4-BE49-F238E27FC236}">
                      <a16:creationId xmlns:a16="http://schemas.microsoft.com/office/drawing/2014/main" id="{72286FC9-1C0B-468D-9C40-477FA6968A2D}"/>
                    </a:ext>
                  </a:extLst>
                </p:cNvPr>
                <p:cNvPicPr/>
                <p:nvPr/>
              </p:nvPicPr>
              <p:blipFill>
                <a:blip r:embed="rId83"/>
                <a:stretch>
                  <a:fillRect/>
                </a:stretch>
              </p:blipFill>
              <p:spPr>
                <a:xfrm>
                  <a:off x="1357635" y="2638065"/>
                  <a:ext cx="316080" cy="195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4">
              <p14:nvContentPartPr>
                <p14:cNvPr id="55" name="Ink 54">
                  <a:extLst>
                    <a:ext uri="{FF2B5EF4-FFF2-40B4-BE49-F238E27FC236}">
                      <a16:creationId xmlns:a16="http://schemas.microsoft.com/office/drawing/2014/main" id="{BE4F1136-1306-4459-9469-0819A15C3C1C}"/>
                    </a:ext>
                  </a:extLst>
                </p14:cNvPr>
                <p14:cNvContentPartPr/>
                <p14:nvPr/>
              </p14:nvContentPartPr>
              <p14:xfrm>
                <a:off x="1764435" y="2707185"/>
                <a:ext cx="504720" cy="134640"/>
              </p14:xfrm>
            </p:contentPart>
          </mc:Choice>
          <mc:Fallback xmlns="">
            <p:pic>
              <p:nvPicPr>
                <p:cNvPr id="55" name="Ink 54">
                  <a:extLst>
                    <a:ext uri="{FF2B5EF4-FFF2-40B4-BE49-F238E27FC236}">
                      <a16:creationId xmlns:a16="http://schemas.microsoft.com/office/drawing/2014/main" id="{BE4F1136-1306-4459-9469-0819A15C3C1C}"/>
                    </a:ext>
                  </a:extLst>
                </p:cNvPr>
                <p:cNvPicPr/>
                <p:nvPr/>
              </p:nvPicPr>
              <p:blipFill>
                <a:blip r:embed="rId85"/>
                <a:stretch>
                  <a:fillRect/>
                </a:stretch>
              </p:blipFill>
              <p:spPr>
                <a:xfrm>
                  <a:off x="1746795" y="2689185"/>
                  <a:ext cx="540360" cy="1702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2E54C92B-BA5F-402D-8E0E-3A98C6695BB3}"/>
              </a:ext>
            </a:extLst>
          </p:cNvPr>
          <p:cNvGrpSpPr/>
          <p:nvPr/>
        </p:nvGrpSpPr>
        <p:grpSpPr>
          <a:xfrm>
            <a:off x="96195" y="3413865"/>
            <a:ext cx="1114200" cy="325440"/>
            <a:chOff x="96195" y="3413865"/>
            <a:chExt cx="1114200" cy="3254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86">
              <p14:nvContentPartPr>
                <p14:cNvPr id="66" name="Ink 65">
                  <a:extLst>
                    <a:ext uri="{FF2B5EF4-FFF2-40B4-BE49-F238E27FC236}">
                      <a16:creationId xmlns:a16="http://schemas.microsoft.com/office/drawing/2014/main" id="{6C9301D8-9198-4272-963C-3093A630882B}"/>
                    </a:ext>
                  </a:extLst>
                </p14:cNvPr>
                <p14:cNvContentPartPr/>
                <p14:nvPr/>
              </p14:nvContentPartPr>
              <p14:xfrm>
                <a:off x="96195" y="3413865"/>
                <a:ext cx="338760" cy="199080"/>
              </p14:xfrm>
            </p:contentPart>
          </mc:Choice>
          <mc:Fallback xmlns="">
            <p:pic>
              <p:nvPicPr>
                <p:cNvPr id="66" name="Ink 65">
                  <a:extLst>
                    <a:ext uri="{FF2B5EF4-FFF2-40B4-BE49-F238E27FC236}">
                      <a16:creationId xmlns:a16="http://schemas.microsoft.com/office/drawing/2014/main" id="{6C9301D8-9198-4272-963C-3093A630882B}"/>
                    </a:ext>
                  </a:extLst>
                </p:cNvPr>
                <p:cNvPicPr/>
                <p:nvPr/>
              </p:nvPicPr>
              <p:blipFill>
                <a:blip r:embed="rId87"/>
                <a:stretch>
                  <a:fillRect/>
                </a:stretch>
              </p:blipFill>
              <p:spPr>
                <a:xfrm>
                  <a:off x="78195" y="3396225"/>
                  <a:ext cx="374400" cy="234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8">
              <p14:nvContentPartPr>
                <p14:cNvPr id="67" name="Ink 66">
                  <a:extLst>
                    <a:ext uri="{FF2B5EF4-FFF2-40B4-BE49-F238E27FC236}">
                      <a16:creationId xmlns:a16="http://schemas.microsoft.com/office/drawing/2014/main" id="{96C229B6-120C-4E7D-83A9-3E4042D31CEE}"/>
                    </a:ext>
                  </a:extLst>
                </p14:cNvPr>
                <p14:cNvContentPartPr/>
                <p14:nvPr/>
              </p14:nvContentPartPr>
              <p14:xfrm>
                <a:off x="459795" y="3470745"/>
                <a:ext cx="369720" cy="170640"/>
              </p14:xfrm>
            </p:contentPart>
          </mc:Choice>
          <mc:Fallback xmlns="">
            <p:pic>
              <p:nvPicPr>
                <p:cNvPr id="67" name="Ink 66">
                  <a:extLst>
                    <a:ext uri="{FF2B5EF4-FFF2-40B4-BE49-F238E27FC236}">
                      <a16:creationId xmlns:a16="http://schemas.microsoft.com/office/drawing/2014/main" id="{96C229B6-120C-4E7D-83A9-3E4042D31CEE}"/>
                    </a:ext>
                  </a:extLst>
                </p:cNvPr>
                <p:cNvPicPr/>
                <p:nvPr/>
              </p:nvPicPr>
              <p:blipFill>
                <a:blip r:embed="rId89"/>
                <a:stretch>
                  <a:fillRect/>
                </a:stretch>
              </p:blipFill>
              <p:spPr>
                <a:xfrm>
                  <a:off x="441795" y="3452745"/>
                  <a:ext cx="405360" cy="206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0">
              <p14:nvContentPartPr>
                <p14:cNvPr id="68" name="Ink 67">
                  <a:extLst>
                    <a:ext uri="{FF2B5EF4-FFF2-40B4-BE49-F238E27FC236}">
                      <a16:creationId xmlns:a16="http://schemas.microsoft.com/office/drawing/2014/main" id="{D39E4198-E1B6-41E3-8236-E411B526F4A8}"/>
                    </a:ext>
                  </a:extLst>
                </p14:cNvPr>
                <p14:cNvContentPartPr/>
                <p14:nvPr/>
              </p14:nvContentPartPr>
              <p14:xfrm>
                <a:off x="986115" y="3523665"/>
                <a:ext cx="127080" cy="215640"/>
              </p14:xfrm>
            </p:contentPart>
          </mc:Choice>
          <mc:Fallback xmlns="">
            <p:pic>
              <p:nvPicPr>
                <p:cNvPr id="68" name="Ink 67">
                  <a:extLst>
                    <a:ext uri="{FF2B5EF4-FFF2-40B4-BE49-F238E27FC236}">
                      <a16:creationId xmlns:a16="http://schemas.microsoft.com/office/drawing/2014/main" id="{D39E4198-E1B6-41E3-8236-E411B526F4A8}"/>
                    </a:ext>
                  </a:extLst>
                </p:cNvPr>
                <p:cNvPicPr/>
                <p:nvPr/>
              </p:nvPicPr>
              <p:blipFill>
                <a:blip r:embed="rId91"/>
                <a:stretch>
                  <a:fillRect/>
                </a:stretch>
              </p:blipFill>
              <p:spPr>
                <a:xfrm>
                  <a:off x="968115" y="3506025"/>
                  <a:ext cx="162720" cy="251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2">
              <p14:nvContentPartPr>
                <p14:cNvPr id="69" name="Ink 68">
                  <a:extLst>
                    <a:ext uri="{FF2B5EF4-FFF2-40B4-BE49-F238E27FC236}">
                      <a16:creationId xmlns:a16="http://schemas.microsoft.com/office/drawing/2014/main" id="{D1DD8D06-8CF1-4104-8CAC-C07464F9B83C}"/>
                    </a:ext>
                  </a:extLst>
                </p14:cNvPr>
                <p14:cNvContentPartPr/>
                <p14:nvPr/>
              </p14:nvContentPartPr>
              <p14:xfrm>
                <a:off x="1020675" y="3518265"/>
                <a:ext cx="189720" cy="46800"/>
              </p14:xfrm>
            </p:contentPart>
          </mc:Choice>
          <mc:Fallback xmlns="">
            <p:pic>
              <p:nvPicPr>
                <p:cNvPr id="69" name="Ink 68">
                  <a:extLst>
                    <a:ext uri="{FF2B5EF4-FFF2-40B4-BE49-F238E27FC236}">
                      <a16:creationId xmlns:a16="http://schemas.microsoft.com/office/drawing/2014/main" id="{D1DD8D06-8CF1-4104-8CAC-C07464F9B83C}"/>
                    </a:ext>
                  </a:extLst>
                </p:cNvPr>
                <p:cNvPicPr/>
                <p:nvPr/>
              </p:nvPicPr>
              <p:blipFill>
                <a:blip r:embed="rId93"/>
                <a:stretch>
                  <a:fillRect/>
                </a:stretch>
              </p:blipFill>
              <p:spPr>
                <a:xfrm>
                  <a:off x="1002675" y="3500265"/>
                  <a:ext cx="225360" cy="8244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94">
            <p14:nvContentPartPr>
              <p14:cNvPr id="73" name="Ink 72">
                <a:extLst>
                  <a:ext uri="{FF2B5EF4-FFF2-40B4-BE49-F238E27FC236}">
                    <a16:creationId xmlns:a16="http://schemas.microsoft.com/office/drawing/2014/main" id="{8471DC5C-74BC-4A08-9CA3-6B28815A4B94}"/>
                  </a:ext>
                </a:extLst>
              </p14:cNvPr>
              <p14:cNvContentPartPr/>
              <p14:nvPr/>
            </p14:nvContentPartPr>
            <p14:xfrm>
              <a:off x="1345395" y="3752985"/>
              <a:ext cx="8280" cy="3600"/>
            </p14:xfrm>
          </p:contentPart>
        </mc:Choice>
        <mc:Fallback xmlns="">
          <p:pic>
            <p:nvPicPr>
              <p:cNvPr id="73" name="Ink 72">
                <a:extLst>
                  <a:ext uri="{FF2B5EF4-FFF2-40B4-BE49-F238E27FC236}">
                    <a16:creationId xmlns:a16="http://schemas.microsoft.com/office/drawing/2014/main" id="{8471DC5C-74BC-4A08-9CA3-6B28815A4B94}"/>
                  </a:ext>
                </a:extLst>
              </p:cNvPr>
              <p:cNvPicPr/>
              <p:nvPr/>
            </p:nvPicPr>
            <p:blipFill>
              <a:blip r:embed="rId95"/>
              <a:stretch>
                <a:fillRect/>
              </a:stretch>
            </p:blipFill>
            <p:spPr>
              <a:xfrm>
                <a:off x="1327395" y="3735345"/>
                <a:ext cx="43920" cy="39240"/>
              </a:xfrm>
              <a:prstGeom prst="rect">
                <a:avLst/>
              </a:prstGeom>
            </p:spPr>
          </p:pic>
        </mc:Fallback>
      </mc:AlternateContent>
      <p:grpSp>
        <p:nvGrpSpPr>
          <p:cNvPr id="85" name="Group 84">
            <a:extLst>
              <a:ext uri="{FF2B5EF4-FFF2-40B4-BE49-F238E27FC236}">
                <a16:creationId xmlns:a16="http://schemas.microsoft.com/office/drawing/2014/main" id="{FA04A91D-0B24-4689-8A02-1A93A8AEFD05}"/>
              </a:ext>
            </a:extLst>
          </p:cNvPr>
          <p:cNvGrpSpPr/>
          <p:nvPr/>
        </p:nvGrpSpPr>
        <p:grpSpPr>
          <a:xfrm>
            <a:off x="58035" y="2953425"/>
            <a:ext cx="1420920" cy="368280"/>
            <a:chOff x="58035" y="2953425"/>
            <a:chExt cx="1420920" cy="3682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96">
              <p14:nvContentPartPr>
                <p14:cNvPr id="74" name="Ink 73">
                  <a:extLst>
                    <a:ext uri="{FF2B5EF4-FFF2-40B4-BE49-F238E27FC236}">
                      <a16:creationId xmlns:a16="http://schemas.microsoft.com/office/drawing/2014/main" id="{3951272D-00EB-4541-A5E4-B2505D89413A}"/>
                    </a:ext>
                  </a:extLst>
                </p14:cNvPr>
                <p14:cNvContentPartPr/>
                <p14:nvPr/>
              </p14:nvContentPartPr>
              <p14:xfrm>
                <a:off x="58035" y="2973225"/>
                <a:ext cx="106560" cy="156600"/>
              </p14:xfrm>
            </p:contentPart>
          </mc:Choice>
          <mc:Fallback xmlns="">
            <p:pic>
              <p:nvPicPr>
                <p:cNvPr id="74" name="Ink 73">
                  <a:extLst>
                    <a:ext uri="{FF2B5EF4-FFF2-40B4-BE49-F238E27FC236}">
                      <a16:creationId xmlns:a16="http://schemas.microsoft.com/office/drawing/2014/main" id="{3951272D-00EB-4541-A5E4-B2505D89413A}"/>
                    </a:ext>
                  </a:extLst>
                </p:cNvPr>
                <p:cNvPicPr/>
                <p:nvPr/>
              </p:nvPicPr>
              <p:blipFill>
                <a:blip r:embed="rId97"/>
                <a:stretch>
                  <a:fillRect/>
                </a:stretch>
              </p:blipFill>
              <p:spPr>
                <a:xfrm>
                  <a:off x="40395" y="2955585"/>
                  <a:ext cx="142200" cy="192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8">
              <p14:nvContentPartPr>
                <p14:cNvPr id="75" name="Ink 74">
                  <a:extLst>
                    <a:ext uri="{FF2B5EF4-FFF2-40B4-BE49-F238E27FC236}">
                      <a16:creationId xmlns:a16="http://schemas.microsoft.com/office/drawing/2014/main" id="{F5774B86-EE2A-4FAE-9528-5D71B0A692F1}"/>
                    </a:ext>
                  </a:extLst>
                </p14:cNvPr>
                <p14:cNvContentPartPr/>
                <p14:nvPr/>
              </p14:nvContentPartPr>
              <p14:xfrm>
                <a:off x="266835" y="2953425"/>
                <a:ext cx="7560" cy="183960"/>
              </p14:xfrm>
            </p:contentPart>
          </mc:Choice>
          <mc:Fallback xmlns="">
            <p:pic>
              <p:nvPicPr>
                <p:cNvPr id="75" name="Ink 74">
                  <a:extLst>
                    <a:ext uri="{FF2B5EF4-FFF2-40B4-BE49-F238E27FC236}">
                      <a16:creationId xmlns:a16="http://schemas.microsoft.com/office/drawing/2014/main" id="{F5774B86-EE2A-4FAE-9528-5D71B0A692F1}"/>
                    </a:ext>
                  </a:extLst>
                </p:cNvPr>
                <p:cNvPicPr/>
                <p:nvPr/>
              </p:nvPicPr>
              <p:blipFill>
                <a:blip r:embed="rId99"/>
                <a:stretch>
                  <a:fillRect/>
                </a:stretch>
              </p:blipFill>
              <p:spPr>
                <a:xfrm>
                  <a:off x="248835" y="2935425"/>
                  <a:ext cx="43200" cy="219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0">
              <p14:nvContentPartPr>
                <p14:cNvPr id="76" name="Ink 75">
                  <a:extLst>
                    <a:ext uri="{FF2B5EF4-FFF2-40B4-BE49-F238E27FC236}">
                      <a16:creationId xmlns:a16="http://schemas.microsoft.com/office/drawing/2014/main" id="{7C376281-E12B-4B63-8E52-98AC1AD73A82}"/>
                    </a:ext>
                  </a:extLst>
                </p14:cNvPr>
                <p14:cNvContentPartPr/>
                <p14:nvPr/>
              </p14:nvContentPartPr>
              <p14:xfrm>
                <a:off x="318315" y="3007065"/>
                <a:ext cx="118800" cy="163800"/>
              </p14:xfrm>
            </p:contentPart>
          </mc:Choice>
          <mc:Fallback xmlns="">
            <p:pic>
              <p:nvPicPr>
                <p:cNvPr id="76" name="Ink 75">
                  <a:extLst>
                    <a:ext uri="{FF2B5EF4-FFF2-40B4-BE49-F238E27FC236}">
                      <a16:creationId xmlns:a16="http://schemas.microsoft.com/office/drawing/2014/main" id="{7C376281-E12B-4B63-8E52-98AC1AD73A82}"/>
                    </a:ext>
                  </a:extLst>
                </p:cNvPr>
                <p:cNvPicPr/>
                <p:nvPr/>
              </p:nvPicPr>
              <p:blipFill>
                <a:blip r:embed="rId101"/>
                <a:stretch>
                  <a:fillRect/>
                </a:stretch>
              </p:blipFill>
              <p:spPr>
                <a:xfrm>
                  <a:off x="300675" y="2989065"/>
                  <a:ext cx="154440" cy="199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2">
              <p14:nvContentPartPr>
                <p14:cNvPr id="77" name="Ink 76">
                  <a:extLst>
                    <a:ext uri="{FF2B5EF4-FFF2-40B4-BE49-F238E27FC236}">
                      <a16:creationId xmlns:a16="http://schemas.microsoft.com/office/drawing/2014/main" id="{13677179-8518-48FB-9E69-AAC7FF9EE201}"/>
                    </a:ext>
                  </a:extLst>
                </p14:cNvPr>
                <p14:cNvContentPartPr/>
                <p14:nvPr/>
              </p14:nvContentPartPr>
              <p14:xfrm>
                <a:off x="519555" y="3068265"/>
                <a:ext cx="86400" cy="102240"/>
              </p14:xfrm>
            </p:contentPart>
          </mc:Choice>
          <mc:Fallback xmlns="">
            <p:pic>
              <p:nvPicPr>
                <p:cNvPr id="77" name="Ink 76">
                  <a:extLst>
                    <a:ext uri="{FF2B5EF4-FFF2-40B4-BE49-F238E27FC236}">
                      <a16:creationId xmlns:a16="http://schemas.microsoft.com/office/drawing/2014/main" id="{13677179-8518-48FB-9E69-AAC7FF9EE201}"/>
                    </a:ext>
                  </a:extLst>
                </p:cNvPr>
                <p:cNvPicPr/>
                <p:nvPr/>
              </p:nvPicPr>
              <p:blipFill>
                <a:blip r:embed="rId103"/>
                <a:stretch>
                  <a:fillRect/>
                </a:stretch>
              </p:blipFill>
              <p:spPr>
                <a:xfrm>
                  <a:off x="501555" y="3050265"/>
                  <a:ext cx="122040" cy="137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4">
              <p14:nvContentPartPr>
                <p14:cNvPr id="79" name="Ink 78">
                  <a:extLst>
                    <a:ext uri="{FF2B5EF4-FFF2-40B4-BE49-F238E27FC236}">
                      <a16:creationId xmlns:a16="http://schemas.microsoft.com/office/drawing/2014/main" id="{CF1F0EF0-E7B1-4439-A2F9-E4B04F00C617}"/>
                    </a:ext>
                  </a:extLst>
                </p14:cNvPr>
                <p14:cNvContentPartPr/>
                <p14:nvPr/>
              </p14:nvContentPartPr>
              <p14:xfrm>
                <a:off x="751395" y="3047385"/>
                <a:ext cx="396360" cy="216720"/>
              </p14:xfrm>
            </p:contentPart>
          </mc:Choice>
          <mc:Fallback xmlns="">
            <p:pic>
              <p:nvPicPr>
                <p:cNvPr id="79" name="Ink 78">
                  <a:extLst>
                    <a:ext uri="{FF2B5EF4-FFF2-40B4-BE49-F238E27FC236}">
                      <a16:creationId xmlns:a16="http://schemas.microsoft.com/office/drawing/2014/main" id="{CF1F0EF0-E7B1-4439-A2F9-E4B04F00C617}"/>
                    </a:ext>
                  </a:extLst>
                </p:cNvPr>
                <p:cNvPicPr/>
                <p:nvPr/>
              </p:nvPicPr>
              <p:blipFill>
                <a:blip r:embed="rId105"/>
                <a:stretch>
                  <a:fillRect/>
                </a:stretch>
              </p:blipFill>
              <p:spPr>
                <a:xfrm>
                  <a:off x="733395" y="3029385"/>
                  <a:ext cx="432000" cy="252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6">
              <p14:nvContentPartPr>
                <p14:cNvPr id="80" name="Ink 79">
                  <a:extLst>
                    <a:ext uri="{FF2B5EF4-FFF2-40B4-BE49-F238E27FC236}">
                      <a16:creationId xmlns:a16="http://schemas.microsoft.com/office/drawing/2014/main" id="{4B94C064-372A-43FF-BD5E-7DB274C5FC63}"/>
                    </a:ext>
                  </a:extLst>
                </p14:cNvPr>
                <p14:cNvContentPartPr/>
                <p14:nvPr/>
              </p14:nvContentPartPr>
              <p14:xfrm>
                <a:off x="1124715" y="3115065"/>
                <a:ext cx="163440" cy="161280"/>
              </p14:xfrm>
            </p:contentPart>
          </mc:Choice>
          <mc:Fallback xmlns="">
            <p:pic>
              <p:nvPicPr>
                <p:cNvPr id="80" name="Ink 79">
                  <a:extLst>
                    <a:ext uri="{FF2B5EF4-FFF2-40B4-BE49-F238E27FC236}">
                      <a16:creationId xmlns:a16="http://schemas.microsoft.com/office/drawing/2014/main" id="{4B94C064-372A-43FF-BD5E-7DB274C5FC63}"/>
                    </a:ext>
                  </a:extLst>
                </p:cNvPr>
                <p:cNvPicPr/>
                <p:nvPr/>
              </p:nvPicPr>
              <p:blipFill>
                <a:blip r:embed="rId107"/>
                <a:stretch>
                  <a:fillRect/>
                </a:stretch>
              </p:blipFill>
              <p:spPr>
                <a:xfrm>
                  <a:off x="1106715" y="3097425"/>
                  <a:ext cx="199080" cy="196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8">
              <p14:nvContentPartPr>
                <p14:cNvPr id="81" name="Ink 80">
                  <a:extLst>
                    <a:ext uri="{FF2B5EF4-FFF2-40B4-BE49-F238E27FC236}">
                      <a16:creationId xmlns:a16="http://schemas.microsoft.com/office/drawing/2014/main" id="{8AF4F036-82D6-4DF3-818E-392F099760F2}"/>
                    </a:ext>
                  </a:extLst>
                </p14:cNvPr>
                <p14:cNvContentPartPr/>
                <p14:nvPr/>
              </p14:nvContentPartPr>
              <p14:xfrm>
                <a:off x="1307235" y="3116865"/>
                <a:ext cx="171720" cy="204840"/>
              </p14:xfrm>
            </p:contentPart>
          </mc:Choice>
          <mc:Fallback xmlns="">
            <p:pic>
              <p:nvPicPr>
                <p:cNvPr id="81" name="Ink 80">
                  <a:extLst>
                    <a:ext uri="{FF2B5EF4-FFF2-40B4-BE49-F238E27FC236}">
                      <a16:creationId xmlns:a16="http://schemas.microsoft.com/office/drawing/2014/main" id="{8AF4F036-82D6-4DF3-818E-392F099760F2}"/>
                    </a:ext>
                  </a:extLst>
                </p:cNvPr>
                <p:cNvPicPr/>
                <p:nvPr/>
              </p:nvPicPr>
              <p:blipFill>
                <a:blip r:embed="rId109"/>
                <a:stretch>
                  <a:fillRect/>
                </a:stretch>
              </p:blipFill>
              <p:spPr>
                <a:xfrm>
                  <a:off x="1289235" y="3099225"/>
                  <a:ext cx="207360" cy="2404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126AA54F-2E3B-4E83-AEA3-99B27033EFB6}"/>
              </a:ext>
            </a:extLst>
          </p:cNvPr>
          <p:cNvGrpSpPr/>
          <p:nvPr/>
        </p:nvGrpSpPr>
        <p:grpSpPr>
          <a:xfrm>
            <a:off x="1688835" y="3140265"/>
            <a:ext cx="367920" cy="361800"/>
            <a:chOff x="1688835" y="3140265"/>
            <a:chExt cx="367920" cy="3618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10">
              <p14:nvContentPartPr>
                <p14:cNvPr id="82" name="Ink 81">
                  <a:extLst>
                    <a:ext uri="{FF2B5EF4-FFF2-40B4-BE49-F238E27FC236}">
                      <a16:creationId xmlns:a16="http://schemas.microsoft.com/office/drawing/2014/main" id="{6817A028-678E-444E-956B-A94BF11D880A}"/>
                    </a:ext>
                  </a:extLst>
                </p14:cNvPr>
                <p14:cNvContentPartPr/>
                <p14:nvPr/>
              </p14:nvContentPartPr>
              <p14:xfrm>
                <a:off x="1688835" y="3140265"/>
                <a:ext cx="161280" cy="217800"/>
              </p14:xfrm>
            </p:contentPart>
          </mc:Choice>
          <mc:Fallback xmlns="">
            <p:pic>
              <p:nvPicPr>
                <p:cNvPr id="82" name="Ink 81">
                  <a:extLst>
                    <a:ext uri="{FF2B5EF4-FFF2-40B4-BE49-F238E27FC236}">
                      <a16:creationId xmlns:a16="http://schemas.microsoft.com/office/drawing/2014/main" id="{6817A028-678E-444E-956B-A94BF11D880A}"/>
                    </a:ext>
                  </a:extLst>
                </p:cNvPr>
                <p:cNvPicPr/>
                <p:nvPr/>
              </p:nvPicPr>
              <p:blipFill>
                <a:blip r:embed="rId111"/>
                <a:stretch>
                  <a:fillRect/>
                </a:stretch>
              </p:blipFill>
              <p:spPr>
                <a:xfrm>
                  <a:off x="1671195" y="3122265"/>
                  <a:ext cx="196920" cy="253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2">
              <p14:nvContentPartPr>
                <p14:cNvPr id="83" name="Ink 82">
                  <a:extLst>
                    <a:ext uri="{FF2B5EF4-FFF2-40B4-BE49-F238E27FC236}">
                      <a16:creationId xmlns:a16="http://schemas.microsoft.com/office/drawing/2014/main" id="{43CBBC07-4078-412C-97DD-0C107B48B79F}"/>
                    </a:ext>
                  </a:extLst>
                </p14:cNvPr>
                <p14:cNvContentPartPr/>
                <p14:nvPr/>
              </p14:nvContentPartPr>
              <p14:xfrm>
                <a:off x="1914195" y="3263745"/>
                <a:ext cx="142560" cy="238320"/>
              </p14:xfrm>
            </p:contentPart>
          </mc:Choice>
          <mc:Fallback xmlns="">
            <p:pic>
              <p:nvPicPr>
                <p:cNvPr id="83" name="Ink 82">
                  <a:extLst>
                    <a:ext uri="{FF2B5EF4-FFF2-40B4-BE49-F238E27FC236}">
                      <a16:creationId xmlns:a16="http://schemas.microsoft.com/office/drawing/2014/main" id="{43CBBC07-4078-412C-97DD-0C107B48B79F}"/>
                    </a:ext>
                  </a:extLst>
                </p:cNvPr>
                <p:cNvPicPr/>
                <p:nvPr/>
              </p:nvPicPr>
              <p:blipFill>
                <a:blip r:embed="rId113"/>
                <a:stretch>
                  <a:fillRect/>
                </a:stretch>
              </p:blipFill>
              <p:spPr>
                <a:xfrm>
                  <a:off x="1896195" y="3246105"/>
                  <a:ext cx="178200" cy="27396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114">
            <p14:nvContentPartPr>
              <p14:cNvPr id="86" name="Ink 85">
                <a:extLst>
                  <a:ext uri="{FF2B5EF4-FFF2-40B4-BE49-F238E27FC236}">
                    <a16:creationId xmlns:a16="http://schemas.microsoft.com/office/drawing/2014/main" id="{9E411338-2396-4A3E-B05D-739DEF1A77F3}"/>
                  </a:ext>
                </a:extLst>
              </p14:cNvPr>
              <p14:cNvContentPartPr/>
              <p14:nvPr/>
            </p14:nvContentPartPr>
            <p14:xfrm>
              <a:off x="9983595" y="3424305"/>
              <a:ext cx="274680" cy="78120"/>
            </p14:xfrm>
          </p:contentPart>
        </mc:Choice>
        <mc:Fallback xmlns="">
          <p:pic>
            <p:nvPicPr>
              <p:cNvPr id="86" name="Ink 85">
                <a:extLst>
                  <a:ext uri="{FF2B5EF4-FFF2-40B4-BE49-F238E27FC236}">
                    <a16:creationId xmlns:a16="http://schemas.microsoft.com/office/drawing/2014/main" id="{9E411338-2396-4A3E-B05D-739DEF1A77F3}"/>
                  </a:ext>
                </a:extLst>
              </p:cNvPr>
              <p:cNvPicPr/>
              <p:nvPr/>
            </p:nvPicPr>
            <p:blipFill>
              <a:blip r:embed="rId115"/>
              <a:stretch>
                <a:fillRect/>
              </a:stretch>
            </p:blipFill>
            <p:spPr>
              <a:xfrm>
                <a:off x="9965595" y="3406305"/>
                <a:ext cx="310320" cy="1137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16">
            <p14:nvContentPartPr>
              <p14:cNvPr id="87" name="Ink 86">
                <a:extLst>
                  <a:ext uri="{FF2B5EF4-FFF2-40B4-BE49-F238E27FC236}">
                    <a16:creationId xmlns:a16="http://schemas.microsoft.com/office/drawing/2014/main" id="{EE45E37B-38B9-48E9-8A76-B66C934A6546}"/>
                  </a:ext>
                </a:extLst>
              </p14:cNvPr>
              <p14:cNvContentPartPr/>
              <p14:nvPr/>
            </p14:nvContentPartPr>
            <p14:xfrm>
              <a:off x="9891075" y="4961865"/>
              <a:ext cx="182520" cy="77760"/>
            </p14:xfrm>
          </p:contentPart>
        </mc:Choice>
        <mc:Fallback xmlns="">
          <p:pic>
            <p:nvPicPr>
              <p:cNvPr id="87" name="Ink 86">
                <a:extLst>
                  <a:ext uri="{FF2B5EF4-FFF2-40B4-BE49-F238E27FC236}">
                    <a16:creationId xmlns:a16="http://schemas.microsoft.com/office/drawing/2014/main" id="{EE45E37B-38B9-48E9-8A76-B66C934A6546}"/>
                  </a:ext>
                </a:extLst>
              </p:cNvPr>
              <p:cNvPicPr/>
              <p:nvPr/>
            </p:nvPicPr>
            <p:blipFill>
              <a:blip r:embed="rId117"/>
              <a:stretch>
                <a:fillRect/>
              </a:stretch>
            </p:blipFill>
            <p:spPr>
              <a:xfrm>
                <a:off x="9873435" y="4943865"/>
                <a:ext cx="218160" cy="113400"/>
              </a:xfrm>
              <a:prstGeom prst="rect">
                <a:avLst/>
              </a:prstGeom>
            </p:spPr>
          </p:pic>
        </mc:Fallback>
      </mc:AlternateContent>
      <p:grpSp>
        <p:nvGrpSpPr>
          <p:cNvPr id="93" name="Group 92">
            <a:extLst>
              <a:ext uri="{FF2B5EF4-FFF2-40B4-BE49-F238E27FC236}">
                <a16:creationId xmlns:a16="http://schemas.microsoft.com/office/drawing/2014/main" id="{D7D6AD95-3CA0-4F72-A738-74A0E63C5EB8}"/>
              </a:ext>
            </a:extLst>
          </p:cNvPr>
          <p:cNvGrpSpPr/>
          <p:nvPr/>
        </p:nvGrpSpPr>
        <p:grpSpPr>
          <a:xfrm>
            <a:off x="10109955" y="3690705"/>
            <a:ext cx="695880" cy="224640"/>
            <a:chOff x="10109955" y="3690705"/>
            <a:chExt cx="695880" cy="2246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18">
              <p14:nvContentPartPr>
                <p14:cNvPr id="91" name="Ink 90">
                  <a:extLst>
                    <a:ext uri="{FF2B5EF4-FFF2-40B4-BE49-F238E27FC236}">
                      <a16:creationId xmlns:a16="http://schemas.microsoft.com/office/drawing/2014/main" id="{33F33074-79BD-4DA5-A5E9-D32136CB641B}"/>
                    </a:ext>
                  </a:extLst>
                </p14:cNvPr>
                <p14:cNvContentPartPr/>
                <p14:nvPr/>
              </p14:nvContentPartPr>
              <p14:xfrm>
                <a:off x="10109955" y="3690705"/>
                <a:ext cx="208800" cy="224640"/>
              </p14:xfrm>
            </p:contentPart>
          </mc:Choice>
          <mc:Fallback xmlns="">
            <p:pic>
              <p:nvPicPr>
                <p:cNvPr id="91" name="Ink 90">
                  <a:extLst>
                    <a:ext uri="{FF2B5EF4-FFF2-40B4-BE49-F238E27FC236}">
                      <a16:creationId xmlns:a16="http://schemas.microsoft.com/office/drawing/2014/main" id="{33F33074-79BD-4DA5-A5E9-D32136CB641B}"/>
                    </a:ext>
                  </a:extLst>
                </p:cNvPr>
                <p:cNvPicPr/>
                <p:nvPr/>
              </p:nvPicPr>
              <p:blipFill>
                <a:blip r:embed="rId119"/>
                <a:stretch>
                  <a:fillRect/>
                </a:stretch>
              </p:blipFill>
              <p:spPr>
                <a:xfrm>
                  <a:off x="10091955" y="3673065"/>
                  <a:ext cx="244440" cy="260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0">
              <p14:nvContentPartPr>
                <p14:cNvPr id="92" name="Ink 91">
                  <a:extLst>
                    <a:ext uri="{FF2B5EF4-FFF2-40B4-BE49-F238E27FC236}">
                      <a16:creationId xmlns:a16="http://schemas.microsoft.com/office/drawing/2014/main" id="{F61E40C7-6B47-442A-9E9C-A285E9FD6C31}"/>
                    </a:ext>
                  </a:extLst>
                </p14:cNvPr>
                <p14:cNvContentPartPr/>
                <p14:nvPr/>
              </p14:nvContentPartPr>
              <p14:xfrm>
                <a:off x="10341435" y="3713745"/>
                <a:ext cx="464400" cy="194400"/>
              </p14:xfrm>
            </p:contentPart>
          </mc:Choice>
          <mc:Fallback xmlns="">
            <p:pic>
              <p:nvPicPr>
                <p:cNvPr id="92" name="Ink 91">
                  <a:extLst>
                    <a:ext uri="{FF2B5EF4-FFF2-40B4-BE49-F238E27FC236}">
                      <a16:creationId xmlns:a16="http://schemas.microsoft.com/office/drawing/2014/main" id="{F61E40C7-6B47-442A-9E9C-A285E9FD6C31}"/>
                    </a:ext>
                  </a:extLst>
                </p:cNvPr>
                <p:cNvPicPr/>
                <p:nvPr/>
              </p:nvPicPr>
              <p:blipFill>
                <a:blip r:embed="rId121"/>
                <a:stretch>
                  <a:fillRect/>
                </a:stretch>
              </p:blipFill>
              <p:spPr>
                <a:xfrm>
                  <a:off x="10323435" y="3696105"/>
                  <a:ext cx="500040" cy="23004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122">
            <p14:nvContentPartPr>
              <p14:cNvPr id="97" name="Ink 96">
                <a:extLst>
                  <a:ext uri="{FF2B5EF4-FFF2-40B4-BE49-F238E27FC236}">
                    <a16:creationId xmlns:a16="http://schemas.microsoft.com/office/drawing/2014/main" id="{1BB0C372-109A-42AC-8345-33DCBC0A030D}"/>
                  </a:ext>
                </a:extLst>
              </p14:cNvPr>
              <p14:cNvContentPartPr/>
              <p14:nvPr/>
            </p14:nvContentPartPr>
            <p14:xfrm>
              <a:off x="10209315" y="4100025"/>
              <a:ext cx="371160" cy="178200"/>
            </p14:xfrm>
          </p:contentPart>
        </mc:Choice>
        <mc:Fallback xmlns="">
          <p:pic>
            <p:nvPicPr>
              <p:cNvPr id="97" name="Ink 96">
                <a:extLst>
                  <a:ext uri="{FF2B5EF4-FFF2-40B4-BE49-F238E27FC236}">
                    <a16:creationId xmlns:a16="http://schemas.microsoft.com/office/drawing/2014/main" id="{1BB0C372-109A-42AC-8345-33DCBC0A030D}"/>
                  </a:ext>
                </a:extLst>
              </p:cNvPr>
              <p:cNvPicPr/>
              <p:nvPr/>
            </p:nvPicPr>
            <p:blipFill>
              <a:blip r:embed="rId123"/>
              <a:stretch>
                <a:fillRect/>
              </a:stretch>
            </p:blipFill>
            <p:spPr>
              <a:xfrm>
                <a:off x="10191315" y="4082385"/>
                <a:ext cx="406800" cy="213840"/>
              </a:xfrm>
              <a:prstGeom prst="rect">
                <a:avLst/>
              </a:prstGeom>
            </p:spPr>
          </p:pic>
        </mc:Fallback>
      </mc:AlternateContent>
      <p:grpSp>
        <p:nvGrpSpPr>
          <p:cNvPr id="105" name="Group 104">
            <a:extLst>
              <a:ext uri="{FF2B5EF4-FFF2-40B4-BE49-F238E27FC236}">
                <a16:creationId xmlns:a16="http://schemas.microsoft.com/office/drawing/2014/main" id="{3B5EE76C-DBBC-40EC-A7D9-75E8C71BEF80}"/>
              </a:ext>
            </a:extLst>
          </p:cNvPr>
          <p:cNvGrpSpPr/>
          <p:nvPr/>
        </p:nvGrpSpPr>
        <p:grpSpPr>
          <a:xfrm>
            <a:off x="11056035" y="3707265"/>
            <a:ext cx="531360" cy="284040"/>
            <a:chOff x="11056035" y="3707265"/>
            <a:chExt cx="531360" cy="2840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24">
              <p14:nvContentPartPr>
                <p14:cNvPr id="102" name="Ink 101">
                  <a:extLst>
                    <a:ext uri="{FF2B5EF4-FFF2-40B4-BE49-F238E27FC236}">
                      <a16:creationId xmlns:a16="http://schemas.microsoft.com/office/drawing/2014/main" id="{C4755B8A-2AAB-4E0C-9567-DAD56A3E75B1}"/>
                    </a:ext>
                  </a:extLst>
                </p14:cNvPr>
                <p14:cNvContentPartPr/>
                <p14:nvPr/>
              </p14:nvContentPartPr>
              <p14:xfrm>
                <a:off x="11056035" y="3707265"/>
                <a:ext cx="102600" cy="198720"/>
              </p14:xfrm>
            </p:contentPart>
          </mc:Choice>
          <mc:Fallback xmlns="">
            <p:pic>
              <p:nvPicPr>
                <p:cNvPr id="102" name="Ink 101">
                  <a:extLst>
                    <a:ext uri="{FF2B5EF4-FFF2-40B4-BE49-F238E27FC236}">
                      <a16:creationId xmlns:a16="http://schemas.microsoft.com/office/drawing/2014/main" id="{C4755B8A-2AAB-4E0C-9567-DAD56A3E75B1}"/>
                    </a:ext>
                  </a:extLst>
                </p:cNvPr>
                <p:cNvPicPr/>
                <p:nvPr/>
              </p:nvPicPr>
              <p:blipFill>
                <a:blip r:embed="rId125"/>
                <a:stretch>
                  <a:fillRect/>
                </a:stretch>
              </p:blipFill>
              <p:spPr>
                <a:xfrm>
                  <a:off x="11038395" y="3689265"/>
                  <a:ext cx="138240" cy="234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6">
              <p14:nvContentPartPr>
                <p14:cNvPr id="103" name="Ink 102">
                  <a:extLst>
                    <a:ext uri="{FF2B5EF4-FFF2-40B4-BE49-F238E27FC236}">
                      <a16:creationId xmlns:a16="http://schemas.microsoft.com/office/drawing/2014/main" id="{C30318A9-7102-4256-9DA9-E59BF67A7049}"/>
                    </a:ext>
                  </a:extLst>
                </p14:cNvPr>
                <p14:cNvContentPartPr/>
                <p14:nvPr/>
              </p14:nvContentPartPr>
              <p14:xfrm>
                <a:off x="11190315" y="3780705"/>
                <a:ext cx="178200" cy="210600"/>
              </p14:xfrm>
            </p:contentPart>
          </mc:Choice>
          <mc:Fallback xmlns="">
            <p:pic>
              <p:nvPicPr>
                <p:cNvPr id="103" name="Ink 102">
                  <a:extLst>
                    <a:ext uri="{FF2B5EF4-FFF2-40B4-BE49-F238E27FC236}">
                      <a16:creationId xmlns:a16="http://schemas.microsoft.com/office/drawing/2014/main" id="{C30318A9-7102-4256-9DA9-E59BF67A7049}"/>
                    </a:ext>
                  </a:extLst>
                </p:cNvPr>
                <p:cNvPicPr/>
                <p:nvPr/>
              </p:nvPicPr>
              <p:blipFill>
                <a:blip r:embed="rId127"/>
                <a:stretch>
                  <a:fillRect/>
                </a:stretch>
              </p:blipFill>
              <p:spPr>
                <a:xfrm>
                  <a:off x="11172315" y="3763065"/>
                  <a:ext cx="213840" cy="246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8">
              <p14:nvContentPartPr>
                <p14:cNvPr id="104" name="Ink 103">
                  <a:extLst>
                    <a:ext uri="{FF2B5EF4-FFF2-40B4-BE49-F238E27FC236}">
                      <a16:creationId xmlns:a16="http://schemas.microsoft.com/office/drawing/2014/main" id="{8645A378-2862-4591-82D6-29CAA1299448}"/>
                    </a:ext>
                  </a:extLst>
                </p14:cNvPr>
                <p14:cNvContentPartPr/>
                <p14:nvPr/>
              </p14:nvContentPartPr>
              <p14:xfrm>
                <a:off x="11472555" y="3763425"/>
                <a:ext cx="114840" cy="202320"/>
              </p14:xfrm>
            </p:contentPart>
          </mc:Choice>
          <mc:Fallback xmlns="">
            <p:pic>
              <p:nvPicPr>
                <p:cNvPr id="104" name="Ink 103">
                  <a:extLst>
                    <a:ext uri="{FF2B5EF4-FFF2-40B4-BE49-F238E27FC236}">
                      <a16:creationId xmlns:a16="http://schemas.microsoft.com/office/drawing/2014/main" id="{8645A378-2862-4591-82D6-29CAA1299448}"/>
                    </a:ext>
                  </a:extLst>
                </p:cNvPr>
                <p:cNvPicPr/>
                <p:nvPr/>
              </p:nvPicPr>
              <p:blipFill>
                <a:blip r:embed="rId129"/>
                <a:stretch>
                  <a:fillRect/>
                </a:stretch>
              </p:blipFill>
              <p:spPr>
                <a:xfrm>
                  <a:off x="11454555" y="3745425"/>
                  <a:ext cx="150480" cy="2379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1C911DF5-254A-4D5E-A29A-F2702FD1C976}"/>
              </a:ext>
            </a:extLst>
          </p:cNvPr>
          <p:cNvGrpSpPr/>
          <p:nvPr/>
        </p:nvGrpSpPr>
        <p:grpSpPr>
          <a:xfrm>
            <a:off x="10686675" y="4095345"/>
            <a:ext cx="974520" cy="233280"/>
            <a:chOff x="10686675" y="4095345"/>
            <a:chExt cx="974520" cy="2332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30">
              <p14:nvContentPartPr>
                <p14:cNvPr id="107" name="Ink 106">
                  <a:extLst>
                    <a:ext uri="{FF2B5EF4-FFF2-40B4-BE49-F238E27FC236}">
                      <a16:creationId xmlns:a16="http://schemas.microsoft.com/office/drawing/2014/main" id="{F186C3E2-C126-4966-B399-E1815BA34CEB}"/>
                    </a:ext>
                  </a:extLst>
                </p14:cNvPr>
                <p14:cNvContentPartPr/>
                <p14:nvPr/>
              </p14:nvContentPartPr>
              <p14:xfrm>
                <a:off x="10686675" y="4095345"/>
                <a:ext cx="153000" cy="217080"/>
              </p14:xfrm>
            </p:contentPart>
          </mc:Choice>
          <mc:Fallback xmlns="">
            <p:pic>
              <p:nvPicPr>
                <p:cNvPr id="107" name="Ink 106">
                  <a:extLst>
                    <a:ext uri="{FF2B5EF4-FFF2-40B4-BE49-F238E27FC236}">
                      <a16:creationId xmlns:a16="http://schemas.microsoft.com/office/drawing/2014/main" id="{F186C3E2-C126-4966-B399-E1815BA34CEB}"/>
                    </a:ext>
                  </a:extLst>
                </p:cNvPr>
                <p:cNvPicPr/>
                <p:nvPr/>
              </p:nvPicPr>
              <p:blipFill>
                <a:blip r:embed="rId131"/>
                <a:stretch>
                  <a:fillRect/>
                </a:stretch>
              </p:blipFill>
              <p:spPr>
                <a:xfrm>
                  <a:off x="10668675" y="4077705"/>
                  <a:ext cx="188640" cy="252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2">
              <p14:nvContentPartPr>
                <p14:cNvPr id="108" name="Ink 107">
                  <a:extLst>
                    <a:ext uri="{FF2B5EF4-FFF2-40B4-BE49-F238E27FC236}">
                      <a16:creationId xmlns:a16="http://schemas.microsoft.com/office/drawing/2014/main" id="{6214B367-033A-4212-9C4C-791DBA33D386}"/>
                    </a:ext>
                  </a:extLst>
                </p14:cNvPr>
                <p14:cNvContentPartPr/>
                <p14:nvPr/>
              </p14:nvContentPartPr>
              <p14:xfrm>
                <a:off x="10848315" y="4125585"/>
                <a:ext cx="44640" cy="163800"/>
              </p14:xfrm>
            </p:contentPart>
          </mc:Choice>
          <mc:Fallback xmlns="">
            <p:pic>
              <p:nvPicPr>
                <p:cNvPr id="108" name="Ink 107">
                  <a:extLst>
                    <a:ext uri="{FF2B5EF4-FFF2-40B4-BE49-F238E27FC236}">
                      <a16:creationId xmlns:a16="http://schemas.microsoft.com/office/drawing/2014/main" id="{6214B367-033A-4212-9C4C-791DBA33D386}"/>
                    </a:ext>
                  </a:extLst>
                </p:cNvPr>
                <p:cNvPicPr/>
                <p:nvPr/>
              </p:nvPicPr>
              <p:blipFill>
                <a:blip r:embed="rId133"/>
                <a:stretch>
                  <a:fillRect/>
                </a:stretch>
              </p:blipFill>
              <p:spPr>
                <a:xfrm>
                  <a:off x="10830315" y="4107585"/>
                  <a:ext cx="80280" cy="199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4">
              <p14:nvContentPartPr>
                <p14:cNvPr id="109" name="Ink 108">
                  <a:extLst>
                    <a:ext uri="{FF2B5EF4-FFF2-40B4-BE49-F238E27FC236}">
                      <a16:creationId xmlns:a16="http://schemas.microsoft.com/office/drawing/2014/main" id="{EC2BC877-53C2-4540-A2F9-2190182BA987}"/>
                    </a:ext>
                  </a:extLst>
                </p14:cNvPr>
                <p14:cNvContentPartPr/>
                <p14:nvPr/>
              </p14:nvContentPartPr>
              <p14:xfrm>
                <a:off x="10947675" y="4169145"/>
                <a:ext cx="285480" cy="140760"/>
              </p14:xfrm>
            </p:contentPart>
          </mc:Choice>
          <mc:Fallback xmlns="">
            <p:pic>
              <p:nvPicPr>
                <p:cNvPr id="109" name="Ink 108">
                  <a:extLst>
                    <a:ext uri="{FF2B5EF4-FFF2-40B4-BE49-F238E27FC236}">
                      <a16:creationId xmlns:a16="http://schemas.microsoft.com/office/drawing/2014/main" id="{EC2BC877-53C2-4540-A2F9-2190182BA987}"/>
                    </a:ext>
                  </a:extLst>
                </p:cNvPr>
                <p:cNvPicPr/>
                <p:nvPr/>
              </p:nvPicPr>
              <p:blipFill>
                <a:blip r:embed="rId135"/>
                <a:stretch>
                  <a:fillRect/>
                </a:stretch>
              </p:blipFill>
              <p:spPr>
                <a:xfrm>
                  <a:off x="10929675" y="4151145"/>
                  <a:ext cx="321120" cy="176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6">
              <p14:nvContentPartPr>
                <p14:cNvPr id="110" name="Ink 109">
                  <a:extLst>
                    <a:ext uri="{FF2B5EF4-FFF2-40B4-BE49-F238E27FC236}">
                      <a16:creationId xmlns:a16="http://schemas.microsoft.com/office/drawing/2014/main" id="{BD9E315C-1345-4936-920A-077F88BC9A16}"/>
                    </a:ext>
                  </a:extLst>
                </p14:cNvPr>
                <p14:cNvContentPartPr/>
                <p14:nvPr/>
              </p14:nvContentPartPr>
              <p14:xfrm>
                <a:off x="11186355" y="4113705"/>
                <a:ext cx="10800" cy="54360"/>
              </p14:xfrm>
            </p:contentPart>
          </mc:Choice>
          <mc:Fallback xmlns="">
            <p:pic>
              <p:nvPicPr>
                <p:cNvPr id="110" name="Ink 109">
                  <a:extLst>
                    <a:ext uri="{FF2B5EF4-FFF2-40B4-BE49-F238E27FC236}">
                      <a16:creationId xmlns:a16="http://schemas.microsoft.com/office/drawing/2014/main" id="{BD9E315C-1345-4936-920A-077F88BC9A16}"/>
                    </a:ext>
                  </a:extLst>
                </p:cNvPr>
                <p:cNvPicPr/>
                <p:nvPr/>
              </p:nvPicPr>
              <p:blipFill>
                <a:blip r:embed="rId137"/>
                <a:stretch>
                  <a:fillRect/>
                </a:stretch>
              </p:blipFill>
              <p:spPr>
                <a:xfrm>
                  <a:off x="11168355" y="4096065"/>
                  <a:ext cx="46440" cy="90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8">
              <p14:nvContentPartPr>
                <p14:cNvPr id="111" name="Ink 110">
                  <a:extLst>
                    <a:ext uri="{FF2B5EF4-FFF2-40B4-BE49-F238E27FC236}">
                      <a16:creationId xmlns:a16="http://schemas.microsoft.com/office/drawing/2014/main" id="{38F5916F-8687-4E99-9452-8D386904E260}"/>
                    </a:ext>
                  </a:extLst>
                </p14:cNvPr>
                <p14:cNvContentPartPr/>
                <p14:nvPr/>
              </p14:nvContentPartPr>
              <p14:xfrm>
                <a:off x="11307675" y="4159425"/>
                <a:ext cx="38880" cy="133560"/>
              </p14:xfrm>
            </p:contentPart>
          </mc:Choice>
          <mc:Fallback xmlns="">
            <p:pic>
              <p:nvPicPr>
                <p:cNvPr id="111" name="Ink 110">
                  <a:extLst>
                    <a:ext uri="{FF2B5EF4-FFF2-40B4-BE49-F238E27FC236}">
                      <a16:creationId xmlns:a16="http://schemas.microsoft.com/office/drawing/2014/main" id="{38F5916F-8687-4E99-9452-8D386904E260}"/>
                    </a:ext>
                  </a:extLst>
                </p:cNvPr>
                <p:cNvPicPr/>
                <p:nvPr/>
              </p:nvPicPr>
              <p:blipFill>
                <a:blip r:embed="rId139"/>
                <a:stretch>
                  <a:fillRect/>
                </a:stretch>
              </p:blipFill>
              <p:spPr>
                <a:xfrm>
                  <a:off x="11289675" y="4141425"/>
                  <a:ext cx="74520" cy="169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0">
              <p14:nvContentPartPr>
                <p14:cNvPr id="112" name="Ink 111">
                  <a:extLst>
                    <a:ext uri="{FF2B5EF4-FFF2-40B4-BE49-F238E27FC236}">
                      <a16:creationId xmlns:a16="http://schemas.microsoft.com/office/drawing/2014/main" id="{4F13A2F4-B95D-4374-9D90-410A57622F81}"/>
                    </a:ext>
                  </a:extLst>
                </p14:cNvPr>
                <p14:cNvContentPartPr/>
                <p14:nvPr/>
              </p14:nvContentPartPr>
              <p14:xfrm>
                <a:off x="11385075" y="4193625"/>
                <a:ext cx="276120" cy="135000"/>
              </p14:xfrm>
            </p:contentPart>
          </mc:Choice>
          <mc:Fallback xmlns="">
            <p:pic>
              <p:nvPicPr>
                <p:cNvPr id="112" name="Ink 111">
                  <a:extLst>
                    <a:ext uri="{FF2B5EF4-FFF2-40B4-BE49-F238E27FC236}">
                      <a16:creationId xmlns:a16="http://schemas.microsoft.com/office/drawing/2014/main" id="{4F13A2F4-B95D-4374-9D90-410A57622F81}"/>
                    </a:ext>
                  </a:extLst>
                </p:cNvPr>
                <p:cNvPicPr/>
                <p:nvPr/>
              </p:nvPicPr>
              <p:blipFill>
                <a:blip r:embed="rId141"/>
                <a:stretch>
                  <a:fillRect/>
                </a:stretch>
              </p:blipFill>
              <p:spPr>
                <a:xfrm>
                  <a:off x="11367075" y="4175985"/>
                  <a:ext cx="311760" cy="170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2">
              <p14:nvContentPartPr>
                <p14:cNvPr id="113" name="Ink 112">
                  <a:extLst>
                    <a:ext uri="{FF2B5EF4-FFF2-40B4-BE49-F238E27FC236}">
                      <a16:creationId xmlns:a16="http://schemas.microsoft.com/office/drawing/2014/main" id="{9CAEB877-4FEC-478D-BD47-5965C9538166}"/>
                    </a:ext>
                  </a:extLst>
                </p14:cNvPr>
                <p14:cNvContentPartPr/>
                <p14:nvPr/>
              </p14:nvContentPartPr>
              <p14:xfrm>
                <a:off x="11540595" y="4194705"/>
                <a:ext cx="91080" cy="87120"/>
              </p14:xfrm>
            </p:contentPart>
          </mc:Choice>
          <mc:Fallback xmlns="">
            <p:pic>
              <p:nvPicPr>
                <p:cNvPr id="113" name="Ink 112">
                  <a:extLst>
                    <a:ext uri="{FF2B5EF4-FFF2-40B4-BE49-F238E27FC236}">
                      <a16:creationId xmlns:a16="http://schemas.microsoft.com/office/drawing/2014/main" id="{9CAEB877-4FEC-478D-BD47-5965C9538166}"/>
                    </a:ext>
                  </a:extLst>
                </p:cNvPr>
                <p:cNvPicPr/>
                <p:nvPr/>
              </p:nvPicPr>
              <p:blipFill>
                <a:blip r:embed="rId143"/>
                <a:stretch>
                  <a:fillRect/>
                </a:stretch>
              </p:blipFill>
              <p:spPr>
                <a:xfrm>
                  <a:off x="11522955" y="4177065"/>
                  <a:ext cx="126720" cy="122760"/>
                </a:xfrm>
                <a:prstGeom prst="rect">
                  <a:avLst/>
                </a:prstGeom>
              </p:spPr>
            </p:pic>
          </mc:Fallback>
        </mc:AlternateContent>
      </p:grpSp>
      <p:pic>
        <p:nvPicPr>
          <p:cNvPr id="116" name="Picture 115">
            <a:extLst>
              <a:ext uri="{FF2B5EF4-FFF2-40B4-BE49-F238E27FC236}">
                <a16:creationId xmlns:a16="http://schemas.microsoft.com/office/drawing/2014/main" id="{CF771103-997C-4659-B391-99909C89C86D}"/>
              </a:ext>
            </a:extLst>
          </p:cNvPr>
          <p:cNvPicPr>
            <a:picLocks noChangeAspect="1"/>
          </p:cNvPicPr>
          <p:nvPr/>
        </p:nvPicPr>
        <p:blipFill>
          <a:blip r:embed="rId144"/>
          <a:stretch>
            <a:fillRect/>
          </a:stretch>
        </p:blipFill>
        <p:spPr>
          <a:xfrm>
            <a:off x="106155" y="6123795"/>
            <a:ext cx="2819400" cy="590550"/>
          </a:xfrm>
          <a:prstGeom prst="rect">
            <a:avLst/>
          </a:prstGeom>
        </p:spPr>
      </p:pic>
      <p:pic>
        <p:nvPicPr>
          <p:cNvPr id="118" name="Picture 117">
            <a:extLst>
              <a:ext uri="{FF2B5EF4-FFF2-40B4-BE49-F238E27FC236}">
                <a16:creationId xmlns:a16="http://schemas.microsoft.com/office/drawing/2014/main" id="{A882E028-95C1-4171-A81E-3C010D5E6500}"/>
              </a:ext>
            </a:extLst>
          </p:cNvPr>
          <p:cNvPicPr>
            <a:picLocks noChangeAspect="1"/>
          </p:cNvPicPr>
          <p:nvPr/>
        </p:nvPicPr>
        <p:blipFill>
          <a:blip r:embed="rId145"/>
          <a:stretch>
            <a:fillRect/>
          </a:stretch>
        </p:blipFill>
        <p:spPr>
          <a:xfrm>
            <a:off x="3054390" y="6030470"/>
            <a:ext cx="4152900" cy="714375"/>
          </a:xfrm>
          <a:prstGeom prst="rect">
            <a:avLst/>
          </a:prstGeom>
        </p:spPr>
      </p:pic>
      <p:grpSp>
        <p:nvGrpSpPr>
          <p:cNvPr id="131" name="Group 130">
            <a:extLst>
              <a:ext uri="{FF2B5EF4-FFF2-40B4-BE49-F238E27FC236}">
                <a16:creationId xmlns:a16="http://schemas.microsoft.com/office/drawing/2014/main" id="{B11E8CFE-9610-4D98-B24A-1D3F02E0422C}"/>
              </a:ext>
            </a:extLst>
          </p:cNvPr>
          <p:cNvGrpSpPr/>
          <p:nvPr/>
        </p:nvGrpSpPr>
        <p:grpSpPr>
          <a:xfrm>
            <a:off x="7251915" y="6316545"/>
            <a:ext cx="970920" cy="315720"/>
            <a:chOff x="7251915" y="6316545"/>
            <a:chExt cx="970920" cy="3157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46">
              <p14:nvContentPartPr>
                <p14:cNvPr id="119" name="Ink 118">
                  <a:extLst>
                    <a:ext uri="{FF2B5EF4-FFF2-40B4-BE49-F238E27FC236}">
                      <a16:creationId xmlns:a16="http://schemas.microsoft.com/office/drawing/2014/main" id="{47789DC2-EE8D-4B41-9118-84C354F32B65}"/>
                    </a:ext>
                  </a:extLst>
                </p14:cNvPr>
                <p14:cNvContentPartPr/>
                <p14:nvPr/>
              </p14:nvContentPartPr>
              <p14:xfrm>
                <a:off x="7251915" y="6550905"/>
                <a:ext cx="184680" cy="8280"/>
              </p14:xfrm>
            </p:contentPart>
          </mc:Choice>
          <mc:Fallback xmlns="">
            <p:pic>
              <p:nvPicPr>
                <p:cNvPr id="119" name="Ink 118">
                  <a:extLst>
                    <a:ext uri="{FF2B5EF4-FFF2-40B4-BE49-F238E27FC236}">
                      <a16:creationId xmlns:a16="http://schemas.microsoft.com/office/drawing/2014/main" id="{47789DC2-EE8D-4B41-9118-84C354F32B65}"/>
                    </a:ext>
                  </a:extLst>
                </p:cNvPr>
                <p:cNvPicPr/>
                <p:nvPr/>
              </p:nvPicPr>
              <p:blipFill>
                <a:blip r:embed="rId147"/>
                <a:stretch>
                  <a:fillRect/>
                </a:stretch>
              </p:blipFill>
              <p:spPr>
                <a:xfrm>
                  <a:off x="7233915" y="6532905"/>
                  <a:ext cx="220320" cy="43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8">
              <p14:nvContentPartPr>
                <p14:cNvPr id="120" name="Ink 119">
                  <a:extLst>
                    <a:ext uri="{FF2B5EF4-FFF2-40B4-BE49-F238E27FC236}">
                      <a16:creationId xmlns:a16="http://schemas.microsoft.com/office/drawing/2014/main" id="{9C65417C-F47C-4618-AE88-75688E8A6A14}"/>
                    </a:ext>
                  </a:extLst>
                </p14:cNvPr>
                <p14:cNvContentPartPr/>
                <p14:nvPr/>
              </p14:nvContentPartPr>
              <p14:xfrm>
                <a:off x="7636755" y="6316545"/>
                <a:ext cx="81000" cy="282600"/>
              </p14:xfrm>
            </p:contentPart>
          </mc:Choice>
          <mc:Fallback xmlns="">
            <p:pic>
              <p:nvPicPr>
                <p:cNvPr id="120" name="Ink 119">
                  <a:extLst>
                    <a:ext uri="{FF2B5EF4-FFF2-40B4-BE49-F238E27FC236}">
                      <a16:creationId xmlns:a16="http://schemas.microsoft.com/office/drawing/2014/main" id="{9C65417C-F47C-4618-AE88-75688E8A6A14}"/>
                    </a:ext>
                  </a:extLst>
                </p:cNvPr>
                <p:cNvPicPr/>
                <p:nvPr/>
              </p:nvPicPr>
              <p:blipFill>
                <a:blip r:embed="rId149"/>
                <a:stretch>
                  <a:fillRect/>
                </a:stretch>
              </p:blipFill>
              <p:spPr>
                <a:xfrm>
                  <a:off x="7618755" y="6298545"/>
                  <a:ext cx="116640" cy="318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0">
              <p14:nvContentPartPr>
                <p14:cNvPr id="121" name="Ink 120">
                  <a:extLst>
                    <a:ext uri="{FF2B5EF4-FFF2-40B4-BE49-F238E27FC236}">
                      <a16:creationId xmlns:a16="http://schemas.microsoft.com/office/drawing/2014/main" id="{CADE999E-68F8-4084-B867-36CB6948A882}"/>
                    </a:ext>
                  </a:extLst>
                </p14:cNvPr>
                <p14:cNvContentPartPr/>
                <p14:nvPr/>
              </p14:nvContentPartPr>
              <p14:xfrm>
                <a:off x="7517595" y="6480345"/>
                <a:ext cx="188280" cy="113040"/>
              </p14:xfrm>
            </p:contentPart>
          </mc:Choice>
          <mc:Fallback xmlns="">
            <p:pic>
              <p:nvPicPr>
                <p:cNvPr id="121" name="Ink 120">
                  <a:extLst>
                    <a:ext uri="{FF2B5EF4-FFF2-40B4-BE49-F238E27FC236}">
                      <a16:creationId xmlns:a16="http://schemas.microsoft.com/office/drawing/2014/main" id="{CADE999E-68F8-4084-B867-36CB6948A882}"/>
                    </a:ext>
                  </a:extLst>
                </p:cNvPr>
                <p:cNvPicPr/>
                <p:nvPr/>
              </p:nvPicPr>
              <p:blipFill>
                <a:blip r:embed="rId151"/>
                <a:stretch>
                  <a:fillRect/>
                </a:stretch>
              </p:blipFill>
              <p:spPr>
                <a:xfrm>
                  <a:off x="7499595" y="6462345"/>
                  <a:ext cx="223920" cy="148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2">
              <p14:nvContentPartPr>
                <p14:cNvPr id="122" name="Ink 121">
                  <a:extLst>
                    <a:ext uri="{FF2B5EF4-FFF2-40B4-BE49-F238E27FC236}">
                      <a16:creationId xmlns:a16="http://schemas.microsoft.com/office/drawing/2014/main" id="{139B1231-3271-4799-8A49-83F692514B9B}"/>
                    </a:ext>
                  </a:extLst>
                </p14:cNvPr>
                <p14:cNvContentPartPr/>
                <p14:nvPr/>
              </p14:nvContentPartPr>
              <p14:xfrm>
                <a:off x="7717755" y="6410505"/>
                <a:ext cx="6480" cy="61560"/>
              </p14:xfrm>
            </p:contentPart>
          </mc:Choice>
          <mc:Fallback xmlns="">
            <p:pic>
              <p:nvPicPr>
                <p:cNvPr id="122" name="Ink 121">
                  <a:extLst>
                    <a:ext uri="{FF2B5EF4-FFF2-40B4-BE49-F238E27FC236}">
                      <a16:creationId xmlns:a16="http://schemas.microsoft.com/office/drawing/2014/main" id="{139B1231-3271-4799-8A49-83F692514B9B}"/>
                    </a:ext>
                  </a:extLst>
                </p:cNvPr>
                <p:cNvPicPr/>
                <p:nvPr/>
              </p:nvPicPr>
              <p:blipFill>
                <a:blip r:embed="rId153"/>
                <a:stretch>
                  <a:fillRect/>
                </a:stretch>
              </p:blipFill>
              <p:spPr>
                <a:xfrm>
                  <a:off x="7699755" y="6392865"/>
                  <a:ext cx="42120" cy="97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4">
              <p14:nvContentPartPr>
                <p14:cNvPr id="123" name="Ink 122">
                  <a:extLst>
                    <a:ext uri="{FF2B5EF4-FFF2-40B4-BE49-F238E27FC236}">
                      <a16:creationId xmlns:a16="http://schemas.microsoft.com/office/drawing/2014/main" id="{5290C8E3-1A86-44AE-8A53-34517676548A}"/>
                    </a:ext>
                  </a:extLst>
                </p14:cNvPr>
                <p14:cNvContentPartPr/>
                <p14:nvPr/>
              </p14:nvContentPartPr>
              <p14:xfrm>
                <a:off x="7791195" y="6469905"/>
                <a:ext cx="88920" cy="135720"/>
              </p14:xfrm>
            </p:contentPart>
          </mc:Choice>
          <mc:Fallback xmlns="">
            <p:pic>
              <p:nvPicPr>
                <p:cNvPr id="123" name="Ink 122">
                  <a:extLst>
                    <a:ext uri="{FF2B5EF4-FFF2-40B4-BE49-F238E27FC236}">
                      <a16:creationId xmlns:a16="http://schemas.microsoft.com/office/drawing/2014/main" id="{5290C8E3-1A86-44AE-8A53-34517676548A}"/>
                    </a:ext>
                  </a:extLst>
                </p:cNvPr>
                <p:cNvPicPr/>
                <p:nvPr/>
              </p:nvPicPr>
              <p:blipFill>
                <a:blip r:embed="rId155"/>
                <a:stretch>
                  <a:fillRect/>
                </a:stretch>
              </p:blipFill>
              <p:spPr>
                <a:xfrm>
                  <a:off x="7773195" y="6451905"/>
                  <a:ext cx="124560" cy="171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6">
              <p14:nvContentPartPr>
                <p14:cNvPr id="124" name="Ink 123">
                  <a:extLst>
                    <a:ext uri="{FF2B5EF4-FFF2-40B4-BE49-F238E27FC236}">
                      <a16:creationId xmlns:a16="http://schemas.microsoft.com/office/drawing/2014/main" id="{10463F62-6973-43CF-9A35-E7FAC14BF1E3}"/>
                    </a:ext>
                  </a:extLst>
                </p14:cNvPr>
                <p14:cNvContentPartPr/>
                <p14:nvPr/>
              </p14:nvContentPartPr>
              <p14:xfrm>
                <a:off x="7972275" y="6412305"/>
                <a:ext cx="250560" cy="219960"/>
              </p14:xfrm>
            </p:contentPart>
          </mc:Choice>
          <mc:Fallback xmlns="">
            <p:pic>
              <p:nvPicPr>
                <p:cNvPr id="124" name="Ink 123">
                  <a:extLst>
                    <a:ext uri="{FF2B5EF4-FFF2-40B4-BE49-F238E27FC236}">
                      <a16:creationId xmlns:a16="http://schemas.microsoft.com/office/drawing/2014/main" id="{10463F62-6973-43CF-9A35-E7FAC14BF1E3}"/>
                    </a:ext>
                  </a:extLst>
                </p:cNvPr>
                <p:cNvPicPr/>
                <p:nvPr/>
              </p:nvPicPr>
              <p:blipFill>
                <a:blip r:embed="rId157"/>
                <a:stretch>
                  <a:fillRect/>
                </a:stretch>
              </p:blipFill>
              <p:spPr>
                <a:xfrm>
                  <a:off x="7954275" y="6394305"/>
                  <a:ext cx="286200" cy="2556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DB6E7A9B-3846-431A-998E-03FBA35213EE}"/>
              </a:ext>
            </a:extLst>
          </p:cNvPr>
          <p:cNvGrpSpPr/>
          <p:nvPr/>
        </p:nvGrpSpPr>
        <p:grpSpPr>
          <a:xfrm>
            <a:off x="8455755" y="6357225"/>
            <a:ext cx="962640" cy="316080"/>
            <a:chOff x="8455755" y="6357225"/>
            <a:chExt cx="962640" cy="3160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58">
              <p14:nvContentPartPr>
                <p14:cNvPr id="125" name="Ink 124">
                  <a:extLst>
                    <a:ext uri="{FF2B5EF4-FFF2-40B4-BE49-F238E27FC236}">
                      <a16:creationId xmlns:a16="http://schemas.microsoft.com/office/drawing/2014/main" id="{2C87AE34-06BC-44B8-927D-1F6C0573843C}"/>
                    </a:ext>
                  </a:extLst>
                </p14:cNvPr>
                <p14:cNvContentPartPr/>
                <p14:nvPr/>
              </p14:nvContentPartPr>
              <p14:xfrm>
                <a:off x="8455755" y="6357225"/>
                <a:ext cx="420120" cy="284040"/>
              </p14:xfrm>
            </p:contentPart>
          </mc:Choice>
          <mc:Fallback xmlns="">
            <p:pic>
              <p:nvPicPr>
                <p:cNvPr id="125" name="Ink 124">
                  <a:extLst>
                    <a:ext uri="{FF2B5EF4-FFF2-40B4-BE49-F238E27FC236}">
                      <a16:creationId xmlns:a16="http://schemas.microsoft.com/office/drawing/2014/main" id="{2C87AE34-06BC-44B8-927D-1F6C0573843C}"/>
                    </a:ext>
                  </a:extLst>
                </p:cNvPr>
                <p:cNvPicPr/>
                <p:nvPr/>
              </p:nvPicPr>
              <p:blipFill>
                <a:blip r:embed="rId159"/>
                <a:stretch>
                  <a:fillRect/>
                </a:stretch>
              </p:blipFill>
              <p:spPr>
                <a:xfrm>
                  <a:off x="8437755" y="6339225"/>
                  <a:ext cx="455760" cy="319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0">
              <p14:nvContentPartPr>
                <p14:cNvPr id="126" name="Ink 125">
                  <a:extLst>
                    <a:ext uri="{FF2B5EF4-FFF2-40B4-BE49-F238E27FC236}">
                      <a16:creationId xmlns:a16="http://schemas.microsoft.com/office/drawing/2014/main" id="{92459037-606D-4998-89F9-487A898675A1}"/>
                    </a:ext>
                  </a:extLst>
                </p14:cNvPr>
                <p14:cNvContentPartPr/>
                <p14:nvPr/>
              </p14:nvContentPartPr>
              <p14:xfrm>
                <a:off x="8790195" y="6504825"/>
                <a:ext cx="148320" cy="117720"/>
              </p14:xfrm>
            </p:contentPart>
          </mc:Choice>
          <mc:Fallback xmlns="">
            <p:pic>
              <p:nvPicPr>
                <p:cNvPr id="126" name="Ink 125">
                  <a:extLst>
                    <a:ext uri="{FF2B5EF4-FFF2-40B4-BE49-F238E27FC236}">
                      <a16:creationId xmlns:a16="http://schemas.microsoft.com/office/drawing/2014/main" id="{92459037-606D-4998-89F9-487A898675A1}"/>
                    </a:ext>
                  </a:extLst>
                </p:cNvPr>
                <p:cNvPicPr/>
                <p:nvPr/>
              </p:nvPicPr>
              <p:blipFill>
                <a:blip r:embed="rId161"/>
                <a:stretch>
                  <a:fillRect/>
                </a:stretch>
              </p:blipFill>
              <p:spPr>
                <a:xfrm>
                  <a:off x="8772195" y="6487185"/>
                  <a:ext cx="183960" cy="153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2">
              <p14:nvContentPartPr>
                <p14:cNvPr id="127" name="Ink 126">
                  <a:extLst>
                    <a:ext uri="{FF2B5EF4-FFF2-40B4-BE49-F238E27FC236}">
                      <a16:creationId xmlns:a16="http://schemas.microsoft.com/office/drawing/2014/main" id="{82497EC4-4197-410B-9F31-418BF718385E}"/>
                    </a:ext>
                  </a:extLst>
                </p14:cNvPr>
                <p14:cNvContentPartPr/>
                <p14:nvPr/>
              </p14:nvContentPartPr>
              <p14:xfrm>
                <a:off x="8940315" y="6379545"/>
                <a:ext cx="27000" cy="41400"/>
              </p14:xfrm>
            </p:contentPart>
          </mc:Choice>
          <mc:Fallback xmlns="">
            <p:pic>
              <p:nvPicPr>
                <p:cNvPr id="127" name="Ink 126">
                  <a:extLst>
                    <a:ext uri="{FF2B5EF4-FFF2-40B4-BE49-F238E27FC236}">
                      <a16:creationId xmlns:a16="http://schemas.microsoft.com/office/drawing/2014/main" id="{82497EC4-4197-410B-9F31-418BF718385E}"/>
                    </a:ext>
                  </a:extLst>
                </p:cNvPr>
                <p:cNvPicPr/>
                <p:nvPr/>
              </p:nvPicPr>
              <p:blipFill>
                <a:blip r:embed="rId163"/>
                <a:stretch>
                  <a:fillRect/>
                </a:stretch>
              </p:blipFill>
              <p:spPr>
                <a:xfrm>
                  <a:off x="8922315" y="6361905"/>
                  <a:ext cx="62640" cy="77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4">
              <p14:nvContentPartPr>
                <p14:cNvPr id="128" name="Ink 127">
                  <a:extLst>
                    <a:ext uri="{FF2B5EF4-FFF2-40B4-BE49-F238E27FC236}">
                      <a16:creationId xmlns:a16="http://schemas.microsoft.com/office/drawing/2014/main" id="{C0E6EE77-D2F5-4426-9C67-90348F503BB1}"/>
                    </a:ext>
                  </a:extLst>
                </p14:cNvPr>
                <p14:cNvContentPartPr/>
                <p14:nvPr/>
              </p14:nvContentPartPr>
              <p14:xfrm>
                <a:off x="9012315" y="6439305"/>
                <a:ext cx="259920" cy="234000"/>
              </p14:xfrm>
            </p:contentPart>
          </mc:Choice>
          <mc:Fallback xmlns="">
            <p:pic>
              <p:nvPicPr>
                <p:cNvPr id="128" name="Ink 127">
                  <a:extLst>
                    <a:ext uri="{FF2B5EF4-FFF2-40B4-BE49-F238E27FC236}">
                      <a16:creationId xmlns:a16="http://schemas.microsoft.com/office/drawing/2014/main" id="{C0E6EE77-D2F5-4426-9C67-90348F503BB1}"/>
                    </a:ext>
                  </a:extLst>
                </p:cNvPr>
                <p:cNvPicPr/>
                <p:nvPr/>
              </p:nvPicPr>
              <p:blipFill>
                <a:blip r:embed="rId165"/>
                <a:stretch>
                  <a:fillRect/>
                </a:stretch>
              </p:blipFill>
              <p:spPr>
                <a:xfrm>
                  <a:off x="8994315" y="6421665"/>
                  <a:ext cx="295560" cy="269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6">
              <p14:nvContentPartPr>
                <p14:cNvPr id="129" name="Ink 128">
                  <a:extLst>
                    <a:ext uri="{FF2B5EF4-FFF2-40B4-BE49-F238E27FC236}">
                      <a16:creationId xmlns:a16="http://schemas.microsoft.com/office/drawing/2014/main" id="{486BC3A7-3A16-4577-96F2-F8E4DB736E92}"/>
                    </a:ext>
                  </a:extLst>
                </p14:cNvPr>
                <p14:cNvContentPartPr/>
                <p14:nvPr/>
              </p14:nvContentPartPr>
              <p14:xfrm>
                <a:off x="9333075" y="6475305"/>
                <a:ext cx="85320" cy="131400"/>
              </p14:xfrm>
            </p:contentPart>
          </mc:Choice>
          <mc:Fallback xmlns="">
            <p:pic>
              <p:nvPicPr>
                <p:cNvPr id="129" name="Ink 128">
                  <a:extLst>
                    <a:ext uri="{FF2B5EF4-FFF2-40B4-BE49-F238E27FC236}">
                      <a16:creationId xmlns:a16="http://schemas.microsoft.com/office/drawing/2014/main" id="{486BC3A7-3A16-4577-96F2-F8E4DB736E92}"/>
                    </a:ext>
                  </a:extLst>
                </p:cNvPr>
                <p:cNvPicPr/>
                <p:nvPr/>
              </p:nvPicPr>
              <p:blipFill>
                <a:blip r:embed="rId167"/>
                <a:stretch>
                  <a:fillRect/>
                </a:stretch>
              </p:blipFill>
              <p:spPr>
                <a:xfrm>
                  <a:off x="9315075" y="6457305"/>
                  <a:ext cx="120960" cy="16704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168">
            <p14:nvContentPartPr>
              <p14:cNvPr id="2" name="Ink 1">
                <a:extLst>
                  <a:ext uri="{FF2B5EF4-FFF2-40B4-BE49-F238E27FC236}">
                    <a16:creationId xmlns:a16="http://schemas.microsoft.com/office/drawing/2014/main" id="{4A296D13-A0C7-4995-A70E-73A51E038346}"/>
                  </a:ext>
                </a:extLst>
              </p14:cNvPr>
              <p14:cNvContentPartPr/>
              <p14:nvPr/>
            </p14:nvContentPartPr>
            <p14:xfrm>
              <a:off x="3050280" y="896040"/>
              <a:ext cx="8963640" cy="5881680"/>
            </p14:xfrm>
          </p:contentPart>
        </mc:Choice>
        <mc:Fallback>
          <p:pic>
            <p:nvPicPr>
              <p:cNvPr id="2" name="Ink 1">
                <a:extLst>
                  <a:ext uri="{FF2B5EF4-FFF2-40B4-BE49-F238E27FC236}">
                    <a16:creationId xmlns:a16="http://schemas.microsoft.com/office/drawing/2014/main" id="{4A296D13-A0C7-4995-A70E-73A51E038346}"/>
                  </a:ext>
                </a:extLst>
              </p:cNvPr>
              <p:cNvPicPr/>
              <p:nvPr/>
            </p:nvPicPr>
            <p:blipFill>
              <a:blip r:embed="rId169"/>
              <a:stretch>
                <a:fillRect/>
              </a:stretch>
            </p:blipFill>
            <p:spPr>
              <a:xfrm>
                <a:off x="3040920" y="886680"/>
                <a:ext cx="8982360" cy="59004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42196381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7C7CCE2-8054-4F91-A8DE-3A0262CC95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8917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7C7CCE2-8054-4F91-A8DE-3A0262CC95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859398C0-9F53-4AA9-ADFD-AC963D003F5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0500" y="80963"/>
            <a:ext cx="5669321" cy="418623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75FC7B54-8A04-4AD4-BE7C-16D977F4B78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6000" y="80963"/>
            <a:ext cx="6001471" cy="3995737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C203FB01-6EAC-45C0-9F7B-B75841312E8A}"/>
              </a:ext>
            </a:extLst>
          </p:cNvPr>
          <p:cNvGrpSpPr/>
          <p:nvPr/>
        </p:nvGrpSpPr>
        <p:grpSpPr>
          <a:xfrm>
            <a:off x="6095999" y="80963"/>
            <a:ext cx="6001471" cy="4614863"/>
            <a:chOff x="6096000" y="61913"/>
            <a:chExt cx="6001471" cy="4614863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DCA223AC-8DB1-4E47-BCE9-2827E5FD89E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096000" y="3995738"/>
              <a:ext cx="3890527" cy="681038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69BE9B39-471E-4655-92C9-9B35739C76E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096000" y="61913"/>
              <a:ext cx="6001471" cy="3995737"/>
            </a:xfrm>
            <a:prstGeom prst="rect">
              <a:avLst/>
            </a:prstGeom>
          </p:spPr>
        </p:pic>
      </p:grpSp>
      <mc:AlternateContent xmlns:mc="http://schemas.openxmlformats.org/markup-compatibility/2006">
        <mc:Choice xmlns:p14="http://schemas.microsoft.com/office/powerpoint/2010/main" Requires="p14">
          <p:contentPart p14:bwMode="auto" r:id="rId8">
            <p14:nvContentPartPr>
              <p14:cNvPr id="2" name="Ink 1">
                <a:extLst>
                  <a:ext uri="{FF2B5EF4-FFF2-40B4-BE49-F238E27FC236}">
                    <a16:creationId xmlns:a16="http://schemas.microsoft.com/office/drawing/2014/main" id="{D56AB45A-D51E-41BA-AC03-6261A012D1DA}"/>
                  </a:ext>
                </a:extLst>
              </p14:cNvPr>
              <p14:cNvContentPartPr/>
              <p14:nvPr/>
            </p14:nvContentPartPr>
            <p14:xfrm>
              <a:off x="0" y="4149000"/>
              <a:ext cx="2061000" cy="817200"/>
            </p14:xfrm>
          </p:contentPart>
        </mc:Choice>
        <mc:Fallback>
          <p:pic>
            <p:nvPicPr>
              <p:cNvPr id="2" name="Ink 1">
                <a:extLst>
                  <a:ext uri="{FF2B5EF4-FFF2-40B4-BE49-F238E27FC236}">
                    <a16:creationId xmlns:a16="http://schemas.microsoft.com/office/drawing/2014/main" id="{D56AB45A-D51E-41BA-AC03-6261A012D1DA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-9360" y="4139640"/>
                <a:ext cx="2079720" cy="8359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652637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53</TotalTime>
  <Words>6</Words>
  <Application>Microsoft Office PowerPoint</Application>
  <PresentationFormat>Widescreen</PresentationFormat>
  <Paragraphs>4</Paragraphs>
  <Slides>2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8" baseType="lpstr">
      <vt:lpstr>Arial</vt:lpstr>
      <vt:lpstr>Calibri</vt:lpstr>
      <vt:lpstr>Calibri Light</vt:lpstr>
      <vt:lpstr>Office Theme</vt:lpstr>
      <vt:lpstr>think-cell Slide</vt:lpstr>
      <vt:lpstr>Collaborative Filter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VD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ptimiz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iket Chhabra</dc:creator>
  <cp:lastModifiedBy>Aniket Chhabra</cp:lastModifiedBy>
  <cp:revision>1</cp:revision>
  <dcterms:created xsi:type="dcterms:W3CDTF">2021-12-10T04:03:03Z</dcterms:created>
  <dcterms:modified xsi:type="dcterms:W3CDTF">2021-12-11T13:45:49Z</dcterms:modified>
</cp:coreProperties>
</file>